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7" r:id="rId5"/>
  </p:sldMasterIdLst>
  <p:notesMasterIdLst>
    <p:notesMasterId r:id="rId32"/>
  </p:notesMasterIdLst>
  <p:handoutMasterIdLst>
    <p:handoutMasterId r:id="rId33"/>
  </p:handoutMasterIdLst>
  <p:sldIdLst>
    <p:sldId id="2147376952" r:id="rId6"/>
    <p:sldId id="2147376931" r:id="rId7"/>
    <p:sldId id="2147376986" r:id="rId8"/>
    <p:sldId id="2147483129" r:id="rId9"/>
    <p:sldId id="2147482385" r:id="rId10"/>
    <p:sldId id="2147483465" r:id="rId11"/>
    <p:sldId id="2147483491" r:id="rId12"/>
    <p:sldId id="2147483472" r:id="rId13"/>
    <p:sldId id="2147483473" r:id="rId14"/>
    <p:sldId id="2147483483" r:id="rId15"/>
    <p:sldId id="2147483138" r:id="rId16"/>
    <p:sldId id="2147483497" r:id="rId17"/>
    <p:sldId id="2147483498" r:id="rId18"/>
    <p:sldId id="2147483494" r:id="rId19"/>
    <p:sldId id="2147376991" r:id="rId20"/>
    <p:sldId id="2147483492" r:id="rId21"/>
    <p:sldId id="2147483493" r:id="rId22"/>
    <p:sldId id="2147377001" r:id="rId23"/>
    <p:sldId id="2147376989" r:id="rId24"/>
    <p:sldId id="262" r:id="rId25"/>
    <p:sldId id="2147483476" r:id="rId26"/>
    <p:sldId id="2147483477" r:id="rId27"/>
    <p:sldId id="2147376950" r:id="rId28"/>
    <p:sldId id="257" r:id="rId29"/>
    <p:sldId id="2147483496" r:id="rId30"/>
    <p:sldId id="259"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0A0"/>
    <a:srgbClr val="FFFFFF"/>
    <a:srgbClr val="F3DDE6"/>
    <a:srgbClr val="F2F2F2"/>
    <a:srgbClr val="E0E0E0"/>
    <a:srgbClr val="666666"/>
    <a:srgbClr val="7F7F7F"/>
    <a:srgbClr val="FEF8F4"/>
    <a:srgbClr val="F1F9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中間スタイル 3 - アクセント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濃色スタイル 1 - アクセント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38B1855-1B75-4FBE-930C-398BA8C253C6}" styleName="テーマ スタイル 2 - アクセント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0" autoAdjust="0"/>
    <p:restoredTop sz="94689" autoAdjust="0"/>
  </p:normalViewPr>
  <p:slideViewPr>
    <p:cSldViewPr snapToGrid="0">
      <p:cViewPr varScale="1">
        <p:scale>
          <a:sx n="76" d="100"/>
          <a:sy n="76" d="100"/>
        </p:scale>
        <p:origin x="468" y="90"/>
      </p:cViewPr>
      <p:guideLst>
        <p:guide orient="horz" pos="2205"/>
        <p:guide pos="3840"/>
      </p:guideLst>
    </p:cSldViewPr>
  </p:slideViewPr>
  <p:outlineViewPr>
    <p:cViewPr>
      <p:scale>
        <a:sx n="20" d="100"/>
        <a:sy n="20"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98" d="100"/>
          <a:sy n="98" d="100"/>
        </p:scale>
        <p:origin x="3288"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latin typeface="Arial" panose="020B0604020202020204" pitchFamily="34" charset="0"/>
            </a:endParaRPr>
          </a:p>
        </p:txBody>
      </p:sp>
      <p:sp>
        <p:nvSpPr>
          <p:cNvPr id="3" name="Date Placeholde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AB5074-22B4-4BAA-90CF-F09B99342087}" type="datetimeFigureOut">
              <a:rPr kumimoji="1" lang="ja-JP" altLang="en-US" smtClean="0">
                <a:latin typeface="Arial" panose="020B0604020202020204" pitchFamily="34" charset="0"/>
              </a:rPr>
              <a:t>2025/4/15</a:t>
            </a:fld>
            <a:endParaRPr kumimoji="1" lang="ja-JP" altLang="en-US">
              <a:latin typeface="Arial" panose="020B0604020202020204" pitchFamily="34" charset="0"/>
            </a:endParaRPr>
          </a:p>
        </p:txBody>
      </p:sp>
      <p:sp>
        <p:nvSpPr>
          <p:cNvPr id="4" name="Footer Placeholde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latin typeface="Arial" panose="020B0604020202020204" pitchFamily="34" charset="0"/>
            </a:endParaRPr>
          </a:p>
        </p:txBody>
      </p:sp>
    </p:spTree>
    <p:extLst>
      <p:ext uri="{BB962C8B-B14F-4D97-AF65-F5344CB8AC3E}">
        <p14:creationId xmlns:p14="http://schemas.microsoft.com/office/powerpoint/2010/main" val="427442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kumimoji="1" lang="ja-JP" altLang="en-US"/>
          </a:p>
        </p:txBody>
      </p:sp>
      <p:sp>
        <p:nvSpPr>
          <p:cNvPr id="3" name="Date Placeholde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CEEAFD7E-42DE-4578-9698-4D44CA4D1EC7}" type="datetimeFigureOut">
              <a:rPr kumimoji="1" lang="ja-JP" altLang="en-US" smtClean="0"/>
              <a:pPr/>
              <a:t>2025/4/1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dirty="0"/>
              <a:t>2 </a:t>
            </a:r>
            <a:r>
              <a:rPr kumimoji="1" lang="ja-JP" altLang="en-US"/>
              <a:t>レベル</a:t>
            </a:r>
          </a:p>
          <a:p>
            <a:pPr lvl="2"/>
            <a:r>
              <a:rPr kumimoji="1" lang="ja-JP" altLang="en-US"/>
              <a:t>第 </a:t>
            </a:r>
            <a:r>
              <a:rPr kumimoji="1" lang="en-US" altLang="ja-JP" dirty="0"/>
              <a:t>3 </a:t>
            </a:r>
            <a:r>
              <a:rPr kumimoji="1" lang="ja-JP" altLang="en-US"/>
              <a:t>レベル</a:t>
            </a:r>
          </a:p>
          <a:p>
            <a:pPr lvl="3"/>
            <a:r>
              <a:rPr kumimoji="1" lang="ja-JP" altLang="en-US"/>
              <a:t>第 </a:t>
            </a:r>
            <a:r>
              <a:rPr kumimoji="1" lang="en-US" altLang="ja-JP" dirty="0"/>
              <a:t>4 </a:t>
            </a:r>
            <a:r>
              <a:rPr kumimoji="1" lang="ja-JP" altLang="en-US"/>
              <a:t>レベル</a:t>
            </a:r>
          </a:p>
          <a:p>
            <a:pPr lvl="4"/>
            <a:r>
              <a:rPr kumimoji="1" lang="ja-JP" altLang="en-US"/>
              <a:t>第 </a:t>
            </a:r>
            <a:r>
              <a:rPr kumimoji="1" lang="en-US" altLang="ja-JP" dirty="0"/>
              <a:t>5 </a:t>
            </a:r>
            <a:r>
              <a:rPr kumimoji="1" lang="ja-JP" altLang="en-US"/>
              <a:t>レベル</a:t>
            </a:r>
          </a:p>
        </p:txBody>
      </p:sp>
      <p:sp>
        <p:nvSpPr>
          <p:cNvPr id="6" name="Footer Placeholde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kumimoji="1" lang="ja-JP" altLang="en-US"/>
          </a:p>
        </p:txBody>
      </p:sp>
      <p:sp>
        <p:nvSpPr>
          <p:cNvPr id="7" name="Slide Number Placeholde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578ACAE1-F7C7-40A2-AB1E-F699848D1216}" type="slidenum">
              <a:rPr kumimoji="1" lang="ja-JP" altLang="en-US" smtClean="0"/>
              <a:pPr/>
              <a:t>‹#›</a:t>
            </a:fld>
            <a:endParaRPr kumimoji="1" lang="ja-JP" altLang="en-US"/>
          </a:p>
        </p:txBody>
      </p:sp>
    </p:spTree>
    <p:extLst>
      <p:ext uri="{BB962C8B-B14F-4D97-AF65-F5344CB8AC3E}">
        <p14:creationId xmlns:p14="http://schemas.microsoft.com/office/powerpoint/2010/main" val="319765963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Arial" panose="020B0604020202020204" pitchFamily="34" charset="0"/>
        <a:ea typeface="+mn-ea"/>
        <a:cs typeface="+mn-cs"/>
      </a:defRPr>
    </a:lvl1pPr>
    <a:lvl2pPr marL="457200" algn="l" defTabSz="914400" rtl="0" eaLnBrk="1" latinLnBrk="0" hangingPunct="1">
      <a:defRPr kumimoji="1" sz="1200" b="0" i="0" kern="1200">
        <a:solidFill>
          <a:schemeClr val="tx1"/>
        </a:solidFill>
        <a:latin typeface="Arial" panose="020B0604020202020204" pitchFamily="34" charset="0"/>
        <a:ea typeface="+mn-ea"/>
        <a:cs typeface="+mn-cs"/>
      </a:defRPr>
    </a:lvl2pPr>
    <a:lvl3pPr marL="914400" algn="l" defTabSz="914400" rtl="0" eaLnBrk="1" latinLnBrk="0" hangingPunct="1">
      <a:defRPr kumimoji="1" sz="1200" b="0" i="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b="0" i="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b="0" i="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578ACAE1-F7C7-40A2-AB1E-F699848D1216}" type="slidenum">
              <a:rPr lang="ja-JP" altLang="en-US" smtClean="0"/>
              <a:pPr/>
              <a:t>1</a:t>
            </a:fld>
            <a:endParaRPr lang="ja-JP" altLang="en-US"/>
          </a:p>
        </p:txBody>
      </p:sp>
    </p:spTree>
    <p:extLst>
      <p:ext uri="{BB962C8B-B14F-4D97-AF65-F5344CB8AC3E}">
        <p14:creationId xmlns:p14="http://schemas.microsoft.com/office/powerpoint/2010/main" val="3873139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4E6B33CA-9E0D-475A-AF2A-1A0BFE2F6DDA}" type="slidenum">
              <a:rPr lang="en-US" smtClean="0"/>
              <a:t>5</a:t>
            </a:fld>
            <a:endParaRPr lang="en-US"/>
          </a:p>
        </p:txBody>
      </p:sp>
    </p:spTree>
    <p:extLst>
      <p:ext uri="{BB962C8B-B14F-4D97-AF65-F5344CB8AC3E}">
        <p14:creationId xmlns:p14="http://schemas.microsoft.com/office/powerpoint/2010/main" val="176792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6B33CA-9E0D-475A-AF2A-1A0BFE2F6D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4792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FEE2B3-992F-40DF-88CE-3DE91024B86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496896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FEE2B3-992F-40DF-88CE-3DE91024B86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234650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4E6B33CA-9E0D-475A-AF2A-1A0BFE2F6DDA}" type="slidenum">
              <a:rPr lang="en-US" smtClean="0"/>
              <a:t>11</a:t>
            </a:fld>
            <a:endParaRPr lang="en-US"/>
          </a:p>
        </p:txBody>
      </p:sp>
    </p:spTree>
    <p:extLst>
      <p:ext uri="{BB962C8B-B14F-4D97-AF65-F5344CB8AC3E}">
        <p14:creationId xmlns:p14="http://schemas.microsoft.com/office/powerpoint/2010/main" val="1056242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578ACAE1-F7C7-40A2-AB1E-F699848D1216}" type="slidenum">
              <a:rPr kumimoji="1" lang="ja-JP" altLang="en-US" smtClean="0"/>
              <a:pPr/>
              <a:t>20</a:t>
            </a:fld>
            <a:endParaRPr kumimoji="1" lang="ja-JP" altLang="en-US"/>
          </a:p>
        </p:txBody>
      </p:sp>
    </p:spTree>
    <p:extLst>
      <p:ext uri="{BB962C8B-B14F-4D97-AF65-F5344CB8AC3E}">
        <p14:creationId xmlns:p14="http://schemas.microsoft.com/office/powerpoint/2010/main" val="3917224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タイトル スライド">
    <p:spTree>
      <p:nvGrpSpPr>
        <p:cNvPr id="1" name=""/>
        <p:cNvGrpSpPr/>
        <p:nvPr/>
      </p:nvGrpSpPr>
      <p:grpSpPr>
        <a:xfrm>
          <a:off x="0" y="0"/>
          <a:ext cx="0" cy="0"/>
          <a:chOff x="0" y="0"/>
          <a:chExt cx="0" cy="0"/>
        </a:xfrm>
      </p:grpSpPr>
      <p:sp>
        <p:nvSpPr>
          <p:cNvPr id="124" name="Copyright">
            <a:extLst>
              <a:ext uri="{FF2B5EF4-FFF2-40B4-BE49-F238E27FC236}">
                <a16:creationId xmlns:a16="http://schemas.microsoft.com/office/drawing/2014/main" id="{6F2FE567-7899-4896-96AA-5019266E8419}"/>
              </a:ext>
            </a:extLst>
          </p:cNvPr>
          <p:cNvSpPr txBox="1"/>
          <p:nvPr userDrawn="1"/>
        </p:nvSpPr>
        <p:spPr>
          <a:xfrm>
            <a:off x="180975" y="6645600"/>
            <a:ext cx="1292225" cy="105222"/>
          </a:xfrm>
          <a:prstGeom prst="rect">
            <a:avLst/>
          </a:prstGeom>
          <a:noFill/>
        </p:spPr>
        <p:txBody>
          <a:bodyPr wrap="square" lIns="0" tIns="0" rIns="0" bIns="0" rtlCol="0">
            <a:spAutoFit/>
          </a:bodyPr>
          <a:lstStyle/>
          <a:p>
            <a:pPr>
              <a:lnSpc>
                <a:spcPct val="130000"/>
              </a:lnSpc>
            </a:pPr>
            <a:r>
              <a:rPr kumimoji="1" lang="en-US" altLang="ja-JP" sz="600" dirty="0">
                <a:solidFill>
                  <a:srgbClr val="666666"/>
                </a:solidFill>
                <a:latin typeface="Meiryo UI" panose="020B0604030504040204" pitchFamily="34" charset="-128"/>
                <a:ea typeface="Meiryo UI" panose="020B0604030504040204" pitchFamily="34" charset="-128"/>
              </a:rPr>
              <a:t>©Mitsubishi</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Electric</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Corporation</a:t>
            </a:r>
            <a:endParaRPr kumimoji="1" lang="ja-JP" altLang="en-US" sz="600" dirty="0">
              <a:solidFill>
                <a:srgbClr val="666666"/>
              </a:solidFill>
              <a:latin typeface="Meiryo UI" panose="020B0604030504040204" pitchFamily="34" charset="-128"/>
              <a:ea typeface="Meiryo UI" panose="020B0604030504040204" pitchFamily="34" charset="-128"/>
            </a:endParaRPr>
          </a:p>
        </p:txBody>
      </p:sp>
      <p:sp>
        <p:nvSpPr>
          <p:cNvPr id="170" name="Title Underline">
            <a:extLst>
              <a:ext uri="{FF2B5EF4-FFF2-40B4-BE49-F238E27FC236}">
                <a16:creationId xmlns:a16="http://schemas.microsoft.com/office/drawing/2014/main" id="{57F0773B-3625-4975-A07B-7A9592075490}"/>
              </a:ext>
            </a:extLst>
          </p:cNvPr>
          <p:cNvSpPr/>
          <p:nvPr userDrawn="1"/>
        </p:nvSpPr>
        <p:spPr>
          <a:xfrm>
            <a:off x="2915944" y="3507237"/>
            <a:ext cx="6355028" cy="1800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UI" panose="020B0604030504040204" pitchFamily="34" charset="-128"/>
            </a:endParaRPr>
          </a:p>
        </p:txBody>
      </p:sp>
      <p:sp>
        <p:nvSpPr>
          <p:cNvPr id="171" name="Title">
            <a:extLst>
              <a:ext uri="{FF2B5EF4-FFF2-40B4-BE49-F238E27FC236}">
                <a16:creationId xmlns:a16="http://schemas.microsoft.com/office/drawing/2014/main" id="{E4B3B5D7-8E6A-4435-9945-7A8C0355B0A1}"/>
              </a:ext>
            </a:extLst>
          </p:cNvPr>
          <p:cNvSpPr>
            <a:spLocks noGrp="1"/>
          </p:cNvSpPr>
          <p:nvPr>
            <p:ph type="ctrTitle"/>
          </p:nvPr>
        </p:nvSpPr>
        <p:spPr>
          <a:xfrm>
            <a:off x="2463957" y="1754981"/>
            <a:ext cx="7264086" cy="1762371"/>
          </a:xfrm>
        </p:spPr>
        <p:txBody>
          <a:bodyPr lIns="0" rIns="0" bIns="180000" anchor="b"/>
          <a:lstStyle>
            <a:lvl1pPr algn="ctr">
              <a:defRPr sz="2800" b="1" spc="600">
                <a:solidFill>
                  <a:schemeClr val="tx1"/>
                </a:solidFill>
                <a:latin typeface="Meiryo UI" panose="020B0604030504040204" pitchFamily="34" charset="-128"/>
                <a:ea typeface="Meiryo UI" panose="020B0604030504040204" pitchFamily="34" charset="-128"/>
              </a:defRPr>
            </a:lvl1pPr>
          </a:lstStyle>
          <a:p>
            <a:r>
              <a:rPr lang="ja-JP" altLang="en-US"/>
              <a:t>マスター タイトルの書式設定</a:t>
            </a:r>
            <a:endParaRPr lang="en-US" dirty="0"/>
          </a:p>
        </p:txBody>
      </p:sp>
      <p:sp>
        <p:nvSpPr>
          <p:cNvPr id="169" name="Subtitle">
            <a:extLst>
              <a:ext uri="{FF2B5EF4-FFF2-40B4-BE49-F238E27FC236}">
                <a16:creationId xmlns:a16="http://schemas.microsoft.com/office/drawing/2014/main" id="{9A94B132-E571-4B76-B786-06500F34080C}"/>
              </a:ext>
            </a:extLst>
          </p:cNvPr>
          <p:cNvSpPr>
            <a:spLocks noGrp="1"/>
          </p:cNvSpPr>
          <p:nvPr>
            <p:ph type="subTitle" idx="1"/>
          </p:nvPr>
        </p:nvSpPr>
        <p:spPr>
          <a:xfrm>
            <a:off x="2462972" y="3517352"/>
            <a:ext cx="7266057" cy="1018648"/>
          </a:xfrm>
          <a:custGeom>
            <a:avLst/>
            <a:gdLst>
              <a:gd name="connsiteX0" fmla="*/ 0 w 7266057"/>
              <a:gd name="connsiteY0" fmla="*/ 0 h 1018648"/>
              <a:gd name="connsiteX1" fmla="*/ 451972 w 7266057"/>
              <a:gd name="connsiteY1" fmla="*/ 0 h 1018648"/>
              <a:gd name="connsiteX2" fmla="*/ 451972 w 7266057"/>
              <a:gd name="connsiteY2" fmla="*/ 5130 h 1018648"/>
              <a:gd name="connsiteX3" fmla="*/ 6805972 w 7266057"/>
              <a:gd name="connsiteY3" fmla="*/ 5130 h 1018648"/>
              <a:gd name="connsiteX4" fmla="*/ 6805972 w 7266057"/>
              <a:gd name="connsiteY4" fmla="*/ 0 h 1018648"/>
              <a:gd name="connsiteX5" fmla="*/ 7264086 w 7266057"/>
              <a:gd name="connsiteY5" fmla="*/ 0 h 1018648"/>
              <a:gd name="connsiteX6" fmla="*/ 7264086 w 7266057"/>
              <a:gd name="connsiteY6" fmla="*/ 907968 h 1018648"/>
              <a:gd name="connsiteX7" fmla="*/ 7266057 w 7266057"/>
              <a:gd name="connsiteY7" fmla="*/ 907968 h 1018648"/>
              <a:gd name="connsiteX8" fmla="*/ 7266057 w 7266057"/>
              <a:gd name="connsiteY8" fmla="*/ 1018648 h 1018648"/>
              <a:gd name="connsiteX9" fmla="*/ 1972 w 7266057"/>
              <a:gd name="connsiteY9" fmla="*/ 1018648 h 1018648"/>
              <a:gd name="connsiteX10" fmla="*/ 1972 w 7266057"/>
              <a:gd name="connsiteY10" fmla="*/ 1011600 h 1018648"/>
              <a:gd name="connsiteX11" fmla="*/ 0 w 7266057"/>
              <a:gd name="connsiteY11" fmla="*/ 1011600 h 1018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66057" h="1018648">
                <a:moveTo>
                  <a:pt x="0" y="0"/>
                </a:moveTo>
                <a:lnTo>
                  <a:pt x="451972" y="0"/>
                </a:lnTo>
                <a:lnTo>
                  <a:pt x="451972" y="5130"/>
                </a:lnTo>
                <a:lnTo>
                  <a:pt x="6805972" y="5130"/>
                </a:lnTo>
                <a:lnTo>
                  <a:pt x="6805972" y="0"/>
                </a:lnTo>
                <a:lnTo>
                  <a:pt x="7264086" y="0"/>
                </a:lnTo>
                <a:lnTo>
                  <a:pt x="7264086" y="907968"/>
                </a:lnTo>
                <a:lnTo>
                  <a:pt x="7266057" y="907968"/>
                </a:lnTo>
                <a:lnTo>
                  <a:pt x="7266057" y="1018648"/>
                </a:lnTo>
                <a:lnTo>
                  <a:pt x="1972" y="1018648"/>
                </a:lnTo>
                <a:lnTo>
                  <a:pt x="1972" y="1011600"/>
                </a:lnTo>
                <a:lnTo>
                  <a:pt x="0" y="1011600"/>
                </a:lnTo>
                <a:close/>
              </a:path>
            </a:pathLst>
          </a:custGeom>
          <a:noFill/>
        </p:spPr>
        <p:txBody>
          <a:bodyPr wrap="square" lIns="0" tIns="187200" rIns="0" bIns="0">
            <a:noAutofit/>
          </a:bodyPr>
          <a:lstStyle>
            <a:lvl1pPr marL="0" indent="0" algn="ctr">
              <a:buNone/>
              <a:defRPr sz="1050" b="1" spc="250" baseline="0">
                <a:solidFill>
                  <a:schemeClr val="tx1"/>
                </a:solidFill>
                <a:latin typeface="Meiryo UI" panose="020B0604030504040204" pitchFamily="34" charset="-128"/>
                <a:ea typeface="Meiryo UI"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sp>
        <p:nvSpPr>
          <p:cNvPr id="7" name="Date Placeholder">
            <a:extLst>
              <a:ext uri="{FF2B5EF4-FFF2-40B4-BE49-F238E27FC236}">
                <a16:creationId xmlns:a16="http://schemas.microsoft.com/office/drawing/2014/main" id="{9CD19999-8436-458C-AB86-E943F50FE19B}"/>
              </a:ext>
            </a:extLst>
          </p:cNvPr>
          <p:cNvSpPr>
            <a:spLocks noGrp="1"/>
          </p:cNvSpPr>
          <p:nvPr>
            <p:ph type="dt" sz="half" idx="10"/>
          </p:nvPr>
        </p:nvSpPr>
        <p:spPr>
          <a:xfrm>
            <a:off x="2463600" y="4536000"/>
            <a:ext cx="7264800" cy="741600"/>
          </a:xfrm>
          <a:noFill/>
        </p:spPr>
        <p:txBody>
          <a:bodyPr vert="horz" wrap="square" lIns="0" tIns="0" rIns="0" bIns="435600" rtlCol="0" anchor="b" anchorCtr="1">
            <a:noAutofit/>
          </a:bodyPr>
          <a:lstStyle>
            <a:lvl1pPr>
              <a:defRPr kumimoji="1" lang="ja-JP" altLang="en-US" sz="900" b="1" spc="250" baseline="0" dirty="0">
                <a:solidFill>
                  <a:schemeClr val="tx1"/>
                </a:solidFill>
                <a:latin typeface="Meiryo UI" panose="020B0604030504040204" pitchFamily="34" charset="-128"/>
                <a:ea typeface="Meiryo UI" panose="020B0604030504040204" pitchFamily="34" charset="-128"/>
              </a:defRPr>
            </a:lvl1pPr>
          </a:lstStyle>
          <a:p>
            <a:pPr algn="ctr" defTabSz="914400"/>
            <a:endParaRPr lang="en-JP"/>
          </a:p>
        </p:txBody>
      </p:sp>
      <p:sp>
        <p:nvSpPr>
          <p:cNvPr id="8" name="Footer Placeholder">
            <a:extLst>
              <a:ext uri="{FF2B5EF4-FFF2-40B4-BE49-F238E27FC236}">
                <a16:creationId xmlns:a16="http://schemas.microsoft.com/office/drawing/2014/main" id="{83859027-8173-4FD6-888F-20D2ED0E86F1}"/>
              </a:ext>
            </a:extLst>
          </p:cNvPr>
          <p:cNvSpPr>
            <a:spLocks noGrp="1"/>
          </p:cNvSpPr>
          <p:nvPr>
            <p:ph type="ftr" sz="quarter" idx="11"/>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dirty="0"/>
          </a:p>
        </p:txBody>
      </p:sp>
      <p:sp>
        <p:nvSpPr>
          <p:cNvPr id="10" name="Slide Number Placeholder">
            <a:extLst>
              <a:ext uri="{FF2B5EF4-FFF2-40B4-BE49-F238E27FC236}">
                <a16:creationId xmlns:a16="http://schemas.microsoft.com/office/drawing/2014/main" id="{1402BD7D-001D-4DC6-B43B-F6E5BE60710F}"/>
              </a:ext>
            </a:extLst>
          </p:cNvPr>
          <p:cNvSpPr>
            <a:spLocks noGrp="1"/>
          </p:cNvSpPr>
          <p:nvPr>
            <p:ph type="sldNum" sz="quarter" idx="12"/>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pic>
        <p:nvPicPr>
          <p:cNvPr id="3" name="Picture 2">
            <a:extLst>
              <a:ext uri="{FF2B5EF4-FFF2-40B4-BE49-F238E27FC236}">
                <a16:creationId xmlns:a16="http://schemas.microsoft.com/office/drawing/2014/main" id="{3E45F3CC-E55C-3313-033B-82AAEC21ED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4538" y="95250"/>
            <a:ext cx="2826962" cy="481371"/>
          </a:xfrm>
          <a:prstGeom prst="rect">
            <a:avLst/>
          </a:prstGeom>
        </p:spPr>
      </p:pic>
      <p:grpSp>
        <p:nvGrpSpPr>
          <p:cNvPr id="103" name="グループ化 102">
            <a:extLst>
              <a:ext uri="{FF2B5EF4-FFF2-40B4-BE49-F238E27FC236}">
                <a16:creationId xmlns:a16="http://schemas.microsoft.com/office/drawing/2014/main" id="{17F2E8ED-4186-56DD-32DC-9D4AE8EA5C74}"/>
              </a:ext>
            </a:extLst>
          </p:cNvPr>
          <p:cNvGrpSpPr/>
          <p:nvPr userDrawn="1"/>
        </p:nvGrpSpPr>
        <p:grpSpPr>
          <a:xfrm>
            <a:off x="-1548680" y="-1145"/>
            <a:ext cx="1392414" cy="6858000"/>
            <a:chOff x="-1548680" y="-1145"/>
            <a:chExt cx="1392414" cy="6858000"/>
          </a:xfrm>
        </p:grpSpPr>
        <p:sp>
          <p:nvSpPr>
            <p:cNvPr id="104" name="Rectangle 6">
              <a:extLst>
                <a:ext uri="{FF2B5EF4-FFF2-40B4-BE49-F238E27FC236}">
                  <a16:creationId xmlns:a16="http://schemas.microsoft.com/office/drawing/2014/main" id="{C0DEC8F6-0011-DD68-4075-E7CFA5ED162C}"/>
                </a:ext>
              </a:extLst>
            </p:cNvPr>
            <p:cNvSpPr/>
            <p:nvPr userDrawn="1"/>
          </p:nvSpPr>
          <p:spPr>
            <a:xfrm>
              <a:off x="-1548641" y="-1145"/>
              <a:ext cx="13923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05" name="TextBox 7">
              <a:extLst>
                <a:ext uri="{FF2B5EF4-FFF2-40B4-BE49-F238E27FC236}">
                  <a16:creationId xmlns:a16="http://schemas.microsoft.com/office/drawing/2014/main" id="{FD7E3E8F-3D30-0F46-F6BF-D119CB7A2797}"/>
                </a:ext>
              </a:extLst>
            </p:cNvPr>
            <p:cNvSpPr txBox="1"/>
            <p:nvPr userDrawn="1"/>
          </p:nvSpPr>
          <p:spPr>
            <a:xfrm>
              <a:off x="-1548680" y="100360"/>
              <a:ext cx="1386866" cy="800219"/>
            </a:xfrm>
            <a:prstGeom prst="rect">
              <a:avLst/>
            </a:prstGeom>
            <a:noFill/>
          </p:spPr>
          <p:txBody>
            <a:bodyPr wrap="square" rtlCol="0">
              <a:spAutoFit/>
            </a:bodyPr>
            <a:lstStyle/>
            <a:p>
              <a:r>
                <a:rPr kumimoji="1" lang="ja-JP" altLang="en-US" sz="700" b="1">
                  <a:latin typeface="Noto Sans JP Bold" panose="020B0500000000000000" pitchFamily="34" charset="-128"/>
                  <a:ea typeface="Noto Sans JP Bold" panose="020B0500000000000000" pitchFamily="34" charset="-128"/>
                  <a:cs typeface="Arial" panose="020B0604020202020204" pitchFamily="34" charset="0"/>
                </a:rPr>
                <a:t>カラーパレットの推奨事項</a:t>
              </a:r>
              <a:br>
                <a:rPr kumimoji="1" lang="en-US" altLang="ja-JP" dirty="0">
                  <a:latin typeface="Noto Sans JP Regular" panose="020B0500000000000000" pitchFamily="34" charset="-128"/>
                  <a:ea typeface="Noto Sans JP Regular" panose="020B0500000000000000" pitchFamily="34" charset="-128"/>
                  <a:cs typeface="Arial" panose="020B0604020202020204" pitchFamily="34" charset="0"/>
                </a:rPr>
              </a:br>
              <a:endParaRPr kumimoji="1" lang="en-US" altLang="ja-JP" sz="400" dirty="0">
                <a:latin typeface="Noto Sans JP Regular" panose="020B0500000000000000" pitchFamily="34" charset="-128"/>
                <a:ea typeface="Noto Sans JP Regular" panose="020B0500000000000000" pitchFamily="34" charset="-128"/>
                <a:cs typeface="Arial" panose="020B0604020202020204" pitchFamily="34" charset="0"/>
              </a:endParaRPr>
            </a:p>
            <a:p>
              <a:r>
                <a:rPr lang="ja-JP" altLang="en-US" sz="700">
                  <a:latin typeface="Noto Sans JP Regular" panose="020B0500000000000000" pitchFamily="34" charset="-128"/>
                  <a:ea typeface="Noto Sans JP Regular" panose="020B0500000000000000" pitchFamily="34" charset="-128"/>
                </a:rPr>
                <a:t>使用する色はできるだけ少なくし、伝わりやすいプレゼンテーションにするため、全体を通して、同じ配色にすることを推奨します。</a:t>
              </a:r>
              <a:endParaRPr lang="en-US" altLang="ja-JP" sz="700" dirty="0">
                <a:latin typeface="Noto Sans JP Regular" panose="020B0500000000000000" pitchFamily="34" charset="-128"/>
                <a:ea typeface="Noto Sans JP Regular" panose="020B0500000000000000" pitchFamily="34" charset="-128"/>
              </a:endParaRPr>
            </a:p>
          </p:txBody>
        </p:sp>
        <p:sp>
          <p:nvSpPr>
            <p:cNvPr id="106" name="TextBox 11">
              <a:extLst>
                <a:ext uri="{FF2B5EF4-FFF2-40B4-BE49-F238E27FC236}">
                  <a16:creationId xmlns:a16="http://schemas.microsoft.com/office/drawing/2014/main" id="{E8A66591-DD60-3C5A-E3C1-E12DBFE58C1F}"/>
                </a:ext>
              </a:extLst>
            </p:cNvPr>
            <p:cNvSpPr txBox="1"/>
            <p:nvPr userDrawn="1"/>
          </p:nvSpPr>
          <p:spPr>
            <a:xfrm>
              <a:off x="-1548680" y="941462"/>
              <a:ext cx="810802"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 </a:t>
              </a:r>
            </a:p>
          </p:txBody>
        </p:sp>
        <p:sp>
          <p:nvSpPr>
            <p:cNvPr id="107" name="TextBox 13">
              <a:extLst>
                <a:ext uri="{FF2B5EF4-FFF2-40B4-BE49-F238E27FC236}">
                  <a16:creationId xmlns:a16="http://schemas.microsoft.com/office/drawing/2014/main" id="{14D9DF52-AB81-C855-B280-7506663986B9}"/>
                </a:ext>
              </a:extLst>
            </p:cNvPr>
            <p:cNvSpPr txBox="1"/>
            <p:nvPr userDrawn="1"/>
          </p:nvSpPr>
          <p:spPr>
            <a:xfrm>
              <a:off x="-1548680" y="1665421"/>
              <a:ext cx="810802" cy="200055"/>
            </a:xfrm>
            <a:prstGeom prst="rect">
              <a:avLst/>
            </a:prstGeom>
            <a:noFill/>
          </p:spPr>
          <p:txBody>
            <a:bodyPr wrap="square" rtlCol="0">
              <a:spAutoFit/>
            </a:bodyPr>
            <a:lstStyle/>
            <a:p>
              <a:r>
                <a:rPr kumimoji="1" lang="ja-JP" altLang="en-US" sz="700" b="0">
                  <a:latin typeface="Noto Sans JP Regular" panose="020B0500000000000000" pitchFamily="34" charset="-128"/>
                  <a:ea typeface="Noto Sans JP Regular" panose="020B0500000000000000" pitchFamily="34" charset="-128"/>
                  <a:cs typeface="Arial" panose="020B0604020202020204" pitchFamily="34" charset="0"/>
                </a:rPr>
                <a:t>本文</a:t>
              </a:r>
              <a:r>
                <a:rPr kumimoji="1" lang="en-US" altLang="ja-JP" sz="700" b="0" dirty="0">
                  <a:latin typeface="Noto Sans JP Regular" panose="020B0500000000000000" pitchFamily="34" charset="-128"/>
                  <a:ea typeface="Noto Sans JP Regular" panose="020B0500000000000000" pitchFamily="34" charset="-128"/>
                  <a:cs typeface="Arial" panose="020B0604020202020204" pitchFamily="34" charset="0"/>
                </a:rPr>
                <a:t>:</a:t>
              </a:r>
            </a:p>
          </p:txBody>
        </p:sp>
        <p:sp>
          <p:nvSpPr>
            <p:cNvPr id="108" name="TextBox 14">
              <a:extLst>
                <a:ext uri="{FF2B5EF4-FFF2-40B4-BE49-F238E27FC236}">
                  <a16:creationId xmlns:a16="http://schemas.microsoft.com/office/drawing/2014/main" id="{22B4EF05-F9A3-83FA-9681-D8B123B4B2A4}"/>
                </a:ext>
              </a:extLst>
            </p:cNvPr>
            <p:cNvSpPr txBox="1"/>
            <p:nvPr userDrawn="1"/>
          </p:nvSpPr>
          <p:spPr>
            <a:xfrm>
              <a:off x="-1548680" y="2365180"/>
              <a:ext cx="1386865"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キーワード・</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Call to Action:   </a:t>
              </a:r>
            </a:p>
          </p:txBody>
        </p:sp>
        <p:sp>
          <p:nvSpPr>
            <p:cNvPr id="109" name="TextBox 15">
              <a:extLst>
                <a:ext uri="{FF2B5EF4-FFF2-40B4-BE49-F238E27FC236}">
                  <a16:creationId xmlns:a16="http://schemas.microsoft.com/office/drawing/2014/main" id="{34ECCD5D-E6BD-CDFF-C462-272C271DD9D0}"/>
                </a:ext>
              </a:extLst>
            </p:cNvPr>
            <p:cNvSpPr txBox="1"/>
            <p:nvPr userDrawn="1"/>
          </p:nvSpPr>
          <p:spPr>
            <a:xfrm>
              <a:off x="-1548680" y="3717032"/>
              <a:ext cx="1386865" cy="200055"/>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キーフレーズ・重要な情報</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a:t>
              </a:r>
              <a:endParaRPr kumimoji="1" lang="ja-JP" altLang="en-US" sz="700" dirty="0">
                <a:latin typeface="Noto Sans JP Regular" panose="020B0500000000000000" pitchFamily="34" charset="-128"/>
                <a:ea typeface="Noto Sans JP Regular" panose="020B0500000000000000" pitchFamily="34" charset="-128"/>
                <a:cs typeface="Arial" panose="020B0604020202020204" pitchFamily="34" charset="0"/>
              </a:endParaRPr>
            </a:p>
          </p:txBody>
        </p:sp>
        <p:sp>
          <p:nvSpPr>
            <p:cNvPr id="110" name="Rectangle 16">
              <a:extLst>
                <a:ext uri="{FF2B5EF4-FFF2-40B4-BE49-F238E27FC236}">
                  <a16:creationId xmlns:a16="http://schemas.microsoft.com/office/drawing/2014/main" id="{71332B1E-ADF4-DA45-F315-A31677740945}"/>
                </a:ext>
              </a:extLst>
            </p:cNvPr>
            <p:cNvSpPr/>
            <p:nvPr userDrawn="1"/>
          </p:nvSpPr>
          <p:spPr>
            <a:xfrm>
              <a:off x="-1456231" y="1128960"/>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1" name="Rectangle 17">
              <a:extLst>
                <a:ext uri="{FF2B5EF4-FFF2-40B4-BE49-F238E27FC236}">
                  <a16:creationId xmlns:a16="http://schemas.microsoft.com/office/drawing/2014/main" id="{9B61B04D-B641-31D6-BEBA-31C8B0FF00EB}"/>
                </a:ext>
              </a:extLst>
            </p:cNvPr>
            <p:cNvSpPr/>
            <p:nvPr userDrawn="1"/>
          </p:nvSpPr>
          <p:spPr>
            <a:xfrm>
              <a:off x="-1217599" y="1128960"/>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2" name="Rectangle 115">
              <a:extLst>
                <a:ext uri="{FF2B5EF4-FFF2-40B4-BE49-F238E27FC236}">
                  <a16:creationId xmlns:a16="http://schemas.microsoft.com/office/drawing/2014/main" id="{E31C0927-DA3F-62F7-B57F-50F9E8270DAA}"/>
                </a:ext>
              </a:extLst>
            </p:cNvPr>
            <p:cNvSpPr/>
            <p:nvPr userDrawn="1"/>
          </p:nvSpPr>
          <p:spPr>
            <a:xfrm>
              <a:off x="-1456231" y="2580699"/>
              <a:ext cx="216000" cy="216000"/>
            </a:xfrm>
            <a:prstGeom prst="rect">
              <a:avLst/>
            </a:prstGeom>
            <a:solidFill>
              <a:srgbClr val="C8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3" name="Rectangle 116">
              <a:extLst>
                <a:ext uri="{FF2B5EF4-FFF2-40B4-BE49-F238E27FC236}">
                  <a16:creationId xmlns:a16="http://schemas.microsoft.com/office/drawing/2014/main" id="{1C33EAC6-6E46-D25F-998A-F606F4020CC0}"/>
                </a:ext>
              </a:extLst>
            </p:cNvPr>
            <p:cNvSpPr/>
            <p:nvPr userDrawn="1"/>
          </p:nvSpPr>
          <p:spPr>
            <a:xfrm>
              <a:off x="-974281" y="1844848"/>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4" name="Rectangle 117">
              <a:extLst>
                <a:ext uri="{FF2B5EF4-FFF2-40B4-BE49-F238E27FC236}">
                  <a16:creationId xmlns:a16="http://schemas.microsoft.com/office/drawing/2014/main" id="{52CCA753-C0C4-2F33-1A7E-9814007F6267}"/>
                </a:ext>
              </a:extLst>
            </p:cNvPr>
            <p:cNvSpPr/>
            <p:nvPr userDrawn="1"/>
          </p:nvSpPr>
          <p:spPr>
            <a:xfrm>
              <a:off x="-1456231" y="1844848"/>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5" name="Rectangle 118">
              <a:extLst>
                <a:ext uri="{FF2B5EF4-FFF2-40B4-BE49-F238E27FC236}">
                  <a16:creationId xmlns:a16="http://schemas.microsoft.com/office/drawing/2014/main" id="{899689AF-1907-374F-410E-F74BD4AB9005}"/>
                </a:ext>
              </a:extLst>
            </p:cNvPr>
            <p:cNvSpPr/>
            <p:nvPr userDrawn="1"/>
          </p:nvSpPr>
          <p:spPr>
            <a:xfrm>
              <a:off x="-1217599" y="1844848"/>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6" name="TextBox 119">
              <a:extLst>
                <a:ext uri="{FF2B5EF4-FFF2-40B4-BE49-F238E27FC236}">
                  <a16:creationId xmlns:a16="http://schemas.microsoft.com/office/drawing/2014/main" id="{455C7441-AB16-38B7-4344-272A92A5213E}"/>
                </a:ext>
              </a:extLst>
            </p:cNvPr>
            <p:cNvSpPr txBox="1"/>
            <p:nvPr userDrawn="1"/>
          </p:nvSpPr>
          <p:spPr>
            <a:xfrm>
              <a:off x="-1548680" y="2801223"/>
              <a:ext cx="1386866" cy="738664"/>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太字を多用せず、強調する場合はアクセントカラーとして</a:t>
              </a:r>
              <a:r>
                <a:rPr lang="ja-JP" altLang="en-US" sz="700">
                  <a:solidFill>
                    <a:srgbClr val="FF0000"/>
                  </a:solidFill>
                  <a:latin typeface="Noto Sans JP Regular" panose="020B0500000000000000" pitchFamily="34" charset="-128"/>
                  <a:ea typeface="Noto Sans JP Regular" panose="020B0500000000000000" pitchFamily="34" charset="-128"/>
                </a:rPr>
                <a:t>赤色</a:t>
              </a:r>
              <a:r>
                <a:rPr lang="ja-JP" altLang="en-US" sz="700">
                  <a:latin typeface="Noto Sans JP Regular" panose="020B0500000000000000" pitchFamily="34" charset="-128"/>
                  <a:ea typeface="Noto Sans JP Regular" panose="020B0500000000000000" pitchFamily="34" charset="-128"/>
                </a:rPr>
                <a:t>を使用してください。ただし、赤色も、強調する場合に限定し、多用しないように注意してください。</a:t>
              </a:r>
              <a:endParaRPr lang="en-US" altLang="ja-JP" sz="700" dirty="0">
                <a:latin typeface="Noto Sans JP Regular" panose="020B0500000000000000" pitchFamily="34" charset="-128"/>
                <a:ea typeface="Noto Sans JP Regular" panose="020B0500000000000000" pitchFamily="34" charset="-128"/>
              </a:endParaRPr>
            </a:p>
          </p:txBody>
        </p:sp>
        <p:sp>
          <p:nvSpPr>
            <p:cNvPr id="117" name="Rectangle 120">
              <a:extLst>
                <a:ext uri="{FF2B5EF4-FFF2-40B4-BE49-F238E27FC236}">
                  <a16:creationId xmlns:a16="http://schemas.microsoft.com/office/drawing/2014/main" id="{64D6E1D4-7B0D-29D8-D164-EDF30DF2E584}"/>
                </a:ext>
              </a:extLst>
            </p:cNvPr>
            <p:cNvSpPr/>
            <p:nvPr userDrawn="1"/>
          </p:nvSpPr>
          <p:spPr>
            <a:xfrm>
              <a:off x="-1456231" y="3979858"/>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8" name="Rectangle 121">
              <a:extLst>
                <a:ext uri="{FF2B5EF4-FFF2-40B4-BE49-F238E27FC236}">
                  <a16:creationId xmlns:a16="http://schemas.microsoft.com/office/drawing/2014/main" id="{CF828F0B-C360-B621-8177-B84E7915BF7E}"/>
                </a:ext>
              </a:extLst>
            </p:cNvPr>
            <p:cNvSpPr/>
            <p:nvPr userDrawn="1"/>
          </p:nvSpPr>
          <p:spPr>
            <a:xfrm>
              <a:off x="-1217599" y="3979858"/>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19" name="TextBox 122">
              <a:extLst>
                <a:ext uri="{FF2B5EF4-FFF2-40B4-BE49-F238E27FC236}">
                  <a16:creationId xmlns:a16="http://schemas.microsoft.com/office/drawing/2014/main" id="{9CFF62A3-D403-EE68-A6FC-0E16672566DD}"/>
                </a:ext>
              </a:extLst>
            </p:cNvPr>
            <p:cNvSpPr txBox="1"/>
            <p:nvPr userDrawn="1"/>
          </p:nvSpPr>
          <p:spPr>
            <a:xfrm>
              <a:off x="-1458579" y="4272803"/>
              <a:ext cx="1237447" cy="523220"/>
            </a:xfrm>
            <a:prstGeom prst="rect">
              <a:avLst/>
            </a:prstGeom>
            <a:solidFill>
              <a:srgbClr val="A0B5CF"/>
            </a:solid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重要なポイントが目立つように、背景に色をひいてください。</a:t>
              </a:r>
              <a:r>
                <a:rPr lang="ja-JP" altLang="en-US" sz="700">
                  <a:solidFill>
                    <a:schemeClr val="bg1"/>
                  </a:solidFill>
                  <a:latin typeface="Noto Sans JP Regular" panose="020B0500000000000000" pitchFamily="34" charset="-128"/>
                  <a:ea typeface="Noto Sans JP Regular" panose="020B0500000000000000" pitchFamily="34" charset="-128"/>
                </a:rPr>
                <a:t>白抜き</a:t>
              </a:r>
              <a:r>
                <a:rPr lang="ja-JP" altLang="en-US" sz="700">
                  <a:latin typeface="Noto Sans JP Regular" panose="020B0500000000000000" pitchFamily="34" charset="-128"/>
                  <a:ea typeface="Noto Sans JP Regular" panose="020B0500000000000000" pitchFamily="34" charset="-128"/>
                </a:rPr>
                <a:t>文字が効果的です。</a:t>
              </a:r>
              <a:endParaRPr lang="ja-JP" altLang="en-US" sz="700" dirty="0">
                <a:latin typeface="Noto Sans JP Regular" panose="020B0500000000000000" pitchFamily="34" charset="-128"/>
                <a:ea typeface="Noto Sans JP Regular" panose="020B0500000000000000" pitchFamily="34" charset="-128"/>
              </a:endParaRPr>
            </a:p>
          </p:txBody>
        </p:sp>
        <p:sp>
          <p:nvSpPr>
            <p:cNvPr id="120" name="Rectangle 123">
              <a:extLst>
                <a:ext uri="{FF2B5EF4-FFF2-40B4-BE49-F238E27FC236}">
                  <a16:creationId xmlns:a16="http://schemas.microsoft.com/office/drawing/2014/main" id="{53634C25-78F2-AB3F-38C3-50A911F651EF}"/>
                </a:ext>
              </a:extLst>
            </p:cNvPr>
            <p:cNvSpPr/>
            <p:nvPr userDrawn="1"/>
          </p:nvSpPr>
          <p:spPr>
            <a:xfrm>
              <a:off x="-974281" y="1128960"/>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1" name="TextBox 124">
              <a:extLst>
                <a:ext uri="{FF2B5EF4-FFF2-40B4-BE49-F238E27FC236}">
                  <a16:creationId xmlns:a16="http://schemas.microsoft.com/office/drawing/2014/main" id="{D6ACDBEC-793E-D576-BEB9-09AEAF49940B}"/>
                </a:ext>
              </a:extLst>
            </p:cNvPr>
            <p:cNvSpPr txBox="1"/>
            <p:nvPr userDrawn="1"/>
          </p:nvSpPr>
          <p:spPr>
            <a:xfrm>
              <a:off x="-1548680" y="5013176"/>
              <a:ext cx="810802"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テーマ</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a:t>
              </a:r>
            </a:p>
          </p:txBody>
        </p:sp>
        <p:sp>
          <p:nvSpPr>
            <p:cNvPr id="122" name="Rectangle 125">
              <a:extLst>
                <a:ext uri="{FF2B5EF4-FFF2-40B4-BE49-F238E27FC236}">
                  <a16:creationId xmlns:a16="http://schemas.microsoft.com/office/drawing/2014/main" id="{F97AA4CC-6559-A6DE-D818-567722E1ABB6}"/>
                </a:ext>
              </a:extLst>
            </p:cNvPr>
            <p:cNvSpPr/>
            <p:nvPr userDrawn="1"/>
          </p:nvSpPr>
          <p:spPr>
            <a:xfrm rot="5400000">
              <a:off x="-974281" y="5229105"/>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3" name="Rectangle 126">
              <a:extLst>
                <a:ext uri="{FF2B5EF4-FFF2-40B4-BE49-F238E27FC236}">
                  <a16:creationId xmlns:a16="http://schemas.microsoft.com/office/drawing/2014/main" id="{FE07105B-CA6E-4CA3-EAD9-D1AF7B9BB94B}"/>
                </a:ext>
              </a:extLst>
            </p:cNvPr>
            <p:cNvSpPr/>
            <p:nvPr userDrawn="1"/>
          </p:nvSpPr>
          <p:spPr>
            <a:xfrm rot="5400000">
              <a:off x="-974281" y="546773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5" name="Rectangle 127">
              <a:extLst>
                <a:ext uri="{FF2B5EF4-FFF2-40B4-BE49-F238E27FC236}">
                  <a16:creationId xmlns:a16="http://schemas.microsoft.com/office/drawing/2014/main" id="{3844FC3D-7819-BD4D-618A-497AE4908C81}"/>
                </a:ext>
              </a:extLst>
            </p:cNvPr>
            <p:cNvSpPr/>
            <p:nvPr userDrawn="1"/>
          </p:nvSpPr>
          <p:spPr>
            <a:xfrm rot="5400000">
              <a:off x="-1217599" y="52291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6" name="Rectangle 128">
              <a:extLst>
                <a:ext uri="{FF2B5EF4-FFF2-40B4-BE49-F238E27FC236}">
                  <a16:creationId xmlns:a16="http://schemas.microsoft.com/office/drawing/2014/main" id="{F7FA3557-9717-29AC-4067-D32809FAF0BB}"/>
                </a:ext>
              </a:extLst>
            </p:cNvPr>
            <p:cNvSpPr/>
            <p:nvPr userDrawn="1"/>
          </p:nvSpPr>
          <p:spPr>
            <a:xfrm rot="5400000">
              <a:off x="-1456231" y="5229105"/>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7" name="Rectangle 129">
              <a:extLst>
                <a:ext uri="{FF2B5EF4-FFF2-40B4-BE49-F238E27FC236}">
                  <a16:creationId xmlns:a16="http://schemas.microsoft.com/office/drawing/2014/main" id="{21D7B8F8-04B8-3B38-54AB-0109A27F14BC}"/>
                </a:ext>
              </a:extLst>
            </p:cNvPr>
            <p:cNvSpPr/>
            <p:nvPr userDrawn="1"/>
          </p:nvSpPr>
          <p:spPr>
            <a:xfrm rot="5400000">
              <a:off x="-1217599" y="5467737"/>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8" name="Rectangle 130">
              <a:extLst>
                <a:ext uri="{FF2B5EF4-FFF2-40B4-BE49-F238E27FC236}">
                  <a16:creationId xmlns:a16="http://schemas.microsoft.com/office/drawing/2014/main" id="{556F121F-03EF-24DB-7584-A164A5191F3B}"/>
                </a:ext>
              </a:extLst>
            </p:cNvPr>
            <p:cNvSpPr/>
            <p:nvPr userDrawn="1"/>
          </p:nvSpPr>
          <p:spPr>
            <a:xfrm rot="5400000">
              <a:off x="-1456231" y="5467737"/>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129" name="TextBox 131">
              <a:extLst>
                <a:ext uri="{FF2B5EF4-FFF2-40B4-BE49-F238E27FC236}">
                  <a16:creationId xmlns:a16="http://schemas.microsoft.com/office/drawing/2014/main" id="{2202A7B1-C938-5518-722B-08EC8B780974}"/>
                </a:ext>
              </a:extLst>
            </p:cNvPr>
            <p:cNvSpPr txBox="1"/>
            <p:nvPr userDrawn="1"/>
          </p:nvSpPr>
          <p:spPr>
            <a:xfrm>
              <a:off x="-1548679" y="5714092"/>
              <a:ext cx="1386864" cy="523220"/>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サステナビリティに関するテーマの</a:t>
              </a:r>
              <a:r>
                <a:rPr lang="en-US" altLang="ja-JP" sz="700" dirty="0">
                  <a:latin typeface="Noto Sans JP Regular" panose="020B0500000000000000" pitchFamily="34" charset="-128"/>
                  <a:ea typeface="Noto Sans JP Regular" panose="020B0500000000000000" pitchFamily="34" charset="-128"/>
                </a:rPr>
                <a:t>PR</a:t>
              </a:r>
              <a:r>
                <a:rPr lang="ja-JP" altLang="en-US" sz="700">
                  <a:latin typeface="Noto Sans JP Regular" panose="020B0500000000000000" pitchFamily="34" charset="-128"/>
                  <a:ea typeface="Noto Sans JP Regular" panose="020B0500000000000000" pitchFamily="34" charset="-128"/>
                </a:rPr>
                <a:t>素材を作成する場合は、上にあるカラーパレット色が効果的です。</a:t>
              </a:r>
              <a:endParaRPr lang="en-US" altLang="ja-JP" sz="700" dirty="0">
                <a:latin typeface="Noto Sans JP Regular" panose="020B0500000000000000" pitchFamily="34" charset="-128"/>
                <a:ea typeface="Noto Sans JP Regular" panose="020B0500000000000000" pitchFamily="34" charset="-128"/>
              </a:endParaRPr>
            </a:p>
          </p:txBody>
        </p:sp>
        <p:sp>
          <p:nvSpPr>
            <p:cNvPr id="130" name="TextBox 132">
              <a:extLst>
                <a:ext uri="{FF2B5EF4-FFF2-40B4-BE49-F238E27FC236}">
                  <a16:creationId xmlns:a16="http://schemas.microsoft.com/office/drawing/2014/main" id="{2EED9766-09C3-3D6B-C021-9486A3AA8750}"/>
                </a:ext>
              </a:extLst>
            </p:cNvPr>
            <p:cNvSpPr txBox="1"/>
            <p:nvPr userDrawn="1"/>
          </p:nvSpPr>
          <p:spPr>
            <a:xfrm>
              <a:off x="-972616" y="1344960"/>
              <a:ext cx="810802" cy="276999"/>
            </a:xfrm>
            <a:prstGeom prst="rect">
              <a:avLst/>
            </a:prstGeom>
            <a:noFill/>
          </p:spPr>
          <p:txBody>
            <a:bodyPr wrap="square" rtlCol="0">
              <a:spAutoFit/>
            </a:bodyPr>
            <a:lstStyle/>
            <a:p>
              <a:r>
                <a:rPr kumimoji="1" lang="ja-JP" altLang="en-US" sz="600">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600" dirty="0">
                  <a:latin typeface="Noto Sans JP Regular" panose="020B0500000000000000" pitchFamily="34" charset="-128"/>
                  <a:ea typeface="Noto Sans JP Regular" panose="020B0500000000000000" pitchFamily="34" charset="-128"/>
                  <a:cs typeface="Arial" panose="020B0604020202020204" pitchFamily="34" charset="0"/>
                </a:rPr>
                <a:t> 1</a:t>
              </a:r>
              <a:br>
                <a:rPr kumimoji="1" lang="en-US" altLang="ja-JP" sz="600" dirty="0">
                  <a:latin typeface="Noto Sans JP Regular" panose="020B0500000000000000" pitchFamily="34" charset="-128"/>
                  <a:ea typeface="Noto Sans JP Regular" panose="020B0500000000000000" pitchFamily="34" charset="-128"/>
                  <a:cs typeface="Arial" panose="020B0604020202020204" pitchFamily="34" charset="0"/>
                </a:rPr>
              </a:br>
              <a:r>
                <a:rPr kumimoji="1" lang="ja-JP" altLang="en-US" sz="600">
                  <a:solidFill>
                    <a:srgbClr val="666666"/>
                  </a:solidFill>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600" dirty="0">
                  <a:solidFill>
                    <a:srgbClr val="666666"/>
                  </a:solidFill>
                  <a:latin typeface="Noto Sans JP Regular" panose="020B0500000000000000" pitchFamily="34" charset="-128"/>
                  <a:ea typeface="Noto Sans JP Regular" panose="020B0500000000000000" pitchFamily="34" charset="-128"/>
                  <a:cs typeface="Arial" panose="020B0604020202020204" pitchFamily="34" charset="0"/>
                </a:rPr>
                <a:t> 2</a:t>
              </a:r>
            </a:p>
          </p:txBody>
        </p:sp>
      </p:grpSp>
      <p:grpSp>
        <p:nvGrpSpPr>
          <p:cNvPr id="2" name="グループ化 1">
            <a:extLst>
              <a:ext uri="{FF2B5EF4-FFF2-40B4-BE49-F238E27FC236}">
                <a16:creationId xmlns:a16="http://schemas.microsoft.com/office/drawing/2014/main" id="{11DEDB10-0988-5CA6-7EF6-D148D698214F}"/>
              </a:ext>
            </a:extLst>
          </p:cNvPr>
          <p:cNvGrpSpPr/>
          <p:nvPr userDrawn="1"/>
        </p:nvGrpSpPr>
        <p:grpSpPr>
          <a:xfrm>
            <a:off x="12419305" y="1762750"/>
            <a:ext cx="2101631" cy="4834602"/>
            <a:chOff x="9504778" y="1778667"/>
            <a:chExt cx="2101631" cy="4834602"/>
          </a:xfrm>
        </p:grpSpPr>
        <p:sp>
          <p:nvSpPr>
            <p:cNvPr id="4" name="Rectangle 19">
              <a:extLst>
                <a:ext uri="{FF2B5EF4-FFF2-40B4-BE49-F238E27FC236}">
                  <a16:creationId xmlns:a16="http://schemas.microsoft.com/office/drawing/2014/main" id="{A2C73A6C-2BBC-01C6-0B0B-115D7169231C}"/>
                </a:ext>
              </a:extLst>
            </p:cNvPr>
            <p:cNvSpPr/>
            <p:nvPr userDrawn="1"/>
          </p:nvSpPr>
          <p:spPr>
            <a:xfrm>
              <a:off x="10395134" y="308412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5" name="Rectangle 20">
              <a:extLst>
                <a:ext uri="{FF2B5EF4-FFF2-40B4-BE49-F238E27FC236}">
                  <a16:creationId xmlns:a16="http://schemas.microsoft.com/office/drawing/2014/main" id="{99CEA493-3401-068B-B610-919601135B17}"/>
                </a:ext>
              </a:extLst>
            </p:cNvPr>
            <p:cNvSpPr/>
            <p:nvPr userDrawn="1"/>
          </p:nvSpPr>
          <p:spPr>
            <a:xfrm>
              <a:off x="10633766" y="308412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1">
              <a:extLst>
                <a:ext uri="{FF2B5EF4-FFF2-40B4-BE49-F238E27FC236}">
                  <a16:creationId xmlns:a16="http://schemas.microsoft.com/office/drawing/2014/main" id="{8EF632A5-ADE2-E524-3E88-62C1B88BF7A0}"/>
                </a:ext>
              </a:extLst>
            </p:cNvPr>
            <p:cNvSpPr/>
            <p:nvPr userDrawn="1"/>
          </p:nvSpPr>
          <p:spPr>
            <a:xfrm>
              <a:off x="10872398" y="308412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 name="Rectangle 22">
              <a:extLst>
                <a:ext uri="{FF2B5EF4-FFF2-40B4-BE49-F238E27FC236}">
                  <a16:creationId xmlns:a16="http://schemas.microsoft.com/office/drawing/2014/main" id="{BFE345A7-5500-8527-D828-9B6D2F4C411C}"/>
                </a:ext>
              </a:extLst>
            </p:cNvPr>
            <p:cNvSpPr/>
            <p:nvPr userDrawn="1"/>
          </p:nvSpPr>
          <p:spPr>
            <a:xfrm>
              <a:off x="11111030" y="308412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Rectangle 23">
              <a:extLst>
                <a:ext uri="{FF2B5EF4-FFF2-40B4-BE49-F238E27FC236}">
                  <a16:creationId xmlns:a16="http://schemas.microsoft.com/office/drawing/2014/main" id="{5ACB23AC-98D4-4C94-6D99-CBB4516F6B00}"/>
                </a:ext>
              </a:extLst>
            </p:cNvPr>
            <p:cNvSpPr/>
            <p:nvPr userDrawn="1"/>
          </p:nvSpPr>
          <p:spPr>
            <a:xfrm>
              <a:off x="11349660" y="308412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 name="TextBox 24">
              <a:extLst>
                <a:ext uri="{FF2B5EF4-FFF2-40B4-BE49-F238E27FC236}">
                  <a16:creationId xmlns:a16="http://schemas.microsoft.com/office/drawing/2014/main" id="{8F199C58-D98B-9A55-51EB-297C770FB0C2}"/>
                </a:ext>
              </a:extLst>
            </p:cNvPr>
            <p:cNvSpPr txBox="1"/>
            <p:nvPr userDrawn="1"/>
          </p:nvSpPr>
          <p:spPr>
            <a:xfrm>
              <a:off x="9504778" y="2708766"/>
              <a:ext cx="1007360" cy="215444"/>
            </a:xfrm>
            <a:prstGeom prst="rect">
              <a:avLst/>
            </a:prstGeom>
            <a:noFill/>
          </p:spPr>
          <p:txBody>
            <a:bodyPr wrap="square" rtlCol="0">
              <a:spAutoFit/>
            </a:bodyPr>
            <a:lstStyle/>
            <a:p>
              <a:r>
                <a:rPr kumimoji="1" lang="ja-JP" altLang="en-US" sz="800" u="sng">
                  <a:latin typeface="Noto Sans JP Regular" panose="020B0500000000000000" pitchFamily="34" charset="-128"/>
                  <a:ea typeface="Noto Sans JP Regular" panose="020B0500000000000000" pitchFamily="34" charset="-128"/>
                </a:rPr>
                <a:t>アクセントカラー</a:t>
              </a:r>
              <a:endParaRPr kumimoji="1" lang="ja-JP" altLang="en-US" sz="800" u="sng" dirty="0">
                <a:latin typeface="Noto Sans JP Regular" panose="020B0500000000000000" pitchFamily="34" charset="-128"/>
                <a:ea typeface="Noto Sans JP Regular" panose="020B0500000000000000" pitchFamily="34" charset="-128"/>
              </a:endParaRPr>
            </a:p>
          </p:txBody>
        </p:sp>
        <p:sp>
          <p:nvSpPr>
            <p:cNvPr id="13" name="TextBox 25">
              <a:extLst>
                <a:ext uri="{FF2B5EF4-FFF2-40B4-BE49-F238E27FC236}">
                  <a16:creationId xmlns:a16="http://schemas.microsoft.com/office/drawing/2014/main" id="{0623D3B7-7998-7B7C-ABC0-DE1B44D2A6B5}"/>
                </a:ext>
              </a:extLst>
            </p:cNvPr>
            <p:cNvSpPr txBox="1"/>
            <p:nvPr userDrawn="1"/>
          </p:nvSpPr>
          <p:spPr>
            <a:xfrm>
              <a:off x="9647178" y="308412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4" name="TextBox 26">
              <a:extLst>
                <a:ext uri="{FF2B5EF4-FFF2-40B4-BE49-F238E27FC236}">
                  <a16:creationId xmlns:a16="http://schemas.microsoft.com/office/drawing/2014/main" id="{9302162E-BF01-E38E-7063-21263FBF6280}"/>
                </a:ext>
              </a:extLst>
            </p:cNvPr>
            <p:cNvSpPr txBox="1"/>
            <p:nvPr userDrawn="1"/>
          </p:nvSpPr>
          <p:spPr>
            <a:xfrm>
              <a:off x="10321637" y="291485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5" name="TextBox 27">
              <a:extLst>
                <a:ext uri="{FF2B5EF4-FFF2-40B4-BE49-F238E27FC236}">
                  <a16:creationId xmlns:a16="http://schemas.microsoft.com/office/drawing/2014/main" id="{CA510B69-1BC6-5654-7AF8-06755AA9875C}"/>
                </a:ext>
              </a:extLst>
            </p:cNvPr>
            <p:cNvSpPr txBox="1"/>
            <p:nvPr userDrawn="1"/>
          </p:nvSpPr>
          <p:spPr>
            <a:xfrm>
              <a:off x="10566016"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6" name="TextBox 28">
              <a:extLst>
                <a:ext uri="{FF2B5EF4-FFF2-40B4-BE49-F238E27FC236}">
                  <a16:creationId xmlns:a16="http://schemas.microsoft.com/office/drawing/2014/main" id="{92188131-7C2C-7A23-E7E6-5A39E1526D60}"/>
                </a:ext>
              </a:extLst>
            </p:cNvPr>
            <p:cNvSpPr txBox="1"/>
            <p:nvPr userDrawn="1"/>
          </p:nvSpPr>
          <p:spPr>
            <a:xfrm>
              <a:off x="10786804"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7" name="TextBox 29">
              <a:extLst>
                <a:ext uri="{FF2B5EF4-FFF2-40B4-BE49-F238E27FC236}">
                  <a16:creationId xmlns:a16="http://schemas.microsoft.com/office/drawing/2014/main" id="{86C463DA-2598-A090-5F4C-3A81DC9F24EA}"/>
                </a:ext>
              </a:extLst>
            </p:cNvPr>
            <p:cNvSpPr txBox="1"/>
            <p:nvPr userDrawn="1"/>
          </p:nvSpPr>
          <p:spPr>
            <a:xfrm>
              <a:off x="11012883"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8" name="TextBox 30">
              <a:extLst>
                <a:ext uri="{FF2B5EF4-FFF2-40B4-BE49-F238E27FC236}">
                  <a16:creationId xmlns:a16="http://schemas.microsoft.com/office/drawing/2014/main" id="{B9B677A2-2CC4-D745-7F13-1B58CA1E96CF}"/>
                </a:ext>
              </a:extLst>
            </p:cNvPr>
            <p:cNvSpPr txBox="1"/>
            <p:nvPr userDrawn="1"/>
          </p:nvSpPr>
          <p:spPr>
            <a:xfrm>
              <a:off x="11235251"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9" name="Rectangle 31">
              <a:extLst>
                <a:ext uri="{FF2B5EF4-FFF2-40B4-BE49-F238E27FC236}">
                  <a16:creationId xmlns:a16="http://schemas.microsoft.com/office/drawing/2014/main" id="{DE34388F-8C92-8CC1-A2BE-230F6610C185}"/>
                </a:ext>
              </a:extLst>
            </p:cNvPr>
            <p:cNvSpPr/>
            <p:nvPr userDrawn="1"/>
          </p:nvSpPr>
          <p:spPr>
            <a:xfrm>
              <a:off x="10395134" y="334015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2">
              <a:extLst>
                <a:ext uri="{FF2B5EF4-FFF2-40B4-BE49-F238E27FC236}">
                  <a16:creationId xmlns:a16="http://schemas.microsoft.com/office/drawing/2014/main" id="{2EC8869C-0A71-AE4F-3073-06631F0D8205}"/>
                </a:ext>
              </a:extLst>
            </p:cNvPr>
            <p:cNvSpPr/>
            <p:nvPr userDrawn="1"/>
          </p:nvSpPr>
          <p:spPr>
            <a:xfrm>
              <a:off x="10391043" y="359618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3">
              <a:extLst>
                <a:ext uri="{FF2B5EF4-FFF2-40B4-BE49-F238E27FC236}">
                  <a16:creationId xmlns:a16="http://schemas.microsoft.com/office/drawing/2014/main" id="{F535B850-25B5-9E4B-9BD1-5581337CF3EC}"/>
                </a:ext>
              </a:extLst>
            </p:cNvPr>
            <p:cNvSpPr/>
            <p:nvPr userDrawn="1"/>
          </p:nvSpPr>
          <p:spPr>
            <a:xfrm>
              <a:off x="10391043" y="385221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4">
              <a:extLst>
                <a:ext uri="{FF2B5EF4-FFF2-40B4-BE49-F238E27FC236}">
                  <a16:creationId xmlns:a16="http://schemas.microsoft.com/office/drawing/2014/main" id="{799BD9A6-0646-540D-A544-986ECD60248B}"/>
                </a:ext>
              </a:extLst>
            </p:cNvPr>
            <p:cNvSpPr/>
            <p:nvPr userDrawn="1"/>
          </p:nvSpPr>
          <p:spPr>
            <a:xfrm>
              <a:off x="10391043" y="410823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5">
              <a:extLst>
                <a:ext uri="{FF2B5EF4-FFF2-40B4-BE49-F238E27FC236}">
                  <a16:creationId xmlns:a16="http://schemas.microsoft.com/office/drawing/2014/main" id="{383A01B6-8A06-E73E-16F8-3478929170BE}"/>
                </a:ext>
              </a:extLst>
            </p:cNvPr>
            <p:cNvSpPr/>
            <p:nvPr userDrawn="1"/>
          </p:nvSpPr>
          <p:spPr>
            <a:xfrm>
              <a:off x="10391043" y="436426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6">
              <a:extLst>
                <a:ext uri="{FF2B5EF4-FFF2-40B4-BE49-F238E27FC236}">
                  <a16:creationId xmlns:a16="http://schemas.microsoft.com/office/drawing/2014/main" id="{12452049-5E84-B566-0018-18E1AC2A3D92}"/>
                </a:ext>
              </a:extLst>
            </p:cNvPr>
            <p:cNvSpPr/>
            <p:nvPr userDrawn="1"/>
          </p:nvSpPr>
          <p:spPr>
            <a:xfrm>
              <a:off x="10391043" y="462029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7">
              <a:extLst>
                <a:ext uri="{FF2B5EF4-FFF2-40B4-BE49-F238E27FC236}">
                  <a16:creationId xmlns:a16="http://schemas.microsoft.com/office/drawing/2014/main" id="{68FF7C20-1974-475B-38F4-2151C72BA3AC}"/>
                </a:ext>
              </a:extLst>
            </p:cNvPr>
            <p:cNvSpPr/>
            <p:nvPr userDrawn="1"/>
          </p:nvSpPr>
          <p:spPr>
            <a:xfrm>
              <a:off x="10386952" y="487632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8">
              <a:extLst>
                <a:ext uri="{FF2B5EF4-FFF2-40B4-BE49-F238E27FC236}">
                  <a16:creationId xmlns:a16="http://schemas.microsoft.com/office/drawing/2014/main" id="{0DF66317-3701-26EB-624C-5A143CE9159F}"/>
                </a:ext>
              </a:extLst>
            </p:cNvPr>
            <p:cNvSpPr/>
            <p:nvPr userDrawn="1"/>
          </p:nvSpPr>
          <p:spPr>
            <a:xfrm>
              <a:off x="10386952" y="513235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39">
              <a:extLst>
                <a:ext uri="{FF2B5EF4-FFF2-40B4-BE49-F238E27FC236}">
                  <a16:creationId xmlns:a16="http://schemas.microsoft.com/office/drawing/2014/main" id="{BE9083D2-8621-B6A1-92AE-500F168E5787}"/>
                </a:ext>
              </a:extLst>
            </p:cNvPr>
            <p:cNvSpPr/>
            <p:nvPr userDrawn="1"/>
          </p:nvSpPr>
          <p:spPr>
            <a:xfrm>
              <a:off x="10386952" y="538838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0">
              <a:extLst>
                <a:ext uri="{FF2B5EF4-FFF2-40B4-BE49-F238E27FC236}">
                  <a16:creationId xmlns:a16="http://schemas.microsoft.com/office/drawing/2014/main" id="{A983FF85-7746-781E-EAF3-8D92D1BE355B}"/>
                </a:ext>
              </a:extLst>
            </p:cNvPr>
            <p:cNvSpPr/>
            <p:nvPr userDrawn="1"/>
          </p:nvSpPr>
          <p:spPr>
            <a:xfrm>
              <a:off x="10386952" y="603722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1">
              <a:extLst>
                <a:ext uri="{FF2B5EF4-FFF2-40B4-BE49-F238E27FC236}">
                  <a16:creationId xmlns:a16="http://schemas.microsoft.com/office/drawing/2014/main" id="{23C99F81-797E-D546-7A60-15C57A6BDD26}"/>
                </a:ext>
              </a:extLst>
            </p:cNvPr>
            <p:cNvSpPr/>
            <p:nvPr userDrawn="1"/>
          </p:nvSpPr>
          <p:spPr>
            <a:xfrm>
              <a:off x="10633766" y="603722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2">
              <a:extLst>
                <a:ext uri="{FF2B5EF4-FFF2-40B4-BE49-F238E27FC236}">
                  <a16:creationId xmlns:a16="http://schemas.microsoft.com/office/drawing/2014/main" id="{F203B972-64D6-DFB9-1CA2-72746B77916E}"/>
                </a:ext>
              </a:extLst>
            </p:cNvPr>
            <p:cNvSpPr/>
            <p:nvPr userDrawn="1"/>
          </p:nvSpPr>
          <p:spPr>
            <a:xfrm>
              <a:off x="10872398" y="603722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3">
              <a:extLst>
                <a:ext uri="{FF2B5EF4-FFF2-40B4-BE49-F238E27FC236}">
                  <a16:creationId xmlns:a16="http://schemas.microsoft.com/office/drawing/2014/main" id="{9B57F289-B590-D176-40E1-AFC35F3B4189}"/>
                </a:ext>
              </a:extLst>
            </p:cNvPr>
            <p:cNvSpPr/>
            <p:nvPr userDrawn="1"/>
          </p:nvSpPr>
          <p:spPr>
            <a:xfrm>
              <a:off x="11111030" y="603722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Rectangle 44">
              <a:extLst>
                <a:ext uri="{FF2B5EF4-FFF2-40B4-BE49-F238E27FC236}">
                  <a16:creationId xmlns:a16="http://schemas.microsoft.com/office/drawing/2014/main" id="{B7744928-A6DF-54F5-E1FB-5A1F2E250DBC}"/>
                </a:ext>
              </a:extLst>
            </p:cNvPr>
            <p:cNvSpPr/>
            <p:nvPr userDrawn="1"/>
          </p:nvSpPr>
          <p:spPr>
            <a:xfrm>
              <a:off x="11349660" y="603722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 name="TextBox 45">
              <a:extLst>
                <a:ext uri="{FF2B5EF4-FFF2-40B4-BE49-F238E27FC236}">
                  <a16:creationId xmlns:a16="http://schemas.microsoft.com/office/drawing/2014/main" id="{C45EE179-F0C7-5C8F-4C2C-8732BB6D6BF8}"/>
                </a:ext>
              </a:extLst>
            </p:cNvPr>
            <p:cNvSpPr txBox="1"/>
            <p:nvPr userDrawn="1"/>
          </p:nvSpPr>
          <p:spPr>
            <a:xfrm>
              <a:off x="9515094" y="5748399"/>
              <a:ext cx="882502" cy="215444"/>
            </a:xfrm>
            <a:prstGeom prst="rect">
              <a:avLst/>
            </a:prstGeom>
            <a:noFill/>
          </p:spPr>
          <p:txBody>
            <a:bodyPr wrap="square" rtlCol="0">
              <a:spAutoFit/>
            </a:bodyPr>
            <a:lstStyle/>
            <a:p>
              <a:r>
                <a:rPr kumimoji="1" lang="ja-JP" altLang="en-US" sz="800" b="0" u="sng">
                  <a:latin typeface="Noto Sans JP Regular" panose="020B0500000000000000" pitchFamily="34" charset="-128"/>
                  <a:ea typeface="Noto Sans JP Regular" panose="020B0500000000000000" pitchFamily="34" charset="-128"/>
                </a:rPr>
                <a:t>モノクローム</a:t>
              </a:r>
              <a:endParaRPr kumimoji="1" lang="ja-JP" altLang="en-US" sz="800" b="0" u="sng" dirty="0">
                <a:latin typeface="Noto Sans JP Regular" panose="020B0500000000000000" pitchFamily="34" charset="-128"/>
                <a:ea typeface="Noto Sans JP Regular" panose="020B0500000000000000" pitchFamily="34" charset="-128"/>
              </a:endParaRPr>
            </a:p>
          </p:txBody>
        </p:sp>
        <p:sp>
          <p:nvSpPr>
            <p:cNvPr id="34" name="TextBox 46">
              <a:extLst>
                <a:ext uri="{FF2B5EF4-FFF2-40B4-BE49-F238E27FC236}">
                  <a16:creationId xmlns:a16="http://schemas.microsoft.com/office/drawing/2014/main" id="{8A305D83-1F6C-5714-83CC-656E1EE82340}"/>
                </a:ext>
              </a:extLst>
            </p:cNvPr>
            <p:cNvSpPr txBox="1"/>
            <p:nvPr userDrawn="1"/>
          </p:nvSpPr>
          <p:spPr>
            <a:xfrm>
              <a:off x="9647178" y="6037229"/>
              <a:ext cx="694346" cy="215444"/>
            </a:xfrm>
            <a:prstGeom prst="rect">
              <a:avLst/>
            </a:prstGeom>
            <a:noFill/>
          </p:spPr>
          <p:txBody>
            <a:bodyPr wrap="square" rtlCol="0">
              <a:spAutoFit/>
            </a:bodyPr>
            <a:lstStyle/>
            <a:p>
              <a:pPr algn="r"/>
              <a:r>
                <a:rPr kumimoji="1" lang="ja-JP" altLang="en-US" sz="800" b="1">
                  <a:latin typeface="Noto Sans JP Bold" panose="020B0500000000000000" pitchFamily="34" charset="-128"/>
                  <a:ea typeface="Noto Sans JP Bold" panose="020B0500000000000000" pitchFamily="34" charset="-128"/>
                  <a:cs typeface="Arial" panose="020B0604020202020204" pitchFamily="34" charset="0"/>
                </a:rPr>
                <a:t>ダーク</a:t>
              </a:r>
              <a:endParaRPr kumimoji="1" lang="ja-JP" altLang="en-US" sz="800" b="1" dirty="0">
                <a:latin typeface="Noto Sans JP Bold" panose="020B0500000000000000" pitchFamily="34" charset="-128"/>
                <a:ea typeface="Noto Sans JP Bold" panose="020B0500000000000000" pitchFamily="34" charset="-128"/>
                <a:cs typeface="Arial" panose="020B0604020202020204" pitchFamily="34" charset="0"/>
              </a:endParaRPr>
            </a:p>
          </p:txBody>
        </p:sp>
        <p:sp>
          <p:nvSpPr>
            <p:cNvPr id="35" name="TextBox 47">
              <a:extLst>
                <a:ext uri="{FF2B5EF4-FFF2-40B4-BE49-F238E27FC236}">
                  <a16:creationId xmlns:a16="http://schemas.microsoft.com/office/drawing/2014/main" id="{A2D22DAB-405A-03A1-030A-841C6DDCD6F0}"/>
                </a:ext>
              </a:extLst>
            </p:cNvPr>
            <p:cNvSpPr txBox="1"/>
            <p:nvPr userDrawn="1"/>
          </p:nvSpPr>
          <p:spPr>
            <a:xfrm>
              <a:off x="10321637" y="589335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6" name="TextBox 48">
              <a:extLst>
                <a:ext uri="{FF2B5EF4-FFF2-40B4-BE49-F238E27FC236}">
                  <a16:creationId xmlns:a16="http://schemas.microsoft.com/office/drawing/2014/main" id="{3A76DE0A-9F07-2FA5-69F5-722FD9E9D980}"/>
                </a:ext>
              </a:extLst>
            </p:cNvPr>
            <p:cNvSpPr txBox="1"/>
            <p:nvPr userDrawn="1"/>
          </p:nvSpPr>
          <p:spPr>
            <a:xfrm>
              <a:off x="10588807"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7" name="TextBox 49">
              <a:extLst>
                <a:ext uri="{FF2B5EF4-FFF2-40B4-BE49-F238E27FC236}">
                  <a16:creationId xmlns:a16="http://schemas.microsoft.com/office/drawing/2014/main" id="{5D0BE4E3-25DC-4293-13E5-B956E40C9E09}"/>
                </a:ext>
              </a:extLst>
            </p:cNvPr>
            <p:cNvSpPr txBox="1"/>
            <p:nvPr userDrawn="1"/>
          </p:nvSpPr>
          <p:spPr>
            <a:xfrm>
              <a:off x="10821729"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8" name="TextBox 50">
              <a:extLst>
                <a:ext uri="{FF2B5EF4-FFF2-40B4-BE49-F238E27FC236}">
                  <a16:creationId xmlns:a16="http://schemas.microsoft.com/office/drawing/2014/main" id="{4A2D734F-A166-ECE0-D3A0-53262C0C9E5A}"/>
                </a:ext>
              </a:extLst>
            </p:cNvPr>
            <p:cNvSpPr txBox="1"/>
            <p:nvPr userDrawn="1"/>
          </p:nvSpPr>
          <p:spPr>
            <a:xfrm>
              <a:off x="11057333"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9" name="TextBox 51">
              <a:extLst>
                <a:ext uri="{FF2B5EF4-FFF2-40B4-BE49-F238E27FC236}">
                  <a16:creationId xmlns:a16="http://schemas.microsoft.com/office/drawing/2014/main" id="{E9360A25-EECA-FCCD-2B3A-AAA13E6E1142}"/>
                </a:ext>
              </a:extLst>
            </p:cNvPr>
            <p:cNvSpPr txBox="1"/>
            <p:nvPr userDrawn="1"/>
          </p:nvSpPr>
          <p:spPr>
            <a:xfrm>
              <a:off x="11293503"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40" name="Rectangle 52">
              <a:extLst>
                <a:ext uri="{FF2B5EF4-FFF2-40B4-BE49-F238E27FC236}">
                  <a16:creationId xmlns:a16="http://schemas.microsoft.com/office/drawing/2014/main" id="{121D80B8-03B0-1CB4-A449-5E78DB72B675}"/>
                </a:ext>
              </a:extLst>
            </p:cNvPr>
            <p:cNvSpPr/>
            <p:nvPr userDrawn="1"/>
          </p:nvSpPr>
          <p:spPr>
            <a:xfrm>
              <a:off x="10386952" y="639726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3">
              <a:extLst>
                <a:ext uri="{FF2B5EF4-FFF2-40B4-BE49-F238E27FC236}">
                  <a16:creationId xmlns:a16="http://schemas.microsoft.com/office/drawing/2014/main" id="{21CBC0EE-A306-C78F-3282-EB2E1BBD9243}"/>
                </a:ext>
              </a:extLst>
            </p:cNvPr>
            <p:cNvSpPr/>
            <p:nvPr userDrawn="1"/>
          </p:nvSpPr>
          <p:spPr>
            <a:xfrm>
              <a:off x="10633766" y="639726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4">
              <a:extLst>
                <a:ext uri="{FF2B5EF4-FFF2-40B4-BE49-F238E27FC236}">
                  <a16:creationId xmlns:a16="http://schemas.microsoft.com/office/drawing/2014/main" id="{571A8E83-03D6-0DD9-88EA-3F35E19125C0}"/>
                </a:ext>
              </a:extLst>
            </p:cNvPr>
            <p:cNvSpPr/>
            <p:nvPr userDrawn="1"/>
          </p:nvSpPr>
          <p:spPr>
            <a:xfrm>
              <a:off x="10872398" y="639726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5">
              <a:extLst>
                <a:ext uri="{FF2B5EF4-FFF2-40B4-BE49-F238E27FC236}">
                  <a16:creationId xmlns:a16="http://schemas.microsoft.com/office/drawing/2014/main" id="{53166A02-B9EA-327C-478D-E580DBABFB4D}"/>
                </a:ext>
              </a:extLst>
            </p:cNvPr>
            <p:cNvSpPr/>
            <p:nvPr userDrawn="1"/>
          </p:nvSpPr>
          <p:spPr>
            <a:xfrm>
              <a:off x="11111030" y="639726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Rectangle 56">
              <a:extLst>
                <a:ext uri="{FF2B5EF4-FFF2-40B4-BE49-F238E27FC236}">
                  <a16:creationId xmlns:a16="http://schemas.microsoft.com/office/drawing/2014/main" id="{91179EBF-A21F-3361-FCA1-51207BB1AF50}"/>
                </a:ext>
              </a:extLst>
            </p:cNvPr>
            <p:cNvSpPr/>
            <p:nvPr userDrawn="1"/>
          </p:nvSpPr>
          <p:spPr>
            <a:xfrm>
              <a:off x="11349660" y="639726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 name="TextBox 57">
              <a:extLst>
                <a:ext uri="{FF2B5EF4-FFF2-40B4-BE49-F238E27FC236}">
                  <a16:creationId xmlns:a16="http://schemas.microsoft.com/office/drawing/2014/main" id="{2597BA86-E348-70BF-AE26-91549BAA7D2C}"/>
                </a:ext>
              </a:extLst>
            </p:cNvPr>
            <p:cNvSpPr txBox="1"/>
            <p:nvPr userDrawn="1"/>
          </p:nvSpPr>
          <p:spPr>
            <a:xfrm>
              <a:off x="9647178" y="6397269"/>
              <a:ext cx="694346" cy="215444"/>
            </a:xfrm>
            <a:prstGeom prst="rect">
              <a:avLst/>
            </a:prstGeom>
            <a:noFill/>
          </p:spPr>
          <p:txBody>
            <a:bodyPr wrap="square" rtlCol="0">
              <a:spAutoFit/>
            </a:bodyPr>
            <a:lstStyle/>
            <a:p>
              <a:pPr algn="r"/>
              <a:r>
                <a:rPr kumimoji="1" lang="ja-JP" altLang="en-US" sz="800" b="1">
                  <a:latin typeface="Noto Sans JP Bold" panose="020B0500000000000000" pitchFamily="34" charset="-128"/>
                  <a:ea typeface="Noto Sans JP Bold" panose="020B0500000000000000" pitchFamily="34" charset="-128"/>
                  <a:cs typeface="Arial" panose="020B0604020202020204" pitchFamily="34" charset="0"/>
                </a:rPr>
                <a:t>ライト</a:t>
              </a:r>
              <a:endParaRPr kumimoji="1" lang="ja-JP" altLang="en-US" sz="800" b="1" dirty="0">
                <a:latin typeface="Noto Sans JP Bold" panose="020B0500000000000000" pitchFamily="34" charset="-128"/>
                <a:ea typeface="Noto Sans JP Bold" panose="020B0500000000000000" pitchFamily="34" charset="-128"/>
                <a:cs typeface="Arial" panose="020B0604020202020204" pitchFamily="34" charset="0"/>
              </a:endParaRPr>
            </a:p>
          </p:txBody>
        </p:sp>
        <p:sp>
          <p:nvSpPr>
            <p:cNvPr id="46" name="TextBox 58">
              <a:extLst>
                <a:ext uri="{FF2B5EF4-FFF2-40B4-BE49-F238E27FC236}">
                  <a16:creationId xmlns:a16="http://schemas.microsoft.com/office/drawing/2014/main" id="{328CA246-B9A2-C734-7AC6-7526E009B3DD}"/>
                </a:ext>
              </a:extLst>
            </p:cNvPr>
            <p:cNvSpPr txBox="1"/>
            <p:nvPr userDrawn="1"/>
          </p:nvSpPr>
          <p:spPr>
            <a:xfrm>
              <a:off x="10345757"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7" name="TextBox 59">
              <a:extLst>
                <a:ext uri="{FF2B5EF4-FFF2-40B4-BE49-F238E27FC236}">
                  <a16:creationId xmlns:a16="http://schemas.microsoft.com/office/drawing/2014/main" id="{84B27366-B558-CB18-1A45-362B125C86C3}"/>
                </a:ext>
              </a:extLst>
            </p:cNvPr>
            <p:cNvSpPr txBox="1"/>
            <p:nvPr userDrawn="1"/>
          </p:nvSpPr>
          <p:spPr>
            <a:xfrm>
              <a:off x="10588807"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8" name="TextBox 60">
              <a:extLst>
                <a:ext uri="{FF2B5EF4-FFF2-40B4-BE49-F238E27FC236}">
                  <a16:creationId xmlns:a16="http://schemas.microsoft.com/office/drawing/2014/main" id="{B084A302-F031-9C5B-12FD-EB8EBA620B7C}"/>
                </a:ext>
              </a:extLst>
            </p:cNvPr>
            <p:cNvSpPr txBox="1"/>
            <p:nvPr userDrawn="1"/>
          </p:nvSpPr>
          <p:spPr>
            <a:xfrm>
              <a:off x="10821729"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9" name="TextBox 61">
              <a:extLst>
                <a:ext uri="{FF2B5EF4-FFF2-40B4-BE49-F238E27FC236}">
                  <a16:creationId xmlns:a16="http://schemas.microsoft.com/office/drawing/2014/main" id="{D57E47B5-DABE-8531-2017-416D2F0C5DC6}"/>
                </a:ext>
              </a:extLst>
            </p:cNvPr>
            <p:cNvSpPr txBox="1"/>
            <p:nvPr userDrawn="1"/>
          </p:nvSpPr>
          <p:spPr>
            <a:xfrm>
              <a:off x="11057333"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50" name="TextBox 62">
              <a:extLst>
                <a:ext uri="{FF2B5EF4-FFF2-40B4-BE49-F238E27FC236}">
                  <a16:creationId xmlns:a16="http://schemas.microsoft.com/office/drawing/2014/main" id="{A4ACD9BD-4034-B881-2BA5-E92C264ACE69}"/>
                </a:ext>
              </a:extLst>
            </p:cNvPr>
            <p:cNvSpPr txBox="1"/>
            <p:nvPr userDrawn="1"/>
          </p:nvSpPr>
          <p:spPr>
            <a:xfrm>
              <a:off x="11328769" y="627473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1" name="TextBox 63">
              <a:extLst>
                <a:ext uri="{FF2B5EF4-FFF2-40B4-BE49-F238E27FC236}">
                  <a16:creationId xmlns:a16="http://schemas.microsoft.com/office/drawing/2014/main" id="{4F68AB63-6F77-A62D-5B30-4A744F3D1636}"/>
                </a:ext>
              </a:extLst>
            </p:cNvPr>
            <p:cNvSpPr txBox="1"/>
            <p:nvPr userDrawn="1"/>
          </p:nvSpPr>
          <p:spPr>
            <a:xfrm>
              <a:off x="9647178" y="538838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2" name="TextBox 64">
              <a:extLst>
                <a:ext uri="{FF2B5EF4-FFF2-40B4-BE49-F238E27FC236}">
                  <a16:creationId xmlns:a16="http://schemas.microsoft.com/office/drawing/2014/main" id="{BF81B5E9-B8FF-1548-F8D4-2CAE7FDCD683}"/>
                </a:ext>
              </a:extLst>
            </p:cNvPr>
            <p:cNvSpPr txBox="1"/>
            <p:nvPr userDrawn="1"/>
          </p:nvSpPr>
          <p:spPr>
            <a:xfrm>
              <a:off x="9647178" y="334015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3" name="TextBox 65">
              <a:extLst>
                <a:ext uri="{FF2B5EF4-FFF2-40B4-BE49-F238E27FC236}">
                  <a16:creationId xmlns:a16="http://schemas.microsoft.com/office/drawing/2014/main" id="{5858962D-DB7D-E994-AD17-97FE4600E131}"/>
                </a:ext>
              </a:extLst>
            </p:cNvPr>
            <p:cNvSpPr txBox="1"/>
            <p:nvPr userDrawn="1"/>
          </p:nvSpPr>
          <p:spPr>
            <a:xfrm>
              <a:off x="9647178" y="359618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4" name="TextBox 66">
              <a:extLst>
                <a:ext uri="{FF2B5EF4-FFF2-40B4-BE49-F238E27FC236}">
                  <a16:creationId xmlns:a16="http://schemas.microsoft.com/office/drawing/2014/main" id="{E6841292-2AE2-408E-6ABE-128846197514}"/>
                </a:ext>
              </a:extLst>
            </p:cNvPr>
            <p:cNvSpPr txBox="1"/>
            <p:nvPr userDrawn="1"/>
          </p:nvSpPr>
          <p:spPr>
            <a:xfrm>
              <a:off x="9647178" y="385221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5" name="TextBox 67">
              <a:extLst>
                <a:ext uri="{FF2B5EF4-FFF2-40B4-BE49-F238E27FC236}">
                  <a16:creationId xmlns:a16="http://schemas.microsoft.com/office/drawing/2014/main" id="{7E4C2632-6D35-EEBB-E54F-E7E744F4F8AC}"/>
                </a:ext>
              </a:extLst>
            </p:cNvPr>
            <p:cNvSpPr txBox="1"/>
            <p:nvPr userDrawn="1"/>
          </p:nvSpPr>
          <p:spPr>
            <a:xfrm>
              <a:off x="9647178" y="410823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6" name="TextBox 68">
              <a:extLst>
                <a:ext uri="{FF2B5EF4-FFF2-40B4-BE49-F238E27FC236}">
                  <a16:creationId xmlns:a16="http://schemas.microsoft.com/office/drawing/2014/main" id="{9C4410E0-6633-4D32-3B53-08E4ACAE372D}"/>
                </a:ext>
              </a:extLst>
            </p:cNvPr>
            <p:cNvSpPr txBox="1"/>
            <p:nvPr userDrawn="1"/>
          </p:nvSpPr>
          <p:spPr>
            <a:xfrm>
              <a:off x="9647178" y="436426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7" name="TextBox 69">
              <a:extLst>
                <a:ext uri="{FF2B5EF4-FFF2-40B4-BE49-F238E27FC236}">
                  <a16:creationId xmlns:a16="http://schemas.microsoft.com/office/drawing/2014/main" id="{F9E972E2-1038-652C-97BE-D55FBAA2C9EF}"/>
                </a:ext>
              </a:extLst>
            </p:cNvPr>
            <p:cNvSpPr txBox="1"/>
            <p:nvPr userDrawn="1"/>
          </p:nvSpPr>
          <p:spPr>
            <a:xfrm>
              <a:off x="9647178" y="487632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8" name="TextBox 70">
              <a:extLst>
                <a:ext uri="{FF2B5EF4-FFF2-40B4-BE49-F238E27FC236}">
                  <a16:creationId xmlns:a16="http://schemas.microsoft.com/office/drawing/2014/main" id="{4F7DB7B1-0A9B-6899-394F-BF3EBD0ACDDE}"/>
                </a:ext>
              </a:extLst>
            </p:cNvPr>
            <p:cNvSpPr txBox="1"/>
            <p:nvPr userDrawn="1"/>
          </p:nvSpPr>
          <p:spPr>
            <a:xfrm>
              <a:off x="9647178" y="513235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59" name="TextBox 71">
              <a:extLst>
                <a:ext uri="{FF2B5EF4-FFF2-40B4-BE49-F238E27FC236}">
                  <a16:creationId xmlns:a16="http://schemas.microsoft.com/office/drawing/2014/main" id="{6836F8D4-BCC9-15F1-5ACF-4E6707C7CCF6}"/>
                </a:ext>
              </a:extLst>
            </p:cNvPr>
            <p:cNvSpPr txBox="1"/>
            <p:nvPr userDrawn="1"/>
          </p:nvSpPr>
          <p:spPr>
            <a:xfrm>
              <a:off x="9647178" y="462029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60" name="Rectangle 72">
              <a:extLst>
                <a:ext uri="{FF2B5EF4-FFF2-40B4-BE49-F238E27FC236}">
                  <a16:creationId xmlns:a16="http://schemas.microsoft.com/office/drawing/2014/main" id="{B4DCD260-390F-01EB-3384-BB5F3711DF79}"/>
                </a:ext>
              </a:extLst>
            </p:cNvPr>
            <p:cNvSpPr/>
            <p:nvPr userDrawn="1"/>
          </p:nvSpPr>
          <p:spPr>
            <a:xfrm>
              <a:off x="10633766" y="538838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1" name="Rectangle 73">
              <a:extLst>
                <a:ext uri="{FF2B5EF4-FFF2-40B4-BE49-F238E27FC236}">
                  <a16:creationId xmlns:a16="http://schemas.microsoft.com/office/drawing/2014/main" id="{123A6C87-DEE2-50A7-1C2C-633C12CDE58C}"/>
                </a:ext>
              </a:extLst>
            </p:cNvPr>
            <p:cNvSpPr/>
            <p:nvPr userDrawn="1"/>
          </p:nvSpPr>
          <p:spPr>
            <a:xfrm>
              <a:off x="10872398" y="538838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4">
              <a:extLst>
                <a:ext uri="{FF2B5EF4-FFF2-40B4-BE49-F238E27FC236}">
                  <a16:creationId xmlns:a16="http://schemas.microsoft.com/office/drawing/2014/main" id="{F8DFF83A-8A9D-CEEA-1DA4-5301B369A0F1}"/>
                </a:ext>
              </a:extLst>
            </p:cNvPr>
            <p:cNvSpPr/>
            <p:nvPr userDrawn="1"/>
          </p:nvSpPr>
          <p:spPr>
            <a:xfrm>
              <a:off x="11111030" y="538838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5">
              <a:extLst>
                <a:ext uri="{FF2B5EF4-FFF2-40B4-BE49-F238E27FC236}">
                  <a16:creationId xmlns:a16="http://schemas.microsoft.com/office/drawing/2014/main" id="{AC39410E-1B6D-01A9-29F9-ECAB744EB27D}"/>
                </a:ext>
              </a:extLst>
            </p:cNvPr>
            <p:cNvSpPr/>
            <p:nvPr userDrawn="1"/>
          </p:nvSpPr>
          <p:spPr>
            <a:xfrm>
              <a:off x="11349660" y="538838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6">
              <a:extLst>
                <a:ext uri="{FF2B5EF4-FFF2-40B4-BE49-F238E27FC236}">
                  <a16:creationId xmlns:a16="http://schemas.microsoft.com/office/drawing/2014/main" id="{3451C8C9-DFED-FECD-26F7-D081163012F2}"/>
                </a:ext>
              </a:extLst>
            </p:cNvPr>
            <p:cNvSpPr/>
            <p:nvPr userDrawn="1"/>
          </p:nvSpPr>
          <p:spPr>
            <a:xfrm>
              <a:off x="10633766" y="334015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7">
              <a:extLst>
                <a:ext uri="{FF2B5EF4-FFF2-40B4-BE49-F238E27FC236}">
                  <a16:creationId xmlns:a16="http://schemas.microsoft.com/office/drawing/2014/main" id="{59C599B4-0EF4-3259-248F-E86C532A0418}"/>
                </a:ext>
              </a:extLst>
            </p:cNvPr>
            <p:cNvSpPr/>
            <p:nvPr userDrawn="1"/>
          </p:nvSpPr>
          <p:spPr>
            <a:xfrm>
              <a:off x="10872398" y="334015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8">
              <a:extLst>
                <a:ext uri="{FF2B5EF4-FFF2-40B4-BE49-F238E27FC236}">
                  <a16:creationId xmlns:a16="http://schemas.microsoft.com/office/drawing/2014/main" id="{DAB88BD9-1C55-B6BD-1143-E85A8B87F372}"/>
                </a:ext>
              </a:extLst>
            </p:cNvPr>
            <p:cNvSpPr/>
            <p:nvPr userDrawn="1"/>
          </p:nvSpPr>
          <p:spPr>
            <a:xfrm>
              <a:off x="11111030" y="334015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7" name="Rectangle 79">
              <a:extLst>
                <a:ext uri="{FF2B5EF4-FFF2-40B4-BE49-F238E27FC236}">
                  <a16:creationId xmlns:a16="http://schemas.microsoft.com/office/drawing/2014/main" id="{45AEE31C-0784-DFA0-5528-7291C87B401B}"/>
                </a:ext>
              </a:extLst>
            </p:cNvPr>
            <p:cNvSpPr/>
            <p:nvPr userDrawn="1"/>
          </p:nvSpPr>
          <p:spPr>
            <a:xfrm>
              <a:off x="11349660" y="334015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80">
              <a:extLst>
                <a:ext uri="{FF2B5EF4-FFF2-40B4-BE49-F238E27FC236}">
                  <a16:creationId xmlns:a16="http://schemas.microsoft.com/office/drawing/2014/main" id="{DB114B9A-216B-48B4-FA26-D583B3AD6182}"/>
                </a:ext>
              </a:extLst>
            </p:cNvPr>
            <p:cNvSpPr/>
            <p:nvPr userDrawn="1"/>
          </p:nvSpPr>
          <p:spPr>
            <a:xfrm>
              <a:off x="10633766" y="359618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9" name="Rectangle 81">
              <a:extLst>
                <a:ext uri="{FF2B5EF4-FFF2-40B4-BE49-F238E27FC236}">
                  <a16:creationId xmlns:a16="http://schemas.microsoft.com/office/drawing/2014/main" id="{981D4BDC-D9A4-5076-B7B6-EADB2384B11F}"/>
                </a:ext>
              </a:extLst>
            </p:cNvPr>
            <p:cNvSpPr/>
            <p:nvPr userDrawn="1"/>
          </p:nvSpPr>
          <p:spPr>
            <a:xfrm>
              <a:off x="10872398" y="359618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82">
              <a:extLst>
                <a:ext uri="{FF2B5EF4-FFF2-40B4-BE49-F238E27FC236}">
                  <a16:creationId xmlns:a16="http://schemas.microsoft.com/office/drawing/2014/main" id="{BB0A5508-8AA9-F060-88B8-76B1392D667D}"/>
                </a:ext>
              </a:extLst>
            </p:cNvPr>
            <p:cNvSpPr/>
            <p:nvPr userDrawn="1"/>
          </p:nvSpPr>
          <p:spPr>
            <a:xfrm>
              <a:off x="11111030" y="359618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3">
              <a:extLst>
                <a:ext uri="{FF2B5EF4-FFF2-40B4-BE49-F238E27FC236}">
                  <a16:creationId xmlns:a16="http://schemas.microsoft.com/office/drawing/2014/main" id="{30395B1A-575F-E2C6-8385-94FBF4952A55}"/>
                </a:ext>
              </a:extLst>
            </p:cNvPr>
            <p:cNvSpPr/>
            <p:nvPr userDrawn="1"/>
          </p:nvSpPr>
          <p:spPr>
            <a:xfrm>
              <a:off x="11349660" y="359618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4">
              <a:extLst>
                <a:ext uri="{FF2B5EF4-FFF2-40B4-BE49-F238E27FC236}">
                  <a16:creationId xmlns:a16="http://schemas.microsoft.com/office/drawing/2014/main" id="{05BCDEF5-F2CC-1A3B-2C59-B3EB9D7AF7DB}"/>
                </a:ext>
              </a:extLst>
            </p:cNvPr>
            <p:cNvSpPr/>
            <p:nvPr userDrawn="1"/>
          </p:nvSpPr>
          <p:spPr>
            <a:xfrm>
              <a:off x="10633766" y="385221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3" name="Rectangle 85">
              <a:extLst>
                <a:ext uri="{FF2B5EF4-FFF2-40B4-BE49-F238E27FC236}">
                  <a16:creationId xmlns:a16="http://schemas.microsoft.com/office/drawing/2014/main" id="{BBE5E0DC-0E43-F664-9873-12722039F0B6}"/>
                </a:ext>
              </a:extLst>
            </p:cNvPr>
            <p:cNvSpPr/>
            <p:nvPr userDrawn="1"/>
          </p:nvSpPr>
          <p:spPr>
            <a:xfrm>
              <a:off x="10872398" y="385221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4" name="Rectangle 86">
              <a:extLst>
                <a:ext uri="{FF2B5EF4-FFF2-40B4-BE49-F238E27FC236}">
                  <a16:creationId xmlns:a16="http://schemas.microsoft.com/office/drawing/2014/main" id="{334CF49C-012E-3DAC-8048-BCA38688DDF3}"/>
                </a:ext>
              </a:extLst>
            </p:cNvPr>
            <p:cNvSpPr/>
            <p:nvPr userDrawn="1"/>
          </p:nvSpPr>
          <p:spPr>
            <a:xfrm>
              <a:off x="11111030" y="385221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7">
              <a:extLst>
                <a:ext uri="{FF2B5EF4-FFF2-40B4-BE49-F238E27FC236}">
                  <a16:creationId xmlns:a16="http://schemas.microsoft.com/office/drawing/2014/main" id="{BED6C54B-9CB0-CBB9-68B7-D5004CD1BE8F}"/>
                </a:ext>
              </a:extLst>
            </p:cNvPr>
            <p:cNvSpPr/>
            <p:nvPr userDrawn="1"/>
          </p:nvSpPr>
          <p:spPr>
            <a:xfrm>
              <a:off x="11349660" y="385221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8">
              <a:extLst>
                <a:ext uri="{FF2B5EF4-FFF2-40B4-BE49-F238E27FC236}">
                  <a16:creationId xmlns:a16="http://schemas.microsoft.com/office/drawing/2014/main" id="{A9570D34-0263-4F52-DA01-D6D237D6031F}"/>
                </a:ext>
              </a:extLst>
            </p:cNvPr>
            <p:cNvSpPr/>
            <p:nvPr userDrawn="1"/>
          </p:nvSpPr>
          <p:spPr>
            <a:xfrm>
              <a:off x="10633766" y="410823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89">
              <a:extLst>
                <a:ext uri="{FF2B5EF4-FFF2-40B4-BE49-F238E27FC236}">
                  <a16:creationId xmlns:a16="http://schemas.microsoft.com/office/drawing/2014/main" id="{CA6C5874-F488-1FDA-3D6C-83D583722235}"/>
                </a:ext>
              </a:extLst>
            </p:cNvPr>
            <p:cNvSpPr/>
            <p:nvPr userDrawn="1"/>
          </p:nvSpPr>
          <p:spPr>
            <a:xfrm>
              <a:off x="10872398" y="410823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90">
              <a:extLst>
                <a:ext uri="{FF2B5EF4-FFF2-40B4-BE49-F238E27FC236}">
                  <a16:creationId xmlns:a16="http://schemas.microsoft.com/office/drawing/2014/main" id="{7517773C-310F-2A8A-94EA-0B2580B9D942}"/>
                </a:ext>
              </a:extLst>
            </p:cNvPr>
            <p:cNvSpPr/>
            <p:nvPr userDrawn="1"/>
          </p:nvSpPr>
          <p:spPr>
            <a:xfrm>
              <a:off x="11111030" y="410823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91">
              <a:extLst>
                <a:ext uri="{FF2B5EF4-FFF2-40B4-BE49-F238E27FC236}">
                  <a16:creationId xmlns:a16="http://schemas.microsoft.com/office/drawing/2014/main" id="{56A16934-DF7A-7E8E-0727-128718799336}"/>
                </a:ext>
              </a:extLst>
            </p:cNvPr>
            <p:cNvSpPr/>
            <p:nvPr userDrawn="1"/>
          </p:nvSpPr>
          <p:spPr>
            <a:xfrm>
              <a:off x="11349660" y="410823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92">
              <a:extLst>
                <a:ext uri="{FF2B5EF4-FFF2-40B4-BE49-F238E27FC236}">
                  <a16:creationId xmlns:a16="http://schemas.microsoft.com/office/drawing/2014/main" id="{A629A02D-7225-D3B5-ACF4-E69CFB40ACD2}"/>
                </a:ext>
              </a:extLst>
            </p:cNvPr>
            <p:cNvSpPr/>
            <p:nvPr userDrawn="1"/>
          </p:nvSpPr>
          <p:spPr>
            <a:xfrm>
              <a:off x="10633766" y="436426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3">
              <a:extLst>
                <a:ext uri="{FF2B5EF4-FFF2-40B4-BE49-F238E27FC236}">
                  <a16:creationId xmlns:a16="http://schemas.microsoft.com/office/drawing/2014/main" id="{148AF69E-DB30-E0B3-BC25-A129BE4D1485}"/>
                </a:ext>
              </a:extLst>
            </p:cNvPr>
            <p:cNvSpPr/>
            <p:nvPr userDrawn="1"/>
          </p:nvSpPr>
          <p:spPr>
            <a:xfrm>
              <a:off x="10872398" y="436426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4">
              <a:extLst>
                <a:ext uri="{FF2B5EF4-FFF2-40B4-BE49-F238E27FC236}">
                  <a16:creationId xmlns:a16="http://schemas.microsoft.com/office/drawing/2014/main" id="{F1EF876C-97F7-F148-7B21-D409A092A10F}"/>
                </a:ext>
              </a:extLst>
            </p:cNvPr>
            <p:cNvSpPr/>
            <p:nvPr userDrawn="1"/>
          </p:nvSpPr>
          <p:spPr>
            <a:xfrm>
              <a:off x="11111030" y="436426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5">
              <a:extLst>
                <a:ext uri="{FF2B5EF4-FFF2-40B4-BE49-F238E27FC236}">
                  <a16:creationId xmlns:a16="http://schemas.microsoft.com/office/drawing/2014/main" id="{7384D4D5-03D8-2FC3-8136-1C52A4A8DCFE}"/>
                </a:ext>
              </a:extLst>
            </p:cNvPr>
            <p:cNvSpPr/>
            <p:nvPr userDrawn="1"/>
          </p:nvSpPr>
          <p:spPr>
            <a:xfrm>
              <a:off x="11349660" y="436426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6">
              <a:extLst>
                <a:ext uri="{FF2B5EF4-FFF2-40B4-BE49-F238E27FC236}">
                  <a16:creationId xmlns:a16="http://schemas.microsoft.com/office/drawing/2014/main" id="{ACE3184E-E79B-244E-3F2E-02385662AEAE}"/>
                </a:ext>
              </a:extLst>
            </p:cNvPr>
            <p:cNvSpPr/>
            <p:nvPr userDrawn="1"/>
          </p:nvSpPr>
          <p:spPr>
            <a:xfrm>
              <a:off x="10633766" y="462029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7">
              <a:extLst>
                <a:ext uri="{FF2B5EF4-FFF2-40B4-BE49-F238E27FC236}">
                  <a16:creationId xmlns:a16="http://schemas.microsoft.com/office/drawing/2014/main" id="{04FF0A4D-6F01-DAB3-0586-A1314F39A297}"/>
                </a:ext>
              </a:extLst>
            </p:cNvPr>
            <p:cNvSpPr/>
            <p:nvPr userDrawn="1"/>
          </p:nvSpPr>
          <p:spPr>
            <a:xfrm>
              <a:off x="10872398" y="462029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8">
              <a:extLst>
                <a:ext uri="{FF2B5EF4-FFF2-40B4-BE49-F238E27FC236}">
                  <a16:creationId xmlns:a16="http://schemas.microsoft.com/office/drawing/2014/main" id="{A990625F-F636-FD12-8E9C-42535170A440}"/>
                </a:ext>
              </a:extLst>
            </p:cNvPr>
            <p:cNvSpPr/>
            <p:nvPr userDrawn="1"/>
          </p:nvSpPr>
          <p:spPr>
            <a:xfrm>
              <a:off x="11111030" y="462029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99">
              <a:extLst>
                <a:ext uri="{FF2B5EF4-FFF2-40B4-BE49-F238E27FC236}">
                  <a16:creationId xmlns:a16="http://schemas.microsoft.com/office/drawing/2014/main" id="{1195DB1C-3B57-B264-D4DD-570FA22F6502}"/>
                </a:ext>
              </a:extLst>
            </p:cNvPr>
            <p:cNvSpPr/>
            <p:nvPr userDrawn="1"/>
          </p:nvSpPr>
          <p:spPr>
            <a:xfrm>
              <a:off x="11349660" y="462029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8" name="Rectangle 100">
              <a:extLst>
                <a:ext uri="{FF2B5EF4-FFF2-40B4-BE49-F238E27FC236}">
                  <a16:creationId xmlns:a16="http://schemas.microsoft.com/office/drawing/2014/main" id="{E980839F-1ADA-9DE7-551D-67831FFFA30A}"/>
                </a:ext>
              </a:extLst>
            </p:cNvPr>
            <p:cNvSpPr/>
            <p:nvPr userDrawn="1"/>
          </p:nvSpPr>
          <p:spPr>
            <a:xfrm>
              <a:off x="10633766" y="487632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9" name="Rectangle 101">
              <a:extLst>
                <a:ext uri="{FF2B5EF4-FFF2-40B4-BE49-F238E27FC236}">
                  <a16:creationId xmlns:a16="http://schemas.microsoft.com/office/drawing/2014/main" id="{C23BB38D-9EE3-FF93-F7E8-54E52D72E83B}"/>
                </a:ext>
              </a:extLst>
            </p:cNvPr>
            <p:cNvSpPr/>
            <p:nvPr userDrawn="1"/>
          </p:nvSpPr>
          <p:spPr>
            <a:xfrm>
              <a:off x="10872398" y="487632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0" name="Rectangle 102">
              <a:extLst>
                <a:ext uri="{FF2B5EF4-FFF2-40B4-BE49-F238E27FC236}">
                  <a16:creationId xmlns:a16="http://schemas.microsoft.com/office/drawing/2014/main" id="{4BC7DF13-F1AE-1091-A525-8C9EAEEF3E84}"/>
                </a:ext>
              </a:extLst>
            </p:cNvPr>
            <p:cNvSpPr/>
            <p:nvPr userDrawn="1"/>
          </p:nvSpPr>
          <p:spPr>
            <a:xfrm>
              <a:off x="11111030" y="487632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1" name="Rectangle 103">
              <a:extLst>
                <a:ext uri="{FF2B5EF4-FFF2-40B4-BE49-F238E27FC236}">
                  <a16:creationId xmlns:a16="http://schemas.microsoft.com/office/drawing/2014/main" id="{5F4ACA59-7865-F3CD-CC57-B9E28367D1C1}"/>
                </a:ext>
              </a:extLst>
            </p:cNvPr>
            <p:cNvSpPr/>
            <p:nvPr userDrawn="1"/>
          </p:nvSpPr>
          <p:spPr>
            <a:xfrm>
              <a:off x="11349660" y="487632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2" name="Rectangle 104">
              <a:extLst>
                <a:ext uri="{FF2B5EF4-FFF2-40B4-BE49-F238E27FC236}">
                  <a16:creationId xmlns:a16="http://schemas.microsoft.com/office/drawing/2014/main" id="{5BA4BEBD-258B-F1D5-90FC-AC4C7DA6D054}"/>
                </a:ext>
              </a:extLst>
            </p:cNvPr>
            <p:cNvSpPr/>
            <p:nvPr userDrawn="1"/>
          </p:nvSpPr>
          <p:spPr>
            <a:xfrm>
              <a:off x="10633766" y="513235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105">
              <a:extLst>
                <a:ext uri="{FF2B5EF4-FFF2-40B4-BE49-F238E27FC236}">
                  <a16:creationId xmlns:a16="http://schemas.microsoft.com/office/drawing/2014/main" id="{AE858F5B-0F9B-F492-9B9E-C7D4F2B6109A}"/>
                </a:ext>
              </a:extLst>
            </p:cNvPr>
            <p:cNvSpPr/>
            <p:nvPr userDrawn="1"/>
          </p:nvSpPr>
          <p:spPr>
            <a:xfrm>
              <a:off x="10872398" y="513235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4" name="Rectangle 106">
              <a:extLst>
                <a:ext uri="{FF2B5EF4-FFF2-40B4-BE49-F238E27FC236}">
                  <a16:creationId xmlns:a16="http://schemas.microsoft.com/office/drawing/2014/main" id="{3BD3DE93-BFF7-815D-E1CE-74D9BE96F48B}"/>
                </a:ext>
              </a:extLst>
            </p:cNvPr>
            <p:cNvSpPr/>
            <p:nvPr userDrawn="1"/>
          </p:nvSpPr>
          <p:spPr>
            <a:xfrm>
              <a:off x="11111030" y="513235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7">
              <a:extLst>
                <a:ext uri="{FF2B5EF4-FFF2-40B4-BE49-F238E27FC236}">
                  <a16:creationId xmlns:a16="http://schemas.microsoft.com/office/drawing/2014/main" id="{2CCA936C-7B81-8C2D-1C36-0C014FA224C1}"/>
                </a:ext>
              </a:extLst>
            </p:cNvPr>
            <p:cNvSpPr/>
            <p:nvPr userDrawn="1"/>
          </p:nvSpPr>
          <p:spPr>
            <a:xfrm>
              <a:off x="11349660" y="513235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8">
              <a:extLst>
                <a:ext uri="{FF2B5EF4-FFF2-40B4-BE49-F238E27FC236}">
                  <a16:creationId xmlns:a16="http://schemas.microsoft.com/office/drawing/2014/main" id="{499159A8-C8C3-CF7C-2872-D4C916AD9890}"/>
                </a:ext>
              </a:extLst>
            </p:cNvPr>
            <p:cNvSpPr/>
            <p:nvPr userDrawn="1"/>
          </p:nvSpPr>
          <p:spPr>
            <a:xfrm>
              <a:off x="10395134" y="235959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09">
              <a:extLst>
                <a:ext uri="{FF2B5EF4-FFF2-40B4-BE49-F238E27FC236}">
                  <a16:creationId xmlns:a16="http://schemas.microsoft.com/office/drawing/2014/main" id="{5A5C4A58-8C3E-1116-CFCD-02B0F61FF559}"/>
                </a:ext>
              </a:extLst>
            </p:cNvPr>
            <p:cNvSpPr/>
            <p:nvPr userDrawn="1"/>
          </p:nvSpPr>
          <p:spPr>
            <a:xfrm>
              <a:off x="10633766" y="235959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10">
              <a:extLst>
                <a:ext uri="{FF2B5EF4-FFF2-40B4-BE49-F238E27FC236}">
                  <a16:creationId xmlns:a16="http://schemas.microsoft.com/office/drawing/2014/main" id="{E522142A-4F38-6163-192E-D38A9B00FBA0}"/>
                </a:ext>
              </a:extLst>
            </p:cNvPr>
            <p:cNvSpPr/>
            <p:nvPr userDrawn="1"/>
          </p:nvSpPr>
          <p:spPr>
            <a:xfrm>
              <a:off x="10872398" y="235959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9" name="Rectangle 111">
              <a:extLst>
                <a:ext uri="{FF2B5EF4-FFF2-40B4-BE49-F238E27FC236}">
                  <a16:creationId xmlns:a16="http://schemas.microsoft.com/office/drawing/2014/main" id="{26350563-E9C7-1C8A-A6B4-CAF89BB9AD3B}"/>
                </a:ext>
              </a:extLst>
            </p:cNvPr>
            <p:cNvSpPr/>
            <p:nvPr userDrawn="1"/>
          </p:nvSpPr>
          <p:spPr>
            <a:xfrm>
              <a:off x="11111030" y="235959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0" name="TextBox 112">
              <a:extLst>
                <a:ext uri="{FF2B5EF4-FFF2-40B4-BE49-F238E27FC236}">
                  <a16:creationId xmlns:a16="http://schemas.microsoft.com/office/drawing/2014/main" id="{6C3EBC87-4D36-FCFE-FD1F-F438F7EDCCD5}"/>
                </a:ext>
              </a:extLst>
            </p:cNvPr>
            <p:cNvSpPr txBox="1"/>
            <p:nvPr userDrawn="1"/>
          </p:nvSpPr>
          <p:spPr>
            <a:xfrm>
              <a:off x="9515094" y="2107002"/>
              <a:ext cx="1107996" cy="215444"/>
            </a:xfrm>
            <a:prstGeom prst="rect">
              <a:avLst/>
            </a:prstGeom>
            <a:noFill/>
          </p:spPr>
          <p:txBody>
            <a:bodyPr wrap="none" rtlCol="0">
              <a:spAutoFit/>
            </a:bodyPr>
            <a:lstStyle/>
            <a:p>
              <a:r>
                <a:rPr kumimoji="1" lang="ja-JP" altLang="en-US" sz="800" b="0" u="sng">
                  <a:latin typeface="Noto Sans JP Regular" panose="020B0500000000000000" pitchFamily="34" charset="-128"/>
                  <a:ea typeface="Noto Sans JP Regular" panose="020B0500000000000000" pitchFamily="34" charset="-128"/>
                </a:rPr>
                <a:t>プライマリーカラー</a:t>
              </a:r>
              <a:endParaRPr kumimoji="1" lang="ja-JP" altLang="en-US" sz="800" b="0" u="sng" dirty="0">
                <a:latin typeface="Noto Sans JP Regular" panose="020B0500000000000000" pitchFamily="34" charset="-128"/>
                <a:ea typeface="Noto Sans JP Regular" panose="020B0500000000000000" pitchFamily="34" charset="-128"/>
              </a:endParaRPr>
            </a:p>
          </p:txBody>
        </p:sp>
        <p:sp>
          <p:nvSpPr>
            <p:cNvPr id="101" name="TextBox 113">
              <a:extLst>
                <a:ext uri="{FF2B5EF4-FFF2-40B4-BE49-F238E27FC236}">
                  <a16:creationId xmlns:a16="http://schemas.microsoft.com/office/drawing/2014/main" id="{299A73B2-52A1-8347-2A4A-C4A18ED0F8CC}"/>
                </a:ext>
              </a:extLst>
            </p:cNvPr>
            <p:cNvSpPr txBox="1"/>
            <p:nvPr userDrawn="1"/>
          </p:nvSpPr>
          <p:spPr>
            <a:xfrm>
              <a:off x="9515094" y="2297626"/>
              <a:ext cx="834789"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2" name="TextBox 114">
              <a:extLst>
                <a:ext uri="{FF2B5EF4-FFF2-40B4-BE49-F238E27FC236}">
                  <a16:creationId xmlns:a16="http://schemas.microsoft.com/office/drawing/2014/main" id="{927F93D0-420C-EB2B-7162-488D8790008E}"/>
                </a:ext>
              </a:extLst>
            </p:cNvPr>
            <p:cNvSpPr txBox="1"/>
            <p:nvPr userDrawn="1"/>
          </p:nvSpPr>
          <p:spPr>
            <a:xfrm>
              <a:off x="9515094" y="1778667"/>
              <a:ext cx="2050566" cy="230832"/>
            </a:xfrm>
            <a:prstGeom prst="rect">
              <a:avLst/>
            </a:prstGeom>
            <a:noFill/>
          </p:spPr>
          <p:txBody>
            <a:bodyPr wrap="square" rtlCol="0">
              <a:spAutoFit/>
            </a:bodyPr>
            <a:lstStyle/>
            <a:p>
              <a:r>
                <a:rPr lang="ja-JP" altLang="en-US" sz="900" b="1">
                  <a:latin typeface="Noto Sans JP Bold" panose="020B0500000000000000" pitchFamily="34" charset="-128"/>
                  <a:ea typeface="Noto Sans JP Bold" panose="020B0500000000000000" pitchFamily="34" charset="-128"/>
                </a:rPr>
                <a:t>三菱電機</a:t>
              </a:r>
              <a:r>
                <a:rPr lang="en-US" altLang="ja-JP" sz="900" b="1" dirty="0">
                  <a:latin typeface="Noto Sans JP Bold" panose="020B0500000000000000" pitchFamily="34" charset="-128"/>
                  <a:ea typeface="Noto Sans JP Bold" panose="020B0500000000000000" pitchFamily="34" charset="-128"/>
                </a:rPr>
                <a:t>FA </a:t>
              </a:r>
              <a:r>
                <a:rPr lang="ja-JP" altLang="en-US" sz="900" b="1">
                  <a:latin typeface="Noto Sans JP Bold" panose="020B0500000000000000" pitchFamily="34" charset="-128"/>
                  <a:ea typeface="Noto Sans JP Bold" panose="020B0500000000000000" pitchFamily="34" charset="-128"/>
                </a:rPr>
                <a:t>公式カラーパレット</a:t>
              </a:r>
              <a:endParaRPr lang="ja-JP" altLang="en-US" sz="900" b="1" dirty="0">
                <a:latin typeface="Noto Sans JP Bold" panose="020B0500000000000000" pitchFamily="34" charset="-128"/>
                <a:ea typeface="Noto Sans JP Bold" panose="020B0500000000000000" pitchFamily="34" charset="-128"/>
              </a:endParaRPr>
            </a:p>
          </p:txBody>
        </p:sp>
      </p:grpSp>
    </p:spTree>
    <p:extLst>
      <p:ext uri="{BB962C8B-B14F-4D97-AF65-F5344CB8AC3E}">
        <p14:creationId xmlns:p14="http://schemas.microsoft.com/office/powerpoint/2010/main" val="16369365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セクション見出し">
    <p:bg>
      <p:bgPr>
        <a:solidFill>
          <a:schemeClr val="bg1"/>
        </a:solidFill>
        <a:effectLst/>
      </p:bgPr>
    </p:bg>
    <p:spTree>
      <p:nvGrpSpPr>
        <p:cNvPr id="1" name=""/>
        <p:cNvGrpSpPr/>
        <p:nvPr/>
      </p:nvGrpSpPr>
      <p:grpSpPr>
        <a:xfrm>
          <a:off x="0" y="0"/>
          <a:ext cx="0" cy="0"/>
          <a:chOff x="0" y="0"/>
          <a:chExt cx="0" cy="0"/>
        </a:xfrm>
      </p:grpSpPr>
      <p:sp>
        <p:nvSpPr>
          <p:cNvPr id="102" name="Slide Number Divider">
            <a:extLst>
              <a:ext uri="{FF2B5EF4-FFF2-40B4-BE49-F238E27FC236}">
                <a16:creationId xmlns:a16="http://schemas.microsoft.com/office/drawing/2014/main" id="{C82729AC-3AB4-4121-B074-F2628E09569F}"/>
              </a:ext>
            </a:extLst>
          </p:cNvPr>
          <p:cNvSpPr/>
          <p:nvPr userDrawn="1"/>
        </p:nvSpPr>
        <p:spPr>
          <a:xfrm>
            <a:off x="11606802" y="6588000"/>
            <a:ext cx="10800" cy="27053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101" name="Copyright">
            <a:extLst>
              <a:ext uri="{FF2B5EF4-FFF2-40B4-BE49-F238E27FC236}">
                <a16:creationId xmlns:a16="http://schemas.microsoft.com/office/drawing/2014/main" id="{93137451-7FAF-422E-8AE0-538B0FC10791}"/>
              </a:ext>
            </a:extLst>
          </p:cNvPr>
          <p:cNvSpPr txBox="1"/>
          <p:nvPr userDrawn="1"/>
        </p:nvSpPr>
        <p:spPr>
          <a:xfrm>
            <a:off x="180975" y="6645600"/>
            <a:ext cx="1292225" cy="105222"/>
          </a:xfrm>
          <a:prstGeom prst="rect">
            <a:avLst/>
          </a:prstGeom>
          <a:noFill/>
        </p:spPr>
        <p:txBody>
          <a:bodyPr wrap="square" lIns="0" tIns="0" rIns="0" bIns="0" rtlCol="0">
            <a:spAutoFit/>
          </a:bodyPr>
          <a:lstStyle/>
          <a:p>
            <a:pPr>
              <a:lnSpc>
                <a:spcPct val="130000"/>
              </a:lnSpc>
            </a:pPr>
            <a:r>
              <a:rPr kumimoji="1" lang="en-US" altLang="ja-JP" sz="600" dirty="0">
                <a:solidFill>
                  <a:srgbClr val="666666"/>
                </a:solidFill>
                <a:latin typeface="Meiryo UI" panose="020B0604030504040204" pitchFamily="34" charset="-128"/>
                <a:ea typeface="Meiryo UI" panose="020B0604030504040204" pitchFamily="34" charset="-128"/>
              </a:rPr>
              <a:t>©Mitsubishi</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Electric</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Corporation</a:t>
            </a:r>
            <a:endParaRPr kumimoji="1" lang="ja-JP" altLang="en-US" sz="600" dirty="0">
              <a:solidFill>
                <a:srgbClr val="666666"/>
              </a:solidFill>
              <a:latin typeface="Meiryo UI" panose="020B0604030504040204" pitchFamily="34" charset="-128"/>
              <a:ea typeface="Meiryo UI" panose="020B0604030504040204" pitchFamily="34" charset="-128"/>
            </a:endParaRPr>
          </a:p>
        </p:txBody>
      </p:sp>
      <p:sp>
        <p:nvSpPr>
          <p:cNvPr id="156" name="Title Horizontal Line">
            <a:extLst>
              <a:ext uri="{FF2B5EF4-FFF2-40B4-BE49-F238E27FC236}">
                <a16:creationId xmlns:a16="http://schemas.microsoft.com/office/drawing/2014/main" id="{712DA39A-B955-4703-BE61-1D3FD1799FE6}"/>
              </a:ext>
            </a:extLst>
          </p:cNvPr>
          <p:cNvSpPr/>
          <p:nvPr userDrawn="1"/>
        </p:nvSpPr>
        <p:spPr>
          <a:xfrm>
            <a:off x="3929451" y="3478279"/>
            <a:ext cx="5338800" cy="18000"/>
          </a:xfrm>
          <a:prstGeom prst="rect">
            <a:avLst/>
          </a:prstGeom>
          <a:solidFill>
            <a:srgbClr val="E6001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34" charset="-128"/>
              <a:ea typeface="Meiryo UI" panose="020B0604030504040204" pitchFamily="34" charset="-128"/>
            </a:endParaRPr>
          </a:p>
        </p:txBody>
      </p:sp>
      <p:sp>
        <p:nvSpPr>
          <p:cNvPr id="157" name="Title Vertical Line">
            <a:extLst>
              <a:ext uri="{FF2B5EF4-FFF2-40B4-BE49-F238E27FC236}">
                <a16:creationId xmlns:a16="http://schemas.microsoft.com/office/drawing/2014/main" id="{6AB87A7E-286F-473F-A080-CEBFDA151751}"/>
              </a:ext>
            </a:extLst>
          </p:cNvPr>
          <p:cNvSpPr/>
          <p:nvPr userDrawn="1"/>
        </p:nvSpPr>
        <p:spPr>
          <a:xfrm>
            <a:off x="3929451" y="2909479"/>
            <a:ext cx="10800" cy="1026000"/>
          </a:xfrm>
          <a:prstGeom prst="rect">
            <a:avLst/>
          </a:prstGeom>
          <a:solidFill>
            <a:srgbClr val="E60012"/>
          </a:solidFill>
          <a:ln w="127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34" charset="-128"/>
              <a:ea typeface="Meiryo UI" panose="020B0604030504040204" pitchFamily="34" charset="-128"/>
            </a:endParaRPr>
          </a:p>
        </p:txBody>
      </p:sp>
      <p:sp>
        <p:nvSpPr>
          <p:cNvPr id="58" name="Section Title">
            <a:extLst>
              <a:ext uri="{FF2B5EF4-FFF2-40B4-BE49-F238E27FC236}">
                <a16:creationId xmlns:a16="http://schemas.microsoft.com/office/drawing/2014/main" id="{8349BEEE-4B99-41EF-A249-77073F703F18}"/>
              </a:ext>
            </a:extLst>
          </p:cNvPr>
          <p:cNvSpPr>
            <a:spLocks noGrp="1"/>
          </p:cNvSpPr>
          <p:nvPr>
            <p:ph type="title"/>
          </p:nvPr>
        </p:nvSpPr>
        <p:spPr>
          <a:xfrm>
            <a:off x="3931551" y="2282146"/>
            <a:ext cx="5794814" cy="1204836"/>
          </a:xfrm>
          <a:custGeom>
            <a:avLst/>
            <a:gdLst>
              <a:gd name="connsiteX0" fmla="*/ 0 w 5794814"/>
              <a:gd name="connsiteY0" fmla="*/ 0 h 1204836"/>
              <a:gd name="connsiteX1" fmla="*/ 5794814 w 5794814"/>
              <a:gd name="connsiteY1" fmla="*/ 0 h 1204836"/>
              <a:gd name="connsiteX2" fmla="*/ 5794814 w 5794814"/>
              <a:gd name="connsiteY2" fmla="*/ 1204836 h 1204836"/>
              <a:gd name="connsiteX3" fmla="*/ 5336700 w 5794814"/>
              <a:gd name="connsiteY3" fmla="*/ 1204836 h 1204836"/>
              <a:gd name="connsiteX4" fmla="*/ 5336700 w 5794814"/>
              <a:gd name="connsiteY4" fmla="*/ 1195836 h 1204836"/>
              <a:gd name="connsiteX5" fmla="*/ 8700 w 5794814"/>
              <a:gd name="connsiteY5" fmla="*/ 1195836 h 1204836"/>
              <a:gd name="connsiteX6" fmla="*/ 8700 w 5794814"/>
              <a:gd name="connsiteY6" fmla="*/ 626654 h 1204836"/>
              <a:gd name="connsiteX7" fmla="*/ 0 w 5794814"/>
              <a:gd name="connsiteY7" fmla="*/ 626654 h 120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4814" h="1204836">
                <a:moveTo>
                  <a:pt x="0" y="0"/>
                </a:moveTo>
                <a:lnTo>
                  <a:pt x="5794814" y="0"/>
                </a:lnTo>
                <a:lnTo>
                  <a:pt x="5794814" y="1204836"/>
                </a:lnTo>
                <a:lnTo>
                  <a:pt x="5336700" y="1204836"/>
                </a:lnTo>
                <a:lnTo>
                  <a:pt x="5336700" y="1195836"/>
                </a:lnTo>
                <a:lnTo>
                  <a:pt x="8700" y="1195836"/>
                </a:lnTo>
                <a:lnTo>
                  <a:pt x="8700" y="626654"/>
                </a:lnTo>
                <a:lnTo>
                  <a:pt x="0" y="626654"/>
                </a:lnTo>
                <a:close/>
              </a:path>
            </a:pathLst>
          </a:custGeom>
          <a:noFill/>
        </p:spPr>
        <p:txBody>
          <a:bodyPr wrap="square" lIns="432000" tIns="180000" rIns="453600" bIns="180000" anchor="b">
            <a:noAutofit/>
          </a:bodyPr>
          <a:lstStyle>
            <a:lvl1pPr>
              <a:defRPr sz="2000" spc="600">
                <a:solidFill>
                  <a:schemeClr val="tx1"/>
                </a:solidFill>
                <a:latin typeface="Meiryo UI" panose="020B0604030504040204" pitchFamily="34" charset="-128"/>
                <a:ea typeface="Meiryo UI" panose="020B0604030504040204" pitchFamily="34" charset="-128"/>
              </a:defRPr>
            </a:lvl1pPr>
          </a:lstStyle>
          <a:p>
            <a:r>
              <a:rPr lang="ja-JP" altLang="en-US"/>
              <a:t>マスター タイトルの書式設定</a:t>
            </a:r>
            <a:endParaRPr lang="en-US" dirty="0"/>
          </a:p>
        </p:txBody>
      </p:sp>
      <p:sp>
        <p:nvSpPr>
          <p:cNvPr id="59" name="Section Subtitle">
            <a:extLst>
              <a:ext uri="{FF2B5EF4-FFF2-40B4-BE49-F238E27FC236}">
                <a16:creationId xmlns:a16="http://schemas.microsoft.com/office/drawing/2014/main" id="{5C8B0C52-F3F4-4225-B286-BE0490A48D8B}"/>
              </a:ext>
            </a:extLst>
          </p:cNvPr>
          <p:cNvSpPr>
            <a:spLocks noGrp="1"/>
          </p:cNvSpPr>
          <p:nvPr>
            <p:ph type="body" idx="1"/>
          </p:nvPr>
        </p:nvSpPr>
        <p:spPr>
          <a:xfrm>
            <a:off x="3931551" y="3486982"/>
            <a:ext cx="5794814" cy="1102482"/>
          </a:xfrm>
          <a:custGeom>
            <a:avLst/>
            <a:gdLst>
              <a:gd name="connsiteX0" fmla="*/ 5336700 w 5794814"/>
              <a:gd name="connsiteY0" fmla="*/ 0 h 1102482"/>
              <a:gd name="connsiteX1" fmla="*/ 5794814 w 5794814"/>
              <a:gd name="connsiteY1" fmla="*/ 0 h 1102482"/>
              <a:gd name="connsiteX2" fmla="*/ 5794814 w 5794814"/>
              <a:gd name="connsiteY2" fmla="*/ 1102482 h 1102482"/>
              <a:gd name="connsiteX3" fmla="*/ 0 w 5794814"/>
              <a:gd name="connsiteY3" fmla="*/ 1102482 h 1102482"/>
              <a:gd name="connsiteX4" fmla="*/ 0 w 5794814"/>
              <a:gd name="connsiteY4" fmla="*/ 447818 h 1102482"/>
              <a:gd name="connsiteX5" fmla="*/ 8700 w 5794814"/>
              <a:gd name="connsiteY5" fmla="*/ 447818 h 1102482"/>
              <a:gd name="connsiteX6" fmla="*/ 8700 w 5794814"/>
              <a:gd name="connsiteY6" fmla="*/ 8618 h 1102482"/>
              <a:gd name="connsiteX7" fmla="*/ 5336700 w 5794814"/>
              <a:gd name="connsiteY7" fmla="*/ 8618 h 110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4814" h="1102482">
                <a:moveTo>
                  <a:pt x="5336700" y="0"/>
                </a:moveTo>
                <a:lnTo>
                  <a:pt x="5794814" y="0"/>
                </a:lnTo>
                <a:lnTo>
                  <a:pt x="5794814" y="1102482"/>
                </a:lnTo>
                <a:lnTo>
                  <a:pt x="0" y="1102482"/>
                </a:lnTo>
                <a:lnTo>
                  <a:pt x="0" y="447818"/>
                </a:lnTo>
                <a:lnTo>
                  <a:pt x="8700" y="447818"/>
                </a:lnTo>
                <a:lnTo>
                  <a:pt x="8700" y="8618"/>
                </a:lnTo>
                <a:lnTo>
                  <a:pt x="5336700" y="8618"/>
                </a:lnTo>
                <a:close/>
              </a:path>
            </a:pathLst>
          </a:custGeom>
          <a:noFill/>
        </p:spPr>
        <p:txBody>
          <a:bodyPr wrap="square" lIns="432000" tIns="187200" rIns="453600" bIns="187200">
            <a:noAutofit/>
          </a:bodyPr>
          <a:lstStyle>
            <a:lvl1pPr marL="0" indent="0">
              <a:buNone/>
              <a:defRPr sz="900" b="1" spc="250" baseline="0">
                <a:solidFill>
                  <a:schemeClr val="tx1"/>
                </a:solidFill>
                <a:latin typeface="Meiryo UI" panose="020B0604030504040204" pitchFamily="34" charset="-128"/>
                <a:ea typeface="Meiryo UI" panose="020B0604030504040204"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dirty="0"/>
              <a:t>マスター テキストの書式設定</a:t>
            </a:r>
          </a:p>
        </p:txBody>
      </p:sp>
      <p:sp>
        <p:nvSpPr>
          <p:cNvPr id="56" name="Section Number Placeholder">
            <a:extLst>
              <a:ext uri="{FF2B5EF4-FFF2-40B4-BE49-F238E27FC236}">
                <a16:creationId xmlns:a16="http://schemas.microsoft.com/office/drawing/2014/main" id="{F2C4A677-63E8-4B94-BD52-592ED1A69059}"/>
              </a:ext>
            </a:extLst>
          </p:cNvPr>
          <p:cNvSpPr>
            <a:spLocks noGrp="1"/>
          </p:cNvSpPr>
          <p:nvPr>
            <p:ph type="body" sz="quarter" idx="13" hasCustomPrompt="1"/>
          </p:nvPr>
        </p:nvSpPr>
        <p:spPr>
          <a:xfrm>
            <a:off x="2466000" y="2282146"/>
            <a:ext cx="1468437" cy="2306638"/>
          </a:xfrm>
          <a:custGeom>
            <a:avLst/>
            <a:gdLst>
              <a:gd name="connsiteX0" fmla="*/ 0 w 1468437"/>
              <a:gd name="connsiteY0" fmla="*/ 0 h 2306638"/>
              <a:gd name="connsiteX1" fmla="*/ 1468437 w 1468437"/>
              <a:gd name="connsiteY1" fmla="*/ 0 h 2306638"/>
              <a:gd name="connsiteX2" fmla="*/ 1468437 w 1468437"/>
              <a:gd name="connsiteY2" fmla="*/ 625975 h 2306638"/>
              <a:gd name="connsiteX3" fmla="*/ 1467012 w 1468437"/>
              <a:gd name="connsiteY3" fmla="*/ 625975 h 2306638"/>
              <a:gd name="connsiteX4" fmla="*/ 1467012 w 1468437"/>
              <a:gd name="connsiteY4" fmla="*/ 1651975 h 2306638"/>
              <a:gd name="connsiteX5" fmla="*/ 1468437 w 1468437"/>
              <a:gd name="connsiteY5" fmla="*/ 1651975 h 2306638"/>
              <a:gd name="connsiteX6" fmla="*/ 1468437 w 1468437"/>
              <a:gd name="connsiteY6" fmla="*/ 2306638 h 2306638"/>
              <a:gd name="connsiteX7" fmla="*/ 0 w 1468437"/>
              <a:gd name="connsiteY7" fmla="*/ 2306638 h 230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437" h="2306638">
                <a:moveTo>
                  <a:pt x="0" y="0"/>
                </a:moveTo>
                <a:lnTo>
                  <a:pt x="1468437" y="0"/>
                </a:lnTo>
                <a:lnTo>
                  <a:pt x="1468437" y="625975"/>
                </a:lnTo>
                <a:lnTo>
                  <a:pt x="1467012" y="625975"/>
                </a:lnTo>
                <a:lnTo>
                  <a:pt x="1467012" y="1651975"/>
                </a:lnTo>
                <a:lnTo>
                  <a:pt x="1468437" y="1651975"/>
                </a:lnTo>
                <a:lnTo>
                  <a:pt x="1468437" y="2306638"/>
                </a:lnTo>
                <a:lnTo>
                  <a:pt x="0" y="2306638"/>
                </a:lnTo>
                <a:close/>
              </a:path>
            </a:pathLst>
          </a:custGeom>
          <a:noFill/>
        </p:spPr>
        <p:txBody>
          <a:bodyPr wrap="square" lIns="0" tIns="0" rIns="0" bIns="61200" anchor="ctr">
            <a:noAutofit/>
          </a:bodyPr>
          <a:lstStyle>
            <a:lvl1pPr marL="0" indent="0" algn="ctr">
              <a:buNone/>
              <a:defRPr sz="6800" b="1">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a:p>
        </p:txBody>
      </p:sp>
      <p:sp>
        <p:nvSpPr>
          <p:cNvPr id="2" name="Date Placeholder">
            <a:extLst>
              <a:ext uri="{FF2B5EF4-FFF2-40B4-BE49-F238E27FC236}">
                <a16:creationId xmlns:a16="http://schemas.microsoft.com/office/drawing/2014/main" id="{F1EA5B21-E06E-43AB-B47C-4D6C04C27A3D}"/>
              </a:ext>
            </a:extLst>
          </p:cNvPr>
          <p:cNvSpPr>
            <a:spLocks noGrp="1"/>
          </p:cNvSpPr>
          <p:nvPr>
            <p:ph type="dt" sz="half" idx="14"/>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6" name="Footer Placeholder">
            <a:extLst>
              <a:ext uri="{FF2B5EF4-FFF2-40B4-BE49-F238E27FC236}">
                <a16:creationId xmlns:a16="http://schemas.microsoft.com/office/drawing/2014/main" id="{3CBCE4AD-4260-4BF0-BC17-729D37D61B2B}"/>
              </a:ext>
            </a:extLst>
          </p:cNvPr>
          <p:cNvSpPr>
            <a:spLocks noGrp="1"/>
          </p:cNvSpPr>
          <p:nvPr>
            <p:ph type="ftr" sz="quarter" idx="15"/>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7" name="Slide Number Placeholder">
            <a:extLst>
              <a:ext uri="{FF2B5EF4-FFF2-40B4-BE49-F238E27FC236}">
                <a16:creationId xmlns:a16="http://schemas.microsoft.com/office/drawing/2014/main" id="{DCF9D6EB-9E08-45A3-A0E0-07339959E954}"/>
              </a:ext>
            </a:extLst>
          </p:cNvPr>
          <p:cNvSpPr>
            <a:spLocks noGrp="1"/>
          </p:cNvSpPr>
          <p:nvPr>
            <p:ph type="sldNum" sz="quarter" idx="16"/>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pic>
        <p:nvPicPr>
          <p:cNvPr id="4" name="Picture 3">
            <a:extLst>
              <a:ext uri="{FF2B5EF4-FFF2-40B4-BE49-F238E27FC236}">
                <a16:creationId xmlns:a16="http://schemas.microsoft.com/office/drawing/2014/main" id="{AE9D6FD4-9446-DFC4-3E7C-8CD37BD8A4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6041" y="89724"/>
            <a:ext cx="2826962" cy="481371"/>
          </a:xfrm>
          <a:prstGeom prst="rect">
            <a:avLst/>
          </a:prstGeom>
        </p:spPr>
      </p:pic>
      <p:grpSp>
        <p:nvGrpSpPr>
          <p:cNvPr id="3" name="Group 18">
            <a:extLst>
              <a:ext uri="{FF2B5EF4-FFF2-40B4-BE49-F238E27FC236}">
                <a16:creationId xmlns:a16="http://schemas.microsoft.com/office/drawing/2014/main" id="{330E58B0-0B6B-25F8-090D-1CAA64B29CF4}"/>
              </a:ext>
            </a:extLst>
          </p:cNvPr>
          <p:cNvGrpSpPr/>
          <p:nvPr userDrawn="1"/>
        </p:nvGrpSpPr>
        <p:grpSpPr>
          <a:xfrm>
            <a:off x="12527745" y="1706598"/>
            <a:ext cx="2425636" cy="4834602"/>
            <a:chOff x="12216680" y="2015317"/>
            <a:chExt cx="2425636" cy="4834602"/>
          </a:xfrm>
        </p:grpSpPr>
        <p:sp>
          <p:nvSpPr>
            <p:cNvPr id="5" name="Rectangle 19">
              <a:extLst>
                <a:ext uri="{FF2B5EF4-FFF2-40B4-BE49-F238E27FC236}">
                  <a16:creationId xmlns:a16="http://schemas.microsoft.com/office/drawing/2014/main" id="{D07E5CD8-1D00-3BF9-ED42-315841B04236}"/>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 name="Rectangle 20">
              <a:extLst>
                <a:ext uri="{FF2B5EF4-FFF2-40B4-BE49-F238E27FC236}">
                  <a16:creationId xmlns:a16="http://schemas.microsoft.com/office/drawing/2014/main" id="{3403AE90-5931-9587-6C62-0A8C002A237F}"/>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 name="Rectangle 21">
              <a:extLst>
                <a:ext uri="{FF2B5EF4-FFF2-40B4-BE49-F238E27FC236}">
                  <a16:creationId xmlns:a16="http://schemas.microsoft.com/office/drawing/2014/main" id="{4C26C782-740C-71EC-E25D-200334546BAB}"/>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2">
              <a:extLst>
                <a:ext uri="{FF2B5EF4-FFF2-40B4-BE49-F238E27FC236}">
                  <a16:creationId xmlns:a16="http://schemas.microsoft.com/office/drawing/2014/main" id="{55C6BCB9-149B-2992-B443-575FAA7E78C2}"/>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Rectangle 23">
              <a:extLst>
                <a:ext uri="{FF2B5EF4-FFF2-40B4-BE49-F238E27FC236}">
                  <a16:creationId xmlns:a16="http://schemas.microsoft.com/office/drawing/2014/main" id="{9AD12190-0B7E-0FE1-3708-D35C76D513A7}"/>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 name="TextBox 24">
              <a:extLst>
                <a:ext uri="{FF2B5EF4-FFF2-40B4-BE49-F238E27FC236}">
                  <a16:creationId xmlns:a16="http://schemas.microsoft.com/office/drawing/2014/main" id="{FEA91706-D102-ADC0-54FC-C0C7AAB414E6}"/>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3" name="TextBox 25">
              <a:extLst>
                <a:ext uri="{FF2B5EF4-FFF2-40B4-BE49-F238E27FC236}">
                  <a16:creationId xmlns:a16="http://schemas.microsoft.com/office/drawing/2014/main" id="{14F1B237-F3B9-794E-33BA-8049C4C208DD}"/>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4" name="TextBox 26">
              <a:extLst>
                <a:ext uri="{FF2B5EF4-FFF2-40B4-BE49-F238E27FC236}">
                  <a16:creationId xmlns:a16="http://schemas.microsoft.com/office/drawing/2014/main" id="{31BD1829-0FED-7845-71BA-6C3A2DD0C248}"/>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5" name="TextBox 27">
              <a:extLst>
                <a:ext uri="{FF2B5EF4-FFF2-40B4-BE49-F238E27FC236}">
                  <a16:creationId xmlns:a16="http://schemas.microsoft.com/office/drawing/2014/main" id="{F5C56B69-37B5-9914-179D-12713969E0A8}"/>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6" name="TextBox 28">
              <a:extLst>
                <a:ext uri="{FF2B5EF4-FFF2-40B4-BE49-F238E27FC236}">
                  <a16:creationId xmlns:a16="http://schemas.microsoft.com/office/drawing/2014/main" id="{436D8532-D56D-AEAC-ED91-F0B682724597}"/>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7" name="TextBox 29">
              <a:extLst>
                <a:ext uri="{FF2B5EF4-FFF2-40B4-BE49-F238E27FC236}">
                  <a16:creationId xmlns:a16="http://schemas.microsoft.com/office/drawing/2014/main" id="{1C3CAB31-9877-29CE-9918-0F18701A9189}"/>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8" name="TextBox 30">
              <a:extLst>
                <a:ext uri="{FF2B5EF4-FFF2-40B4-BE49-F238E27FC236}">
                  <a16:creationId xmlns:a16="http://schemas.microsoft.com/office/drawing/2014/main" id="{80A11FE0-63F8-1900-9789-21C4DE156F66}"/>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9" name="Rectangle 31">
              <a:extLst>
                <a:ext uri="{FF2B5EF4-FFF2-40B4-BE49-F238E27FC236}">
                  <a16:creationId xmlns:a16="http://schemas.microsoft.com/office/drawing/2014/main" id="{89CC1C08-3144-E418-EBA1-08D042C4AD45}"/>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2">
              <a:extLst>
                <a:ext uri="{FF2B5EF4-FFF2-40B4-BE49-F238E27FC236}">
                  <a16:creationId xmlns:a16="http://schemas.microsoft.com/office/drawing/2014/main" id="{0CFFAC49-656E-09E7-E170-31BF5B1ABB69}"/>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3">
              <a:extLst>
                <a:ext uri="{FF2B5EF4-FFF2-40B4-BE49-F238E27FC236}">
                  <a16:creationId xmlns:a16="http://schemas.microsoft.com/office/drawing/2014/main" id="{5B327A73-E52A-C7E1-EA74-6C43B0E2AB24}"/>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4">
              <a:extLst>
                <a:ext uri="{FF2B5EF4-FFF2-40B4-BE49-F238E27FC236}">
                  <a16:creationId xmlns:a16="http://schemas.microsoft.com/office/drawing/2014/main" id="{7986811C-CC64-48BC-0A74-A8EDC09E3377}"/>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5">
              <a:extLst>
                <a:ext uri="{FF2B5EF4-FFF2-40B4-BE49-F238E27FC236}">
                  <a16:creationId xmlns:a16="http://schemas.microsoft.com/office/drawing/2014/main" id="{99FB479A-DD77-26B0-52D7-48F63313322A}"/>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6">
              <a:extLst>
                <a:ext uri="{FF2B5EF4-FFF2-40B4-BE49-F238E27FC236}">
                  <a16:creationId xmlns:a16="http://schemas.microsoft.com/office/drawing/2014/main" id="{CAF0C577-D258-1EC4-FDB4-2DAC2D141152}"/>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7">
              <a:extLst>
                <a:ext uri="{FF2B5EF4-FFF2-40B4-BE49-F238E27FC236}">
                  <a16:creationId xmlns:a16="http://schemas.microsoft.com/office/drawing/2014/main" id="{DD398326-CA46-CDA9-CEC6-C6B06BC01144}"/>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8">
              <a:extLst>
                <a:ext uri="{FF2B5EF4-FFF2-40B4-BE49-F238E27FC236}">
                  <a16:creationId xmlns:a16="http://schemas.microsoft.com/office/drawing/2014/main" id="{8FA25F6E-86C9-E36D-61A0-7570F01CB004}"/>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39">
              <a:extLst>
                <a:ext uri="{FF2B5EF4-FFF2-40B4-BE49-F238E27FC236}">
                  <a16:creationId xmlns:a16="http://schemas.microsoft.com/office/drawing/2014/main" id="{9F02A348-649A-DFF9-B820-1FC3F58360FB}"/>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0">
              <a:extLst>
                <a:ext uri="{FF2B5EF4-FFF2-40B4-BE49-F238E27FC236}">
                  <a16:creationId xmlns:a16="http://schemas.microsoft.com/office/drawing/2014/main" id="{19561C20-4B6D-3EA5-A19C-2F2BB9DF8131}"/>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1">
              <a:extLst>
                <a:ext uri="{FF2B5EF4-FFF2-40B4-BE49-F238E27FC236}">
                  <a16:creationId xmlns:a16="http://schemas.microsoft.com/office/drawing/2014/main" id="{56236C6C-B7CE-B2D3-CA17-9B5096B96539}"/>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2">
              <a:extLst>
                <a:ext uri="{FF2B5EF4-FFF2-40B4-BE49-F238E27FC236}">
                  <a16:creationId xmlns:a16="http://schemas.microsoft.com/office/drawing/2014/main" id="{E538F10E-B623-A0F3-4C97-9A3D747E88A7}"/>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3">
              <a:extLst>
                <a:ext uri="{FF2B5EF4-FFF2-40B4-BE49-F238E27FC236}">
                  <a16:creationId xmlns:a16="http://schemas.microsoft.com/office/drawing/2014/main" id="{0BA62190-096F-C697-E50E-2272534C6860}"/>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Rectangle 44">
              <a:extLst>
                <a:ext uri="{FF2B5EF4-FFF2-40B4-BE49-F238E27FC236}">
                  <a16:creationId xmlns:a16="http://schemas.microsoft.com/office/drawing/2014/main" id="{FA15061C-7FFA-2DF7-22FC-EC088BEFC4E2}"/>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 name="TextBox 45">
              <a:extLst>
                <a:ext uri="{FF2B5EF4-FFF2-40B4-BE49-F238E27FC236}">
                  <a16:creationId xmlns:a16="http://schemas.microsoft.com/office/drawing/2014/main" id="{8DCAE329-FC1C-CF1E-F9A9-74B31F92F844}"/>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4" name="TextBox 46">
              <a:extLst>
                <a:ext uri="{FF2B5EF4-FFF2-40B4-BE49-F238E27FC236}">
                  <a16:creationId xmlns:a16="http://schemas.microsoft.com/office/drawing/2014/main" id="{EE402875-5BF2-62DA-B2C2-2DF83CC1D884}"/>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5" name="TextBox 47">
              <a:extLst>
                <a:ext uri="{FF2B5EF4-FFF2-40B4-BE49-F238E27FC236}">
                  <a16:creationId xmlns:a16="http://schemas.microsoft.com/office/drawing/2014/main" id="{B7D1090B-22E4-F634-667E-C081FFCC9DC8}"/>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6" name="TextBox 48">
              <a:extLst>
                <a:ext uri="{FF2B5EF4-FFF2-40B4-BE49-F238E27FC236}">
                  <a16:creationId xmlns:a16="http://schemas.microsoft.com/office/drawing/2014/main" id="{244BAF44-765B-144B-6FDD-D0EC12C82712}"/>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7" name="TextBox 49">
              <a:extLst>
                <a:ext uri="{FF2B5EF4-FFF2-40B4-BE49-F238E27FC236}">
                  <a16:creationId xmlns:a16="http://schemas.microsoft.com/office/drawing/2014/main" id="{4622BF3E-CB48-78A7-8F29-1E92160B0E7E}"/>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8" name="TextBox 50">
              <a:extLst>
                <a:ext uri="{FF2B5EF4-FFF2-40B4-BE49-F238E27FC236}">
                  <a16:creationId xmlns:a16="http://schemas.microsoft.com/office/drawing/2014/main" id="{4C852866-FC64-92B4-A55A-7040FE099E2F}"/>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9" name="TextBox 51">
              <a:extLst>
                <a:ext uri="{FF2B5EF4-FFF2-40B4-BE49-F238E27FC236}">
                  <a16:creationId xmlns:a16="http://schemas.microsoft.com/office/drawing/2014/main" id="{1301972A-A3B3-4679-0C75-BBF99D124D7E}"/>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40" name="Rectangle 52">
              <a:extLst>
                <a:ext uri="{FF2B5EF4-FFF2-40B4-BE49-F238E27FC236}">
                  <a16:creationId xmlns:a16="http://schemas.microsoft.com/office/drawing/2014/main" id="{6EF6E844-8197-B604-C2D2-E17205445F4F}"/>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3">
              <a:extLst>
                <a:ext uri="{FF2B5EF4-FFF2-40B4-BE49-F238E27FC236}">
                  <a16:creationId xmlns:a16="http://schemas.microsoft.com/office/drawing/2014/main" id="{4B7C9DF9-4B47-7BD0-B512-1AFEBC5F173B}"/>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4">
              <a:extLst>
                <a:ext uri="{FF2B5EF4-FFF2-40B4-BE49-F238E27FC236}">
                  <a16:creationId xmlns:a16="http://schemas.microsoft.com/office/drawing/2014/main" id="{B6381D6E-5AD8-145A-141D-E26482700428}"/>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5">
              <a:extLst>
                <a:ext uri="{FF2B5EF4-FFF2-40B4-BE49-F238E27FC236}">
                  <a16:creationId xmlns:a16="http://schemas.microsoft.com/office/drawing/2014/main" id="{42C7AB7E-1D91-E9D9-AE5C-A088EDB1CE45}"/>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Rectangle 56">
              <a:extLst>
                <a:ext uri="{FF2B5EF4-FFF2-40B4-BE49-F238E27FC236}">
                  <a16:creationId xmlns:a16="http://schemas.microsoft.com/office/drawing/2014/main" id="{BB7A6697-175D-AABC-DF56-E47476FA63F7}"/>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 name="TextBox 57">
              <a:extLst>
                <a:ext uri="{FF2B5EF4-FFF2-40B4-BE49-F238E27FC236}">
                  <a16:creationId xmlns:a16="http://schemas.microsoft.com/office/drawing/2014/main" id="{115C3EBF-4CAC-33FC-EAF2-061925EA72CB}"/>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6" name="TextBox 58">
              <a:extLst>
                <a:ext uri="{FF2B5EF4-FFF2-40B4-BE49-F238E27FC236}">
                  <a16:creationId xmlns:a16="http://schemas.microsoft.com/office/drawing/2014/main" id="{AAF8F02B-DA49-CD13-DE64-95907679CA32}"/>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7" name="TextBox 59">
              <a:extLst>
                <a:ext uri="{FF2B5EF4-FFF2-40B4-BE49-F238E27FC236}">
                  <a16:creationId xmlns:a16="http://schemas.microsoft.com/office/drawing/2014/main" id="{6DC95C67-0E4F-FAB5-6636-0EF9A4A49357}"/>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8" name="TextBox 60">
              <a:extLst>
                <a:ext uri="{FF2B5EF4-FFF2-40B4-BE49-F238E27FC236}">
                  <a16:creationId xmlns:a16="http://schemas.microsoft.com/office/drawing/2014/main" id="{FA101449-3AEE-E7ED-65BF-29282404C2EC}"/>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9" name="TextBox 61">
              <a:extLst>
                <a:ext uri="{FF2B5EF4-FFF2-40B4-BE49-F238E27FC236}">
                  <a16:creationId xmlns:a16="http://schemas.microsoft.com/office/drawing/2014/main" id="{F3C0E040-1828-E291-7601-BED7C5505856}"/>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50" name="TextBox 62">
              <a:extLst>
                <a:ext uri="{FF2B5EF4-FFF2-40B4-BE49-F238E27FC236}">
                  <a16:creationId xmlns:a16="http://schemas.microsoft.com/office/drawing/2014/main" id="{2021798B-571B-AFB7-91A6-AC09268CD182}"/>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1" name="TextBox 63">
              <a:extLst>
                <a:ext uri="{FF2B5EF4-FFF2-40B4-BE49-F238E27FC236}">
                  <a16:creationId xmlns:a16="http://schemas.microsoft.com/office/drawing/2014/main" id="{20688446-C5EB-4691-CC45-09124565FBE7}"/>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2" name="TextBox 64">
              <a:extLst>
                <a:ext uri="{FF2B5EF4-FFF2-40B4-BE49-F238E27FC236}">
                  <a16:creationId xmlns:a16="http://schemas.microsoft.com/office/drawing/2014/main" id="{5DC42FB7-E4A0-F49B-39A7-DBDEDFF44603}"/>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3" name="TextBox 65">
              <a:extLst>
                <a:ext uri="{FF2B5EF4-FFF2-40B4-BE49-F238E27FC236}">
                  <a16:creationId xmlns:a16="http://schemas.microsoft.com/office/drawing/2014/main" id="{A9057493-B8B9-4949-66F3-BCDCE959DA15}"/>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4" name="TextBox 66">
              <a:extLst>
                <a:ext uri="{FF2B5EF4-FFF2-40B4-BE49-F238E27FC236}">
                  <a16:creationId xmlns:a16="http://schemas.microsoft.com/office/drawing/2014/main" id="{77D6B0D3-74B4-DBEA-B9AB-2010AD329910}"/>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5" name="TextBox 67">
              <a:extLst>
                <a:ext uri="{FF2B5EF4-FFF2-40B4-BE49-F238E27FC236}">
                  <a16:creationId xmlns:a16="http://schemas.microsoft.com/office/drawing/2014/main" id="{E935A57C-AD37-9C1E-0625-279535C009CD}"/>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7" name="TextBox 68">
              <a:extLst>
                <a:ext uri="{FF2B5EF4-FFF2-40B4-BE49-F238E27FC236}">
                  <a16:creationId xmlns:a16="http://schemas.microsoft.com/office/drawing/2014/main" id="{FDB0447D-3E12-901A-3EC2-D493727C26AB}"/>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60" name="TextBox 69">
              <a:extLst>
                <a:ext uri="{FF2B5EF4-FFF2-40B4-BE49-F238E27FC236}">
                  <a16:creationId xmlns:a16="http://schemas.microsoft.com/office/drawing/2014/main" id="{D98CB3D3-6707-969E-7C1F-7AD29EA278F1}"/>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61" name="TextBox 70">
              <a:extLst>
                <a:ext uri="{FF2B5EF4-FFF2-40B4-BE49-F238E27FC236}">
                  <a16:creationId xmlns:a16="http://schemas.microsoft.com/office/drawing/2014/main" id="{E1CE7987-9F7F-FE60-F12F-0B9E0C93C005}"/>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62" name="TextBox 71">
              <a:extLst>
                <a:ext uri="{FF2B5EF4-FFF2-40B4-BE49-F238E27FC236}">
                  <a16:creationId xmlns:a16="http://schemas.microsoft.com/office/drawing/2014/main" id="{884F3812-11DD-512D-3EF8-FBD7E13998DA}"/>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63" name="Rectangle 72">
              <a:extLst>
                <a:ext uri="{FF2B5EF4-FFF2-40B4-BE49-F238E27FC236}">
                  <a16:creationId xmlns:a16="http://schemas.microsoft.com/office/drawing/2014/main" id="{5DECDD75-9D99-8617-A698-D98C0FFCBB7C}"/>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3">
              <a:extLst>
                <a:ext uri="{FF2B5EF4-FFF2-40B4-BE49-F238E27FC236}">
                  <a16:creationId xmlns:a16="http://schemas.microsoft.com/office/drawing/2014/main" id="{1711A556-C04F-22BC-BD58-56C8D6D2B694}"/>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4">
              <a:extLst>
                <a:ext uri="{FF2B5EF4-FFF2-40B4-BE49-F238E27FC236}">
                  <a16:creationId xmlns:a16="http://schemas.microsoft.com/office/drawing/2014/main" id="{4EC84CE0-E35C-A569-45D1-A7627E3B23BF}"/>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5">
              <a:extLst>
                <a:ext uri="{FF2B5EF4-FFF2-40B4-BE49-F238E27FC236}">
                  <a16:creationId xmlns:a16="http://schemas.microsoft.com/office/drawing/2014/main" id="{CE86A61F-9EAD-B5B0-2F7D-5CF3DEC1A32D}"/>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7" name="Rectangle 76">
              <a:extLst>
                <a:ext uri="{FF2B5EF4-FFF2-40B4-BE49-F238E27FC236}">
                  <a16:creationId xmlns:a16="http://schemas.microsoft.com/office/drawing/2014/main" id="{F378C976-AD5C-731F-8D90-507729846440}"/>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77">
              <a:extLst>
                <a:ext uri="{FF2B5EF4-FFF2-40B4-BE49-F238E27FC236}">
                  <a16:creationId xmlns:a16="http://schemas.microsoft.com/office/drawing/2014/main" id="{1B87A6FE-02AF-E791-0DEE-983BF0A9A7E9}"/>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9" name="Rectangle 78">
              <a:extLst>
                <a:ext uri="{FF2B5EF4-FFF2-40B4-BE49-F238E27FC236}">
                  <a16:creationId xmlns:a16="http://schemas.microsoft.com/office/drawing/2014/main" id="{7AC5B7C8-765A-E7AF-6208-EB151C86A6BB}"/>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79">
              <a:extLst>
                <a:ext uri="{FF2B5EF4-FFF2-40B4-BE49-F238E27FC236}">
                  <a16:creationId xmlns:a16="http://schemas.microsoft.com/office/drawing/2014/main" id="{2EA75F7D-9C7F-9B8D-27CF-4803D97AAD58}"/>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0">
              <a:extLst>
                <a:ext uri="{FF2B5EF4-FFF2-40B4-BE49-F238E27FC236}">
                  <a16:creationId xmlns:a16="http://schemas.microsoft.com/office/drawing/2014/main" id="{FCEE6E63-4B9F-3A8D-3847-E47B8990E202}"/>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1">
              <a:extLst>
                <a:ext uri="{FF2B5EF4-FFF2-40B4-BE49-F238E27FC236}">
                  <a16:creationId xmlns:a16="http://schemas.microsoft.com/office/drawing/2014/main" id="{6E4198C0-A978-9FD9-F5D6-33013E3EF1B9}"/>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3" name="Rectangle 82">
              <a:extLst>
                <a:ext uri="{FF2B5EF4-FFF2-40B4-BE49-F238E27FC236}">
                  <a16:creationId xmlns:a16="http://schemas.microsoft.com/office/drawing/2014/main" id="{E5349B01-14C4-BD81-4ED1-4FFC3C1A97AC}"/>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4" name="Rectangle 83">
              <a:extLst>
                <a:ext uri="{FF2B5EF4-FFF2-40B4-BE49-F238E27FC236}">
                  <a16:creationId xmlns:a16="http://schemas.microsoft.com/office/drawing/2014/main" id="{BECC2382-E94B-2653-970A-F46F2405659B}"/>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4">
              <a:extLst>
                <a:ext uri="{FF2B5EF4-FFF2-40B4-BE49-F238E27FC236}">
                  <a16:creationId xmlns:a16="http://schemas.microsoft.com/office/drawing/2014/main" id="{0DA60DF3-45A4-1A8A-19AC-691DFE23D446}"/>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5">
              <a:extLst>
                <a:ext uri="{FF2B5EF4-FFF2-40B4-BE49-F238E27FC236}">
                  <a16:creationId xmlns:a16="http://schemas.microsoft.com/office/drawing/2014/main" id="{F26CC246-BB83-EE6C-963D-8669AE1E82E9}"/>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86">
              <a:extLst>
                <a:ext uri="{FF2B5EF4-FFF2-40B4-BE49-F238E27FC236}">
                  <a16:creationId xmlns:a16="http://schemas.microsoft.com/office/drawing/2014/main" id="{D8EA5E54-9149-AF3D-1E1C-C74BB3995FA3}"/>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87">
              <a:extLst>
                <a:ext uri="{FF2B5EF4-FFF2-40B4-BE49-F238E27FC236}">
                  <a16:creationId xmlns:a16="http://schemas.microsoft.com/office/drawing/2014/main" id="{5DACBBBB-ED8E-68E4-306D-0B879C1F5D34}"/>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88">
              <a:extLst>
                <a:ext uri="{FF2B5EF4-FFF2-40B4-BE49-F238E27FC236}">
                  <a16:creationId xmlns:a16="http://schemas.microsoft.com/office/drawing/2014/main" id="{086B3A00-918F-FDB1-AD60-9EA7DACD4BF9}"/>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89">
              <a:extLst>
                <a:ext uri="{FF2B5EF4-FFF2-40B4-BE49-F238E27FC236}">
                  <a16:creationId xmlns:a16="http://schemas.microsoft.com/office/drawing/2014/main" id="{B33AE951-E251-FCA3-CC9A-DE774762B4F6}"/>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0">
              <a:extLst>
                <a:ext uri="{FF2B5EF4-FFF2-40B4-BE49-F238E27FC236}">
                  <a16:creationId xmlns:a16="http://schemas.microsoft.com/office/drawing/2014/main" id="{1DC437A9-7508-04A8-287B-01D469790EA4}"/>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1">
              <a:extLst>
                <a:ext uri="{FF2B5EF4-FFF2-40B4-BE49-F238E27FC236}">
                  <a16:creationId xmlns:a16="http://schemas.microsoft.com/office/drawing/2014/main" id="{E4D97E73-1937-11D1-06B5-690A41BFBF78}"/>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2">
              <a:extLst>
                <a:ext uri="{FF2B5EF4-FFF2-40B4-BE49-F238E27FC236}">
                  <a16:creationId xmlns:a16="http://schemas.microsoft.com/office/drawing/2014/main" id="{740AD5D0-B0E3-C743-8B4F-CD397278D09E}"/>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3">
              <a:extLst>
                <a:ext uri="{FF2B5EF4-FFF2-40B4-BE49-F238E27FC236}">
                  <a16:creationId xmlns:a16="http://schemas.microsoft.com/office/drawing/2014/main" id="{9F99E2EF-B356-D50C-BF77-B82F6311328F}"/>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4">
              <a:extLst>
                <a:ext uri="{FF2B5EF4-FFF2-40B4-BE49-F238E27FC236}">
                  <a16:creationId xmlns:a16="http://schemas.microsoft.com/office/drawing/2014/main" id="{AD2E62F5-A946-8588-0B24-AFF5AE456F5A}"/>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5">
              <a:extLst>
                <a:ext uri="{FF2B5EF4-FFF2-40B4-BE49-F238E27FC236}">
                  <a16:creationId xmlns:a16="http://schemas.microsoft.com/office/drawing/2014/main" id="{E46CF15F-A336-98D9-9B48-E4383326C680}"/>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96">
              <a:extLst>
                <a:ext uri="{FF2B5EF4-FFF2-40B4-BE49-F238E27FC236}">
                  <a16:creationId xmlns:a16="http://schemas.microsoft.com/office/drawing/2014/main" id="{5A13461A-765B-8723-F975-7B2AFD91DA88}"/>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8" name="Rectangle 97">
              <a:extLst>
                <a:ext uri="{FF2B5EF4-FFF2-40B4-BE49-F238E27FC236}">
                  <a16:creationId xmlns:a16="http://schemas.microsoft.com/office/drawing/2014/main" id="{565B8A04-78A2-34C0-3054-CE644F1A0AE8}"/>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9" name="Rectangle 98">
              <a:extLst>
                <a:ext uri="{FF2B5EF4-FFF2-40B4-BE49-F238E27FC236}">
                  <a16:creationId xmlns:a16="http://schemas.microsoft.com/office/drawing/2014/main" id="{B1B60BE2-96DF-23AA-5A2A-B63E00ED9604}"/>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0" name="Rectangle 99">
              <a:extLst>
                <a:ext uri="{FF2B5EF4-FFF2-40B4-BE49-F238E27FC236}">
                  <a16:creationId xmlns:a16="http://schemas.microsoft.com/office/drawing/2014/main" id="{8C5215E4-F2DE-BEEF-AADB-EB08CA64791E}"/>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1" name="Rectangle 100">
              <a:extLst>
                <a:ext uri="{FF2B5EF4-FFF2-40B4-BE49-F238E27FC236}">
                  <a16:creationId xmlns:a16="http://schemas.microsoft.com/office/drawing/2014/main" id="{DC40F8FD-B6D8-5EE7-B806-4BFE487E509B}"/>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2" name="Rectangle 101">
              <a:extLst>
                <a:ext uri="{FF2B5EF4-FFF2-40B4-BE49-F238E27FC236}">
                  <a16:creationId xmlns:a16="http://schemas.microsoft.com/office/drawing/2014/main" id="{81A9BD66-08CF-A5A3-50C1-DD614EC4CE1C}"/>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102">
              <a:extLst>
                <a:ext uri="{FF2B5EF4-FFF2-40B4-BE49-F238E27FC236}">
                  <a16:creationId xmlns:a16="http://schemas.microsoft.com/office/drawing/2014/main" id="{31B678E5-ABC8-A848-428D-E24075E097D2}"/>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4" name="Rectangle 103">
              <a:extLst>
                <a:ext uri="{FF2B5EF4-FFF2-40B4-BE49-F238E27FC236}">
                  <a16:creationId xmlns:a16="http://schemas.microsoft.com/office/drawing/2014/main" id="{C29EBF63-3F87-1B21-D8C6-43E688F2CFF1}"/>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4">
              <a:extLst>
                <a:ext uri="{FF2B5EF4-FFF2-40B4-BE49-F238E27FC236}">
                  <a16:creationId xmlns:a16="http://schemas.microsoft.com/office/drawing/2014/main" id="{4899B362-B11D-F125-A1C2-123F642F91EA}"/>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5">
              <a:extLst>
                <a:ext uri="{FF2B5EF4-FFF2-40B4-BE49-F238E27FC236}">
                  <a16:creationId xmlns:a16="http://schemas.microsoft.com/office/drawing/2014/main" id="{00EC06C5-ED65-1EBD-879C-F5AAA9691E25}"/>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06">
              <a:extLst>
                <a:ext uri="{FF2B5EF4-FFF2-40B4-BE49-F238E27FC236}">
                  <a16:creationId xmlns:a16="http://schemas.microsoft.com/office/drawing/2014/main" id="{C8FEF7C6-3EE2-B7C8-7723-332E2B7440B5}"/>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07">
              <a:extLst>
                <a:ext uri="{FF2B5EF4-FFF2-40B4-BE49-F238E27FC236}">
                  <a16:creationId xmlns:a16="http://schemas.microsoft.com/office/drawing/2014/main" id="{A8651A9A-4CA4-5C1D-B220-FDA0AA3D9B7C}"/>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9" name="Rectangle 108">
              <a:extLst>
                <a:ext uri="{FF2B5EF4-FFF2-40B4-BE49-F238E27FC236}">
                  <a16:creationId xmlns:a16="http://schemas.microsoft.com/office/drawing/2014/main" id="{34F026F6-836F-71D7-B982-53F90CE5F5B7}"/>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0" name="Rectangle 109">
              <a:extLst>
                <a:ext uri="{FF2B5EF4-FFF2-40B4-BE49-F238E27FC236}">
                  <a16:creationId xmlns:a16="http://schemas.microsoft.com/office/drawing/2014/main" id="{B0DA20EA-E732-1FD7-68E5-037F282A393D}"/>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3" name="Rectangle 110">
              <a:extLst>
                <a:ext uri="{FF2B5EF4-FFF2-40B4-BE49-F238E27FC236}">
                  <a16:creationId xmlns:a16="http://schemas.microsoft.com/office/drawing/2014/main" id="{5E32B77E-B9F7-B705-8076-15815AE0C413}"/>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4" name="Rectangle 111">
              <a:extLst>
                <a:ext uri="{FF2B5EF4-FFF2-40B4-BE49-F238E27FC236}">
                  <a16:creationId xmlns:a16="http://schemas.microsoft.com/office/drawing/2014/main" id="{5BA6E56C-6EF8-A785-C647-1D5D3F8FD951}"/>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5" name="TextBox 112">
              <a:extLst>
                <a:ext uri="{FF2B5EF4-FFF2-40B4-BE49-F238E27FC236}">
                  <a16:creationId xmlns:a16="http://schemas.microsoft.com/office/drawing/2014/main" id="{722A11FA-8775-6616-E2B6-476489CD77BA}"/>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06" name="TextBox 113">
              <a:extLst>
                <a:ext uri="{FF2B5EF4-FFF2-40B4-BE49-F238E27FC236}">
                  <a16:creationId xmlns:a16="http://schemas.microsoft.com/office/drawing/2014/main" id="{EC90B770-59D2-9DF2-902D-795685A6ACE8}"/>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7" name="TextBox 114">
              <a:extLst>
                <a:ext uri="{FF2B5EF4-FFF2-40B4-BE49-F238E27FC236}">
                  <a16:creationId xmlns:a16="http://schemas.microsoft.com/office/drawing/2014/main" id="{C5CE24A0-0BE4-4128-4B46-CB5F6A9DE8BF}"/>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1388676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セクション見出し 画像あり">
    <p:bg>
      <p:bgPr>
        <a:solidFill>
          <a:schemeClr val="bg1"/>
        </a:solidFill>
        <a:effectLst/>
      </p:bgPr>
    </p:bg>
    <p:spTree>
      <p:nvGrpSpPr>
        <p:cNvPr id="1" name=""/>
        <p:cNvGrpSpPr/>
        <p:nvPr/>
      </p:nvGrpSpPr>
      <p:grpSpPr>
        <a:xfrm>
          <a:off x="0" y="0"/>
          <a:ext cx="0" cy="0"/>
          <a:chOff x="0" y="0"/>
          <a:chExt cx="0" cy="0"/>
        </a:xfrm>
      </p:grpSpPr>
      <p:sp>
        <p:nvSpPr>
          <p:cNvPr id="283" name="Picture Placeholder 282">
            <a:extLst>
              <a:ext uri="{FF2B5EF4-FFF2-40B4-BE49-F238E27FC236}">
                <a16:creationId xmlns:a16="http://schemas.microsoft.com/office/drawing/2014/main" id="{B0998A37-98DD-DD48-852C-D3C32F636053}"/>
              </a:ext>
            </a:extLst>
          </p:cNvPr>
          <p:cNvSpPr>
            <a:spLocks noGrp="1"/>
          </p:cNvSpPr>
          <p:nvPr>
            <p:ph type="pic" sz="quarter" idx="22"/>
          </p:nvPr>
        </p:nvSpPr>
        <p:spPr>
          <a:xfrm>
            <a:off x="12" y="6471"/>
            <a:ext cx="12191989" cy="6857994"/>
          </a:xfrm>
          <a:custGeom>
            <a:avLst/>
            <a:gdLst>
              <a:gd name="connsiteX0" fmla="*/ 11606791 w 12191989"/>
              <a:gd name="connsiteY0" fmla="*/ 6581529 h 6857994"/>
              <a:gd name="connsiteX1" fmla="*/ 11606791 w 12191989"/>
              <a:gd name="connsiteY1" fmla="*/ 6852064 h 6857994"/>
              <a:gd name="connsiteX2" fmla="*/ 11617591 w 12191989"/>
              <a:gd name="connsiteY2" fmla="*/ 6852064 h 6857994"/>
              <a:gd name="connsiteX3" fmla="*/ 11617591 w 12191989"/>
              <a:gd name="connsiteY3" fmla="*/ 6581529 h 6857994"/>
              <a:gd name="connsiteX4" fmla="*/ 3929439 w 12191989"/>
              <a:gd name="connsiteY4" fmla="*/ 2903008 h 6857994"/>
              <a:gd name="connsiteX5" fmla="*/ 3929439 w 12191989"/>
              <a:gd name="connsiteY5" fmla="*/ 3929008 h 6857994"/>
              <a:gd name="connsiteX6" fmla="*/ 3940239 w 12191989"/>
              <a:gd name="connsiteY6" fmla="*/ 3929008 h 6857994"/>
              <a:gd name="connsiteX7" fmla="*/ 3940239 w 12191989"/>
              <a:gd name="connsiteY7" fmla="*/ 3489808 h 6857994"/>
              <a:gd name="connsiteX8" fmla="*/ 9268239 w 12191989"/>
              <a:gd name="connsiteY8" fmla="*/ 3489808 h 6857994"/>
              <a:gd name="connsiteX9" fmla="*/ 9268239 w 12191989"/>
              <a:gd name="connsiteY9" fmla="*/ 3471808 h 6857994"/>
              <a:gd name="connsiteX10" fmla="*/ 3940239 w 12191989"/>
              <a:gd name="connsiteY10" fmla="*/ 3471808 h 6857994"/>
              <a:gd name="connsiteX11" fmla="*/ 3940239 w 12191989"/>
              <a:gd name="connsiteY11" fmla="*/ 2903008 h 6857994"/>
              <a:gd name="connsiteX12" fmla="*/ 10229099 w 12191989"/>
              <a:gd name="connsiteY12" fmla="*/ 519141 h 6857994"/>
              <a:gd name="connsiteX13" fmla="*/ 10229038 w 12191989"/>
              <a:gd name="connsiteY13" fmla="*/ 519268 h 6857994"/>
              <a:gd name="connsiteX14" fmla="*/ 10229038 w 12191989"/>
              <a:gd name="connsiteY14" fmla="*/ 519180 h 6857994"/>
              <a:gd name="connsiteX15" fmla="*/ 10100625 w 12191989"/>
              <a:gd name="connsiteY15" fmla="*/ 519141 h 6857994"/>
              <a:gd name="connsiteX16" fmla="*/ 10100564 w 12191989"/>
              <a:gd name="connsiteY16" fmla="*/ 519268 h 6857994"/>
              <a:gd name="connsiteX17" fmla="*/ 10100564 w 12191989"/>
              <a:gd name="connsiteY17" fmla="*/ 519180 h 6857994"/>
              <a:gd name="connsiteX18" fmla="*/ 9519223 w 12191989"/>
              <a:gd name="connsiteY18" fmla="*/ 519141 h 6857994"/>
              <a:gd name="connsiteX19" fmla="*/ 9519160 w 12191989"/>
              <a:gd name="connsiteY19" fmla="*/ 519269 h 6857994"/>
              <a:gd name="connsiteX20" fmla="*/ 9519160 w 12191989"/>
              <a:gd name="connsiteY20" fmla="*/ 519181 h 6857994"/>
              <a:gd name="connsiteX21" fmla="*/ 9934024 w 12191989"/>
              <a:gd name="connsiteY21" fmla="*/ 519063 h 6857994"/>
              <a:gd name="connsiteX22" fmla="*/ 9933925 w 12191989"/>
              <a:gd name="connsiteY22" fmla="*/ 519268 h 6857994"/>
              <a:gd name="connsiteX23" fmla="*/ 9933838 w 12191989"/>
              <a:gd name="connsiteY23" fmla="*/ 519180 h 6857994"/>
              <a:gd name="connsiteX24" fmla="*/ 10033578 w 12191989"/>
              <a:gd name="connsiteY24" fmla="*/ 510097 h 6857994"/>
              <a:gd name="connsiteX25" fmla="*/ 10053142 w 12191989"/>
              <a:gd name="connsiteY25" fmla="*/ 523459 h 6857994"/>
              <a:gd name="connsiteX26" fmla="*/ 10033839 w 12191989"/>
              <a:gd name="connsiteY26" fmla="*/ 536472 h 6857994"/>
              <a:gd name="connsiteX27" fmla="*/ 10025892 w 12191989"/>
              <a:gd name="connsiteY27" fmla="*/ 535599 h 6857994"/>
              <a:gd name="connsiteX28" fmla="*/ 9530602 w 12191989"/>
              <a:gd name="connsiteY28" fmla="*/ 506430 h 6857994"/>
              <a:gd name="connsiteX29" fmla="*/ 9533746 w 12191989"/>
              <a:gd name="connsiteY29" fmla="*/ 510010 h 6857994"/>
              <a:gd name="connsiteX30" fmla="*/ 9519223 w 12191989"/>
              <a:gd name="connsiteY30" fmla="*/ 519141 h 6857994"/>
              <a:gd name="connsiteX31" fmla="*/ 9523265 w 12191989"/>
              <a:gd name="connsiteY31" fmla="*/ 510971 h 6857994"/>
              <a:gd name="connsiteX32" fmla="*/ 9530602 w 12191989"/>
              <a:gd name="connsiteY32" fmla="*/ 506430 h 6857994"/>
              <a:gd name="connsiteX33" fmla="*/ 10240392 w 12191989"/>
              <a:gd name="connsiteY33" fmla="*/ 506429 h 6857994"/>
              <a:gd name="connsiteX34" fmla="*/ 10243623 w 12191989"/>
              <a:gd name="connsiteY34" fmla="*/ 510009 h 6857994"/>
              <a:gd name="connsiteX35" fmla="*/ 10229099 w 12191989"/>
              <a:gd name="connsiteY35" fmla="*/ 519141 h 6857994"/>
              <a:gd name="connsiteX36" fmla="*/ 10233055 w 12191989"/>
              <a:gd name="connsiteY36" fmla="*/ 510970 h 6857994"/>
              <a:gd name="connsiteX37" fmla="*/ 10240392 w 12191989"/>
              <a:gd name="connsiteY37" fmla="*/ 506429 h 6857994"/>
              <a:gd name="connsiteX38" fmla="*/ 10111918 w 12191989"/>
              <a:gd name="connsiteY38" fmla="*/ 506429 h 6857994"/>
              <a:gd name="connsiteX39" fmla="*/ 10115150 w 12191989"/>
              <a:gd name="connsiteY39" fmla="*/ 510010 h 6857994"/>
              <a:gd name="connsiteX40" fmla="*/ 10100625 w 12191989"/>
              <a:gd name="connsiteY40" fmla="*/ 519141 h 6857994"/>
              <a:gd name="connsiteX41" fmla="*/ 10104581 w 12191989"/>
              <a:gd name="connsiteY41" fmla="*/ 510971 h 6857994"/>
              <a:gd name="connsiteX42" fmla="*/ 10111918 w 12191989"/>
              <a:gd name="connsiteY42" fmla="*/ 506429 h 6857994"/>
              <a:gd name="connsiteX43" fmla="*/ 9945280 w 12191989"/>
              <a:gd name="connsiteY43" fmla="*/ 506429 h 6857994"/>
              <a:gd name="connsiteX44" fmla="*/ 9948424 w 12191989"/>
              <a:gd name="connsiteY44" fmla="*/ 510010 h 6857994"/>
              <a:gd name="connsiteX45" fmla="*/ 9934024 w 12191989"/>
              <a:gd name="connsiteY45" fmla="*/ 519063 h 6857994"/>
              <a:gd name="connsiteX46" fmla="*/ 9937943 w 12191989"/>
              <a:gd name="connsiteY46" fmla="*/ 510971 h 6857994"/>
              <a:gd name="connsiteX47" fmla="*/ 9945280 w 12191989"/>
              <a:gd name="connsiteY47" fmla="*/ 506429 h 6857994"/>
              <a:gd name="connsiteX48" fmla="*/ 9707808 w 12191989"/>
              <a:gd name="connsiteY48" fmla="*/ 505818 h 6857994"/>
              <a:gd name="connsiteX49" fmla="*/ 9712787 w 12191989"/>
              <a:gd name="connsiteY49" fmla="*/ 508613 h 6857994"/>
              <a:gd name="connsiteX50" fmla="*/ 9713573 w 12191989"/>
              <a:gd name="connsiteY50" fmla="*/ 514901 h 6857994"/>
              <a:gd name="connsiteX51" fmla="*/ 9709031 w 12191989"/>
              <a:gd name="connsiteY51" fmla="*/ 528788 h 6857994"/>
              <a:gd name="connsiteX52" fmla="*/ 9709118 w 12191989"/>
              <a:gd name="connsiteY52" fmla="*/ 528875 h 6857994"/>
              <a:gd name="connsiteX53" fmla="*/ 9697852 w 12191989"/>
              <a:gd name="connsiteY53" fmla="*/ 536736 h 6857994"/>
              <a:gd name="connsiteX54" fmla="*/ 9692961 w 12191989"/>
              <a:gd name="connsiteY54" fmla="*/ 533766 h 6857994"/>
              <a:gd name="connsiteX55" fmla="*/ 9692087 w 12191989"/>
              <a:gd name="connsiteY55" fmla="*/ 527565 h 6857994"/>
              <a:gd name="connsiteX56" fmla="*/ 9696542 w 12191989"/>
              <a:gd name="connsiteY56" fmla="*/ 513591 h 6857994"/>
              <a:gd name="connsiteX57" fmla="*/ 9707808 w 12191989"/>
              <a:gd name="connsiteY57" fmla="*/ 505818 h 6857994"/>
              <a:gd name="connsiteX58" fmla="*/ 9473570 w 12191989"/>
              <a:gd name="connsiteY58" fmla="*/ 505556 h 6857994"/>
              <a:gd name="connsiteX59" fmla="*/ 9478810 w 12191989"/>
              <a:gd name="connsiteY59" fmla="*/ 506779 h 6857994"/>
              <a:gd name="connsiteX60" fmla="*/ 9477326 w 12191989"/>
              <a:gd name="connsiteY60" fmla="*/ 512019 h 6857994"/>
              <a:gd name="connsiteX61" fmla="*/ 9477238 w 12191989"/>
              <a:gd name="connsiteY61" fmla="*/ 512019 h 6857994"/>
              <a:gd name="connsiteX62" fmla="*/ 9468853 w 12191989"/>
              <a:gd name="connsiteY62" fmla="*/ 523199 h 6857994"/>
              <a:gd name="connsiteX63" fmla="*/ 9458810 w 12191989"/>
              <a:gd name="connsiteY63" fmla="*/ 531321 h 6857994"/>
              <a:gd name="connsiteX64" fmla="*/ 9457587 w 12191989"/>
              <a:gd name="connsiteY64" fmla="*/ 528439 h 6857994"/>
              <a:gd name="connsiteX65" fmla="*/ 9462565 w 12191989"/>
              <a:gd name="connsiteY65" fmla="*/ 514203 h 6857994"/>
              <a:gd name="connsiteX66" fmla="*/ 9473570 w 12191989"/>
              <a:gd name="connsiteY66" fmla="*/ 505556 h 6857994"/>
              <a:gd name="connsiteX67" fmla="*/ 9353918 w 12191989"/>
              <a:gd name="connsiteY67" fmla="*/ 505556 h 6857994"/>
              <a:gd name="connsiteX68" fmla="*/ 9359333 w 12191989"/>
              <a:gd name="connsiteY68" fmla="*/ 507042 h 6857994"/>
              <a:gd name="connsiteX69" fmla="*/ 9357849 w 12191989"/>
              <a:gd name="connsiteY69" fmla="*/ 512020 h 6857994"/>
              <a:gd name="connsiteX70" fmla="*/ 9349551 w 12191989"/>
              <a:gd name="connsiteY70" fmla="*/ 523112 h 6857994"/>
              <a:gd name="connsiteX71" fmla="*/ 9338896 w 12191989"/>
              <a:gd name="connsiteY71" fmla="*/ 532369 h 6857994"/>
              <a:gd name="connsiteX72" fmla="*/ 9337237 w 12191989"/>
              <a:gd name="connsiteY72" fmla="*/ 529487 h 6857994"/>
              <a:gd name="connsiteX73" fmla="*/ 9342389 w 12191989"/>
              <a:gd name="connsiteY73" fmla="*/ 514639 h 6857994"/>
              <a:gd name="connsiteX74" fmla="*/ 9353918 w 12191989"/>
              <a:gd name="connsiteY74" fmla="*/ 505556 h 6857994"/>
              <a:gd name="connsiteX75" fmla="*/ 9537413 w 12191989"/>
              <a:gd name="connsiteY75" fmla="*/ 495338 h 6857994"/>
              <a:gd name="connsiteX76" fmla="*/ 9512435 w 12191989"/>
              <a:gd name="connsiteY76" fmla="*/ 505905 h 6857994"/>
              <a:gd name="connsiteX77" fmla="*/ 9499684 w 12191989"/>
              <a:gd name="connsiteY77" fmla="*/ 530535 h 6857994"/>
              <a:gd name="connsiteX78" fmla="*/ 9504837 w 12191989"/>
              <a:gd name="connsiteY78" fmla="*/ 543286 h 6857994"/>
              <a:gd name="connsiteX79" fmla="*/ 9518462 w 12191989"/>
              <a:gd name="connsiteY79" fmla="*/ 547217 h 6857994"/>
              <a:gd name="connsiteX80" fmla="*/ 9544226 w 12191989"/>
              <a:gd name="connsiteY80" fmla="*/ 541801 h 6857994"/>
              <a:gd name="connsiteX81" fmla="*/ 9547894 w 12191989"/>
              <a:gd name="connsiteY81" fmla="*/ 529487 h 6857994"/>
              <a:gd name="connsiteX82" fmla="*/ 9525099 w 12191989"/>
              <a:gd name="connsiteY82" fmla="*/ 536736 h 6857994"/>
              <a:gd name="connsiteX83" fmla="*/ 9525099 w 12191989"/>
              <a:gd name="connsiteY83" fmla="*/ 536648 h 6857994"/>
              <a:gd name="connsiteX84" fmla="*/ 9517064 w 12191989"/>
              <a:gd name="connsiteY84" fmla="*/ 529137 h 6857994"/>
              <a:gd name="connsiteX85" fmla="*/ 9537413 w 12191989"/>
              <a:gd name="connsiteY85" fmla="*/ 523199 h 6857994"/>
              <a:gd name="connsiteX86" fmla="*/ 9549466 w 12191989"/>
              <a:gd name="connsiteY86" fmla="*/ 506430 h 6857994"/>
              <a:gd name="connsiteX87" fmla="*/ 9546147 w 12191989"/>
              <a:gd name="connsiteY87" fmla="*/ 498045 h 6857994"/>
              <a:gd name="connsiteX88" fmla="*/ 9537413 w 12191989"/>
              <a:gd name="connsiteY88" fmla="*/ 495338 h 6857994"/>
              <a:gd name="connsiteX89" fmla="*/ 9487369 w 12191989"/>
              <a:gd name="connsiteY89" fmla="*/ 495338 h 6857994"/>
              <a:gd name="connsiteX90" fmla="*/ 9475840 w 12191989"/>
              <a:gd name="connsiteY90" fmla="*/ 495600 h 6857994"/>
              <a:gd name="connsiteX91" fmla="*/ 9452084 w 12191989"/>
              <a:gd name="connsiteY91" fmla="*/ 507914 h 6857994"/>
              <a:gd name="connsiteX92" fmla="*/ 9440032 w 12191989"/>
              <a:gd name="connsiteY92" fmla="*/ 532893 h 6857994"/>
              <a:gd name="connsiteX93" fmla="*/ 9442128 w 12191989"/>
              <a:gd name="connsiteY93" fmla="*/ 541888 h 6857994"/>
              <a:gd name="connsiteX94" fmla="*/ 9450163 w 12191989"/>
              <a:gd name="connsiteY94" fmla="*/ 545731 h 6857994"/>
              <a:gd name="connsiteX95" fmla="*/ 9473744 w 12191989"/>
              <a:gd name="connsiteY95" fmla="*/ 525207 h 6857994"/>
              <a:gd name="connsiteX96" fmla="*/ 9475840 w 12191989"/>
              <a:gd name="connsiteY96" fmla="*/ 525207 h 6857994"/>
              <a:gd name="connsiteX97" fmla="*/ 9472172 w 12191989"/>
              <a:gd name="connsiteY97" fmla="*/ 536823 h 6857994"/>
              <a:gd name="connsiteX98" fmla="*/ 9466583 w 12191989"/>
              <a:gd name="connsiteY98" fmla="*/ 549225 h 6857994"/>
              <a:gd name="connsiteX99" fmla="*/ 9456626 w 12191989"/>
              <a:gd name="connsiteY99" fmla="*/ 554990 h 6857994"/>
              <a:gd name="connsiteX100" fmla="*/ 9435927 w 12191989"/>
              <a:gd name="connsiteY100" fmla="*/ 548875 h 6857994"/>
              <a:gd name="connsiteX101" fmla="*/ 9437237 w 12191989"/>
              <a:gd name="connsiteY101" fmla="*/ 563635 h 6857994"/>
              <a:gd name="connsiteX102" fmla="*/ 9453045 w 12191989"/>
              <a:gd name="connsiteY102" fmla="*/ 565033 h 6857994"/>
              <a:gd name="connsiteX103" fmla="*/ 9486147 w 12191989"/>
              <a:gd name="connsiteY103" fmla="*/ 542937 h 6857994"/>
              <a:gd name="connsiteX104" fmla="*/ 9499422 w 12191989"/>
              <a:gd name="connsiteY104" fmla="*/ 495338 h 6857994"/>
              <a:gd name="connsiteX105" fmla="*/ 9487544 w 12191989"/>
              <a:gd name="connsiteY105" fmla="*/ 495338 h 6857994"/>
              <a:gd name="connsiteX106" fmla="*/ 10247379 w 12191989"/>
              <a:gd name="connsiteY106" fmla="*/ 495337 h 6857994"/>
              <a:gd name="connsiteX107" fmla="*/ 10222400 w 12191989"/>
              <a:gd name="connsiteY107" fmla="*/ 505904 h 6857994"/>
              <a:gd name="connsiteX108" fmla="*/ 10209649 w 12191989"/>
              <a:gd name="connsiteY108" fmla="*/ 530534 h 6857994"/>
              <a:gd name="connsiteX109" fmla="*/ 10214802 w 12191989"/>
              <a:gd name="connsiteY109" fmla="*/ 543285 h 6857994"/>
              <a:gd name="connsiteX110" fmla="*/ 10228339 w 12191989"/>
              <a:gd name="connsiteY110" fmla="*/ 547216 h 6857994"/>
              <a:gd name="connsiteX111" fmla="*/ 10254103 w 12191989"/>
              <a:gd name="connsiteY111" fmla="*/ 541800 h 6857994"/>
              <a:gd name="connsiteX112" fmla="*/ 10257685 w 12191989"/>
              <a:gd name="connsiteY112" fmla="*/ 529486 h 6857994"/>
              <a:gd name="connsiteX113" fmla="*/ 10234889 w 12191989"/>
              <a:gd name="connsiteY113" fmla="*/ 536735 h 6857994"/>
              <a:gd name="connsiteX114" fmla="*/ 10234977 w 12191989"/>
              <a:gd name="connsiteY114" fmla="*/ 536647 h 6857994"/>
              <a:gd name="connsiteX115" fmla="*/ 10226942 w 12191989"/>
              <a:gd name="connsiteY115" fmla="*/ 529137 h 6857994"/>
              <a:gd name="connsiteX116" fmla="*/ 10247291 w 12191989"/>
              <a:gd name="connsiteY116" fmla="*/ 523198 h 6857994"/>
              <a:gd name="connsiteX117" fmla="*/ 10259432 w 12191989"/>
              <a:gd name="connsiteY117" fmla="*/ 506429 h 6857994"/>
              <a:gd name="connsiteX118" fmla="*/ 10256112 w 12191989"/>
              <a:gd name="connsiteY118" fmla="*/ 498044 h 6857994"/>
              <a:gd name="connsiteX119" fmla="*/ 10247379 w 12191989"/>
              <a:gd name="connsiteY119" fmla="*/ 495337 h 6857994"/>
              <a:gd name="connsiteX120" fmla="*/ 10118905 w 12191989"/>
              <a:gd name="connsiteY120" fmla="*/ 495337 h 6857994"/>
              <a:gd name="connsiteX121" fmla="*/ 10093751 w 12191989"/>
              <a:gd name="connsiteY121" fmla="*/ 505905 h 6857994"/>
              <a:gd name="connsiteX122" fmla="*/ 10081088 w 12191989"/>
              <a:gd name="connsiteY122" fmla="*/ 530534 h 6857994"/>
              <a:gd name="connsiteX123" fmla="*/ 10086241 w 12191989"/>
              <a:gd name="connsiteY123" fmla="*/ 543285 h 6857994"/>
              <a:gd name="connsiteX124" fmla="*/ 10099778 w 12191989"/>
              <a:gd name="connsiteY124" fmla="*/ 547216 h 6857994"/>
              <a:gd name="connsiteX125" fmla="*/ 10125542 w 12191989"/>
              <a:gd name="connsiteY125" fmla="*/ 541801 h 6857994"/>
              <a:gd name="connsiteX126" fmla="*/ 10129211 w 12191989"/>
              <a:gd name="connsiteY126" fmla="*/ 529486 h 6857994"/>
              <a:gd name="connsiteX127" fmla="*/ 10106416 w 12191989"/>
              <a:gd name="connsiteY127" fmla="*/ 536735 h 6857994"/>
              <a:gd name="connsiteX128" fmla="*/ 10106503 w 12191989"/>
              <a:gd name="connsiteY128" fmla="*/ 536647 h 6857994"/>
              <a:gd name="connsiteX129" fmla="*/ 10098468 w 12191989"/>
              <a:gd name="connsiteY129" fmla="*/ 529137 h 6857994"/>
              <a:gd name="connsiteX130" fmla="*/ 10118818 w 12191989"/>
              <a:gd name="connsiteY130" fmla="*/ 523198 h 6857994"/>
              <a:gd name="connsiteX131" fmla="*/ 10130871 w 12191989"/>
              <a:gd name="connsiteY131" fmla="*/ 506429 h 6857994"/>
              <a:gd name="connsiteX132" fmla="*/ 10127551 w 12191989"/>
              <a:gd name="connsiteY132" fmla="*/ 498045 h 6857994"/>
              <a:gd name="connsiteX133" fmla="*/ 10118905 w 12191989"/>
              <a:gd name="connsiteY133" fmla="*/ 495337 h 6857994"/>
              <a:gd name="connsiteX134" fmla="*/ 9952092 w 12191989"/>
              <a:gd name="connsiteY134" fmla="*/ 495337 h 6857994"/>
              <a:gd name="connsiteX135" fmla="*/ 9927114 w 12191989"/>
              <a:gd name="connsiteY135" fmla="*/ 505905 h 6857994"/>
              <a:gd name="connsiteX136" fmla="*/ 9914362 w 12191989"/>
              <a:gd name="connsiteY136" fmla="*/ 530534 h 6857994"/>
              <a:gd name="connsiteX137" fmla="*/ 9919515 w 12191989"/>
              <a:gd name="connsiteY137" fmla="*/ 543285 h 6857994"/>
              <a:gd name="connsiteX138" fmla="*/ 9933140 w 12191989"/>
              <a:gd name="connsiteY138" fmla="*/ 547216 h 6857994"/>
              <a:gd name="connsiteX139" fmla="*/ 9958992 w 12191989"/>
              <a:gd name="connsiteY139" fmla="*/ 541801 h 6857994"/>
              <a:gd name="connsiteX140" fmla="*/ 9962572 w 12191989"/>
              <a:gd name="connsiteY140" fmla="*/ 529486 h 6857994"/>
              <a:gd name="connsiteX141" fmla="*/ 9939777 w 12191989"/>
              <a:gd name="connsiteY141" fmla="*/ 536736 h 6857994"/>
              <a:gd name="connsiteX142" fmla="*/ 9939777 w 12191989"/>
              <a:gd name="connsiteY142" fmla="*/ 536647 h 6857994"/>
              <a:gd name="connsiteX143" fmla="*/ 9931655 w 12191989"/>
              <a:gd name="connsiteY143" fmla="*/ 529137 h 6857994"/>
              <a:gd name="connsiteX144" fmla="*/ 9952092 w 12191989"/>
              <a:gd name="connsiteY144" fmla="*/ 523198 h 6857994"/>
              <a:gd name="connsiteX145" fmla="*/ 9964145 w 12191989"/>
              <a:gd name="connsiteY145" fmla="*/ 506429 h 6857994"/>
              <a:gd name="connsiteX146" fmla="*/ 9960826 w 12191989"/>
              <a:gd name="connsiteY146" fmla="*/ 498045 h 6857994"/>
              <a:gd name="connsiteX147" fmla="*/ 9952092 w 12191989"/>
              <a:gd name="connsiteY147" fmla="*/ 495337 h 6857994"/>
              <a:gd name="connsiteX148" fmla="*/ 10311659 w 12191989"/>
              <a:gd name="connsiteY148" fmla="*/ 495336 h 6857994"/>
              <a:gd name="connsiteX149" fmla="*/ 10297160 w 12191989"/>
              <a:gd name="connsiteY149" fmla="*/ 503196 h 6857994"/>
              <a:gd name="connsiteX150" fmla="*/ 10286942 w 12191989"/>
              <a:gd name="connsiteY150" fmla="*/ 517433 h 6857994"/>
              <a:gd name="connsiteX151" fmla="*/ 10285807 w 12191989"/>
              <a:gd name="connsiteY151" fmla="*/ 517433 h 6857994"/>
              <a:gd name="connsiteX152" fmla="*/ 10293143 w 12191989"/>
              <a:gd name="connsiteY152" fmla="*/ 495599 h 6857994"/>
              <a:gd name="connsiteX153" fmla="*/ 10276113 w 12191989"/>
              <a:gd name="connsiteY153" fmla="*/ 495599 h 6857994"/>
              <a:gd name="connsiteX154" fmla="*/ 10261440 w 12191989"/>
              <a:gd name="connsiteY154" fmla="*/ 546166 h 6857994"/>
              <a:gd name="connsiteX155" fmla="*/ 10278645 w 12191989"/>
              <a:gd name="connsiteY155" fmla="*/ 546166 h 6857994"/>
              <a:gd name="connsiteX156" fmla="*/ 10283099 w 12191989"/>
              <a:gd name="connsiteY156" fmla="*/ 530708 h 6857994"/>
              <a:gd name="connsiteX157" fmla="*/ 10292095 w 12191989"/>
              <a:gd name="connsiteY157" fmla="*/ 518481 h 6857994"/>
              <a:gd name="connsiteX158" fmla="*/ 10304585 w 12191989"/>
              <a:gd name="connsiteY158" fmla="*/ 510534 h 6857994"/>
              <a:gd name="connsiteX159" fmla="*/ 10309824 w 12191989"/>
              <a:gd name="connsiteY159" fmla="*/ 511669 h 6857994"/>
              <a:gd name="connsiteX160" fmla="*/ 10315676 w 12191989"/>
              <a:gd name="connsiteY160" fmla="*/ 496384 h 6857994"/>
              <a:gd name="connsiteX161" fmla="*/ 10315851 w 12191989"/>
              <a:gd name="connsiteY161" fmla="*/ 496384 h 6857994"/>
              <a:gd name="connsiteX162" fmla="*/ 10311659 w 12191989"/>
              <a:gd name="connsiteY162" fmla="*/ 495336 h 6857994"/>
              <a:gd name="connsiteX163" fmla="*/ 9782307 w 12191989"/>
              <a:gd name="connsiteY163" fmla="*/ 495251 h 6857994"/>
              <a:gd name="connsiteX164" fmla="*/ 9767897 w 12191989"/>
              <a:gd name="connsiteY164" fmla="*/ 503111 h 6857994"/>
              <a:gd name="connsiteX165" fmla="*/ 9757679 w 12191989"/>
              <a:gd name="connsiteY165" fmla="*/ 517347 h 6857994"/>
              <a:gd name="connsiteX166" fmla="*/ 9756630 w 12191989"/>
              <a:gd name="connsiteY166" fmla="*/ 517347 h 6857994"/>
              <a:gd name="connsiteX167" fmla="*/ 9764141 w 12191989"/>
              <a:gd name="connsiteY167" fmla="*/ 495425 h 6857994"/>
              <a:gd name="connsiteX168" fmla="*/ 9747111 w 12191989"/>
              <a:gd name="connsiteY168" fmla="*/ 495425 h 6857994"/>
              <a:gd name="connsiteX169" fmla="*/ 9732263 w 12191989"/>
              <a:gd name="connsiteY169" fmla="*/ 546080 h 6857994"/>
              <a:gd name="connsiteX170" fmla="*/ 9749556 w 12191989"/>
              <a:gd name="connsiteY170" fmla="*/ 546080 h 6857994"/>
              <a:gd name="connsiteX171" fmla="*/ 9754010 w 12191989"/>
              <a:gd name="connsiteY171" fmla="*/ 530535 h 6857994"/>
              <a:gd name="connsiteX172" fmla="*/ 9763006 w 12191989"/>
              <a:gd name="connsiteY172" fmla="*/ 518308 h 6857994"/>
              <a:gd name="connsiteX173" fmla="*/ 9775495 w 12191989"/>
              <a:gd name="connsiteY173" fmla="*/ 510360 h 6857994"/>
              <a:gd name="connsiteX174" fmla="*/ 9781085 w 12191989"/>
              <a:gd name="connsiteY174" fmla="*/ 511495 h 6857994"/>
              <a:gd name="connsiteX175" fmla="*/ 9785976 w 12191989"/>
              <a:gd name="connsiteY175" fmla="*/ 495862 h 6857994"/>
              <a:gd name="connsiteX176" fmla="*/ 9785976 w 12191989"/>
              <a:gd name="connsiteY176" fmla="*/ 495774 h 6857994"/>
              <a:gd name="connsiteX177" fmla="*/ 9782307 w 12191989"/>
              <a:gd name="connsiteY177" fmla="*/ 495251 h 6857994"/>
              <a:gd name="connsiteX178" fmla="*/ 9380032 w 12191989"/>
              <a:gd name="connsiteY178" fmla="*/ 495251 h 6857994"/>
              <a:gd name="connsiteX179" fmla="*/ 9368154 w 12191989"/>
              <a:gd name="connsiteY179" fmla="*/ 495338 h 6857994"/>
              <a:gd name="connsiteX180" fmla="*/ 9355403 w 12191989"/>
              <a:gd name="connsiteY180" fmla="*/ 495513 h 6857994"/>
              <a:gd name="connsiteX181" fmla="*/ 9331734 w 12191989"/>
              <a:gd name="connsiteY181" fmla="*/ 508788 h 6857994"/>
              <a:gd name="connsiteX182" fmla="*/ 9319594 w 12191989"/>
              <a:gd name="connsiteY182" fmla="*/ 534203 h 6857994"/>
              <a:gd name="connsiteX183" fmla="*/ 9321690 w 12191989"/>
              <a:gd name="connsiteY183" fmla="*/ 543199 h 6857994"/>
              <a:gd name="connsiteX184" fmla="*/ 9329376 w 12191989"/>
              <a:gd name="connsiteY184" fmla="*/ 547217 h 6857994"/>
              <a:gd name="connsiteX185" fmla="*/ 9343787 w 12191989"/>
              <a:gd name="connsiteY185" fmla="*/ 539356 h 6857994"/>
              <a:gd name="connsiteX186" fmla="*/ 9354006 w 12191989"/>
              <a:gd name="connsiteY186" fmla="*/ 525120 h 6857994"/>
              <a:gd name="connsiteX187" fmla="*/ 9355141 w 12191989"/>
              <a:gd name="connsiteY187" fmla="*/ 525120 h 6857994"/>
              <a:gd name="connsiteX188" fmla="*/ 9348067 w 12191989"/>
              <a:gd name="connsiteY188" fmla="*/ 546081 h 6857994"/>
              <a:gd name="connsiteX189" fmla="*/ 9365185 w 12191989"/>
              <a:gd name="connsiteY189" fmla="*/ 546081 h 6857994"/>
              <a:gd name="connsiteX190" fmla="*/ 9380032 w 12191989"/>
              <a:gd name="connsiteY190" fmla="*/ 495251 h 6857994"/>
              <a:gd name="connsiteX191" fmla="*/ 9712350 w 12191989"/>
              <a:gd name="connsiteY191" fmla="*/ 495250 h 6857994"/>
              <a:gd name="connsiteX192" fmla="*/ 9687197 w 12191989"/>
              <a:gd name="connsiteY192" fmla="*/ 505818 h 6857994"/>
              <a:gd name="connsiteX193" fmla="*/ 9674533 w 12191989"/>
              <a:gd name="connsiteY193" fmla="*/ 530535 h 6857994"/>
              <a:gd name="connsiteX194" fmla="*/ 9679686 w 12191989"/>
              <a:gd name="connsiteY194" fmla="*/ 543198 h 6857994"/>
              <a:gd name="connsiteX195" fmla="*/ 9693223 w 12191989"/>
              <a:gd name="connsiteY195" fmla="*/ 547128 h 6857994"/>
              <a:gd name="connsiteX196" fmla="*/ 9718289 w 12191989"/>
              <a:gd name="connsiteY196" fmla="*/ 536298 h 6857994"/>
              <a:gd name="connsiteX197" fmla="*/ 9731040 w 12191989"/>
              <a:gd name="connsiteY197" fmla="*/ 511583 h 6857994"/>
              <a:gd name="connsiteX198" fmla="*/ 9725887 w 12191989"/>
              <a:gd name="connsiteY198" fmla="*/ 499093 h 6857994"/>
              <a:gd name="connsiteX199" fmla="*/ 9725887 w 12191989"/>
              <a:gd name="connsiteY199" fmla="*/ 499180 h 6857994"/>
              <a:gd name="connsiteX200" fmla="*/ 9712350 w 12191989"/>
              <a:gd name="connsiteY200" fmla="*/ 495250 h 6857994"/>
              <a:gd name="connsiteX201" fmla="*/ 9428241 w 12191989"/>
              <a:gd name="connsiteY201" fmla="*/ 495161 h 6857994"/>
              <a:gd name="connsiteX202" fmla="*/ 9413743 w 12191989"/>
              <a:gd name="connsiteY202" fmla="*/ 503022 h 6857994"/>
              <a:gd name="connsiteX203" fmla="*/ 9403524 w 12191989"/>
              <a:gd name="connsiteY203" fmla="*/ 517257 h 6857994"/>
              <a:gd name="connsiteX204" fmla="*/ 9402389 w 12191989"/>
              <a:gd name="connsiteY204" fmla="*/ 517257 h 6857994"/>
              <a:gd name="connsiteX205" fmla="*/ 9409813 w 12191989"/>
              <a:gd name="connsiteY205" fmla="*/ 495248 h 6857994"/>
              <a:gd name="connsiteX206" fmla="*/ 9392695 w 12191989"/>
              <a:gd name="connsiteY206" fmla="*/ 495248 h 6857994"/>
              <a:gd name="connsiteX207" fmla="*/ 9377935 w 12191989"/>
              <a:gd name="connsiteY207" fmla="*/ 545992 h 6857994"/>
              <a:gd name="connsiteX208" fmla="*/ 9395140 w 12191989"/>
              <a:gd name="connsiteY208" fmla="*/ 545992 h 6857994"/>
              <a:gd name="connsiteX209" fmla="*/ 9399682 w 12191989"/>
              <a:gd name="connsiteY209" fmla="*/ 530533 h 6857994"/>
              <a:gd name="connsiteX210" fmla="*/ 9407280 w 12191989"/>
              <a:gd name="connsiteY210" fmla="*/ 519965 h 6857994"/>
              <a:gd name="connsiteX211" fmla="*/ 9416887 w 12191989"/>
              <a:gd name="connsiteY211" fmla="*/ 510795 h 6857994"/>
              <a:gd name="connsiteX212" fmla="*/ 9417673 w 12191989"/>
              <a:gd name="connsiteY212" fmla="*/ 512192 h 6857994"/>
              <a:gd name="connsiteX213" fmla="*/ 9407979 w 12191989"/>
              <a:gd name="connsiteY213" fmla="*/ 546079 h 6857994"/>
              <a:gd name="connsiteX214" fmla="*/ 9425097 w 12191989"/>
              <a:gd name="connsiteY214" fmla="*/ 546079 h 6857994"/>
              <a:gd name="connsiteX215" fmla="*/ 9425359 w 12191989"/>
              <a:gd name="connsiteY215" fmla="*/ 545992 h 6857994"/>
              <a:gd name="connsiteX216" fmla="*/ 9436102 w 12191989"/>
              <a:gd name="connsiteY216" fmla="*/ 508174 h 6857994"/>
              <a:gd name="connsiteX217" fmla="*/ 9435054 w 12191989"/>
              <a:gd name="connsiteY217" fmla="*/ 498043 h 6857994"/>
              <a:gd name="connsiteX218" fmla="*/ 9428241 w 12191989"/>
              <a:gd name="connsiteY218" fmla="*/ 495161 h 6857994"/>
              <a:gd name="connsiteX219" fmla="*/ 9587982 w 12191989"/>
              <a:gd name="connsiteY219" fmla="*/ 495076 h 6857994"/>
              <a:gd name="connsiteX220" fmla="*/ 9573047 w 12191989"/>
              <a:gd name="connsiteY220" fmla="*/ 498133 h 6857994"/>
              <a:gd name="connsiteX221" fmla="*/ 9564313 w 12191989"/>
              <a:gd name="connsiteY221" fmla="*/ 510360 h 6857994"/>
              <a:gd name="connsiteX222" fmla="*/ 9567108 w 12191989"/>
              <a:gd name="connsiteY222" fmla="*/ 519268 h 6857994"/>
              <a:gd name="connsiteX223" fmla="*/ 9573134 w 12191989"/>
              <a:gd name="connsiteY223" fmla="*/ 525905 h 6857994"/>
              <a:gd name="connsiteX224" fmla="*/ 9576104 w 12191989"/>
              <a:gd name="connsiteY224" fmla="*/ 532369 h 6857994"/>
              <a:gd name="connsiteX225" fmla="*/ 9574182 w 12191989"/>
              <a:gd name="connsiteY225" fmla="*/ 535687 h 6857994"/>
              <a:gd name="connsiteX226" fmla="*/ 9570339 w 12191989"/>
              <a:gd name="connsiteY226" fmla="*/ 537084 h 6857994"/>
              <a:gd name="connsiteX227" fmla="*/ 9555404 w 12191989"/>
              <a:gd name="connsiteY227" fmla="*/ 532631 h 6857994"/>
              <a:gd name="connsiteX228" fmla="*/ 9552086 w 12191989"/>
              <a:gd name="connsiteY228" fmla="*/ 544334 h 6857994"/>
              <a:gd name="connsiteX229" fmla="*/ 9569378 w 12191989"/>
              <a:gd name="connsiteY229" fmla="*/ 547041 h 6857994"/>
              <a:gd name="connsiteX230" fmla="*/ 9584837 w 12191989"/>
              <a:gd name="connsiteY230" fmla="*/ 543548 h 6857994"/>
              <a:gd name="connsiteX231" fmla="*/ 9593483 w 12191989"/>
              <a:gd name="connsiteY231" fmla="*/ 530534 h 6857994"/>
              <a:gd name="connsiteX232" fmla="*/ 9590514 w 12191989"/>
              <a:gd name="connsiteY232" fmla="*/ 521539 h 6857994"/>
              <a:gd name="connsiteX233" fmla="*/ 9583876 w 12191989"/>
              <a:gd name="connsiteY233" fmla="*/ 515164 h 6857994"/>
              <a:gd name="connsiteX234" fmla="*/ 9580645 w 12191989"/>
              <a:gd name="connsiteY234" fmla="*/ 509574 h 6857994"/>
              <a:gd name="connsiteX235" fmla="*/ 9587806 w 12191989"/>
              <a:gd name="connsiteY235" fmla="*/ 505120 h 6857994"/>
              <a:gd name="connsiteX236" fmla="*/ 9598462 w 12191989"/>
              <a:gd name="connsiteY236" fmla="*/ 507129 h 6857994"/>
              <a:gd name="connsiteX237" fmla="*/ 9601518 w 12191989"/>
              <a:gd name="connsiteY237" fmla="*/ 496560 h 6857994"/>
              <a:gd name="connsiteX238" fmla="*/ 9601344 w 12191989"/>
              <a:gd name="connsiteY238" fmla="*/ 496560 h 6857994"/>
              <a:gd name="connsiteX239" fmla="*/ 9587982 w 12191989"/>
              <a:gd name="connsiteY239" fmla="*/ 495076 h 6857994"/>
              <a:gd name="connsiteX240" fmla="*/ 10205369 w 12191989"/>
              <a:gd name="connsiteY240" fmla="*/ 486080 h 6857994"/>
              <a:gd name="connsiteX241" fmla="*/ 10187203 w 12191989"/>
              <a:gd name="connsiteY241" fmla="*/ 488525 h 6857994"/>
              <a:gd name="connsiteX242" fmla="*/ 10177159 w 12191989"/>
              <a:gd name="connsiteY242" fmla="*/ 521189 h 6857994"/>
              <a:gd name="connsiteX243" fmla="*/ 10173666 w 12191989"/>
              <a:gd name="connsiteY243" fmla="*/ 536648 h 6857994"/>
              <a:gd name="connsiteX244" fmla="*/ 10176635 w 12191989"/>
              <a:gd name="connsiteY244" fmla="*/ 544770 h 6857994"/>
              <a:gd name="connsiteX245" fmla="*/ 10185281 w 12191989"/>
              <a:gd name="connsiteY245" fmla="*/ 547216 h 6857994"/>
              <a:gd name="connsiteX246" fmla="*/ 10198556 w 12191989"/>
              <a:gd name="connsiteY246" fmla="*/ 545033 h 6857994"/>
              <a:gd name="connsiteX247" fmla="*/ 10201701 w 12191989"/>
              <a:gd name="connsiteY247" fmla="*/ 534203 h 6857994"/>
              <a:gd name="connsiteX248" fmla="*/ 10196111 w 12191989"/>
              <a:gd name="connsiteY248" fmla="*/ 536211 h 6857994"/>
              <a:gd name="connsiteX249" fmla="*/ 10192443 w 12191989"/>
              <a:gd name="connsiteY249" fmla="*/ 531408 h 6857994"/>
              <a:gd name="connsiteX250" fmla="*/ 10195412 w 12191989"/>
              <a:gd name="connsiteY250" fmla="*/ 518656 h 6857994"/>
              <a:gd name="connsiteX251" fmla="*/ 10199867 w 12191989"/>
              <a:gd name="connsiteY251" fmla="*/ 505381 h 6857994"/>
              <a:gd name="connsiteX252" fmla="*/ 10208076 w 12191989"/>
              <a:gd name="connsiteY252" fmla="*/ 505381 h 6857994"/>
              <a:gd name="connsiteX253" fmla="*/ 10211046 w 12191989"/>
              <a:gd name="connsiteY253" fmla="*/ 495512 h 6857994"/>
              <a:gd name="connsiteX254" fmla="*/ 10210959 w 12191989"/>
              <a:gd name="connsiteY254" fmla="*/ 495512 h 6857994"/>
              <a:gd name="connsiteX255" fmla="*/ 10202574 w 12191989"/>
              <a:gd name="connsiteY255" fmla="*/ 495512 h 6857994"/>
              <a:gd name="connsiteX256" fmla="*/ 10168688 w 12191989"/>
              <a:gd name="connsiteY256" fmla="*/ 486080 h 6857994"/>
              <a:gd name="connsiteX257" fmla="*/ 10150783 w 12191989"/>
              <a:gd name="connsiteY257" fmla="*/ 488525 h 6857994"/>
              <a:gd name="connsiteX258" fmla="*/ 10140827 w 12191989"/>
              <a:gd name="connsiteY258" fmla="*/ 521189 h 6857994"/>
              <a:gd name="connsiteX259" fmla="*/ 10137246 w 12191989"/>
              <a:gd name="connsiteY259" fmla="*/ 536648 h 6857994"/>
              <a:gd name="connsiteX260" fmla="*/ 10140302 w 12191989"/>
              <a:gd name="connsiteY260" fmla="*/ 544770 h 6857994"/>
              <a:gd name="connsiteX261" fmla="*/ 10148862 w 12191989"/>
              <a:gd name="connsiteY261" fmla="*/ 547216 h 6857994"/>
              <a:gd name="connsiteX262" fmla="*/ 10161875 w 12191989"/>
              <a:gd name="connsiteY262" fmla="*/ 545033 h 6857994"/>
              <a:gd name="connsiteX263" fmla="*/ 10165019 w 12191989"/>
              <a:gd name="connsiteY263" fmla="*/ 534203 h 6857994"/>
              <a:gd name="connsiteX264" fmla="*/ 10159516 w 12191989"/>
              <a:gd name="connsiteY264" fmla="*/ 536211 h 6857994"/>
              <a:gd name="connsiteX265" fmla="*/ 10156023 w 12191989"/>
              <a:gd name="connsiteY265" fmla="*/ 531408 h 6857994"/>
              <a:gd name="connsiteX266" fmla="*/ 10158906 w 12191989"/>
              <a:gd name="connsiteY266" fmla="*/ 518656 h 6857994"/>
              <a:gd name="connsiteX267" fmla="*/ 10162923 w 12191989"/>
              <a:gd name="connsiteY267" fmla="*/ 505381 h 6857994"/>
              <a:gd name="connsiteX268" fmla="*/ 10171220 w 12191989"/>
              <a:gd name="connsiteY268" fmla="*/ 505381 h 6857994"/>
              <a:gd name="connsiteX269" fmla="*/ 10174102 w 12191989"/>
              <a:gd name="connsiteY269" fmla="*/ 495512 h 6857994"/>
              <a:gd name="connsiteX270" fmla="*/ 10165805 w 12191989"/>
              <a:gd name="connsiteY270" fmla="*/ 495512 h 6857994"/>
              <a:gd name="connsiteX271" fmla="*/ 9848074 w 12191989"/>
              <a:gd name="connsiteY271" fmla="*/ 486080 h 6857994"/>
              <a:gd name="connsiteX272" fmla="*/ 9830169 w 12191989"/>
              <a:gd name="connsiteY272" fmla="*/ 488526 h 6857994"/>
              <a:gd name="connsiteX273" fmla="*/ 9820126 w 12191989"/>
              <a:gd name="connsiteY273" fmla="*/ 521189 h 6857994"/>
              <a:gd name="connsiteX274" fmla="*/ 9816632 w 12191989"/>
              <a:gd name="connsiteY274" fmla="*/ 536649 h 6857994"/>
              <a:gd name="connsiteX275" fmla="*/ 9819688 w 12191989"/>
              <a:gd name="connsiteY275" fmla="*/ 544771 h 6857994"/>
              <a:gd name="connsiteX276" fmla="*/ 9828335 w 12191989"/>
              <a:gd name="connsiteY276" fmla="*/ 547216 h 6857994"/>
              <a:gd name="connsiteX277" fmla="*/ 9841174 w 12191989"/>
              <a:gd name="connsiteY277" fmla="*/ 545033 h 6857994"/>
              <a:gd name="connsiteX278" fmla="*/ 9844318 w 12191989"/>
              <a:gd name="connsiteY278" fmla="*/ 534203 h 6857994"/>
              <a:gd name="connsiteX279" fmla="*/ 9838815 w 12191989"/>
              <a:gd name="connsiteY279" fmla="*/ 536211 h 6857994"/>
              <a:gd name="connsiteX280" fmla="*/ 9835409 w 12191989"/>
              <a:gd name="connsiteY280" fmla="*/ 531408 h 6857994"/>
              <a:gd name="connsiteX281" fmla="*/ 9838204 w 12191989"/>
              <a:gd name="connsiteY281" fmla="*/ 518657 h 6857994"/>
              <a:gd name="connsiteX282" fmla="*/ 9842222 w 12191989"/>
              <a:gd name="connsiteY282" fmla="*/ 506255 h 6857994"/>
              <a:gd name="connsiteX283" fmla="*/ 9850519 w 12191989"/>
              <a:gd name="connsiteY283" fmla="*/ 506255 h 6857994"/>
              <a:gd name="connsiteX284" fmla="*/ 9853401 w 12191989"/>
              <a:gd name="connsiteY284" fmla="*/ 496385 h 6857994"/>
              <a:gd name="connsiteX285" fmla="*/ 9853314 w 12191989"/>
              <a:gd name="connsiteY285" fmla="*/ 496385 h 6857994"/>
              <a:gd name="connsiteX286" fmla="*/ 9845017 w 12191989"/>
              <a:gd name="connsiteY286" fmla="*/ 496385 h 6857994"/>
              <a:gd name="connsiteX287" fmla="*/ 9278545 w 12191989"/>
              <a:gd name="connsiteY287" fmla="*/ 475248 h 6857994"/>
              <a:gd name="connsiteX288" fmla="*/ 9258021 w 12191989"/>
              <a:gd name="connsiteY288" fmla="*/ 546166 h 6857994"/>
              <a:gd name="connsiteX289" fmla="*/ 9275226 w 12191989"/>
              <a:gd name="connsiteY289" fmla="*/ 546166 h 6857994"/>
              <a:gd name="connsiteX290" fmla="*/ 9279768 w 12191989"/>
              <a:gd name="connsiteY290" fmla="*/ 530620 h 6857994"/>
              <a:gd name="connsiteX291" fmla="*/ 9287453 w 12191989"/>
              <a:gd name="connsiteY291" fmla="*/ 520052 h 6857994"/>
              <a:gd name="connsiteX292" fmla="*/ 9297061 w 12191989"/>
              <a:gd name="connsiteY292" fmla="*/ 510882 h 6857994"/>
              <a:gd name="connsiteX293" fmla="*/ 9297847 w 12191989"/>
              <a:gd name="connsiteY293" fmla="*/ 512279 h 6857994"/>
              <a:gd name="connsiteX294" fmla="*/ 9288152 w 12191989"/>
              <a:gd name="connsiteY294" fmla="*/ 546079 h 6857994"/>
              <a:gd name="connsiteX295" fmla="*/ 9288327 w 12191989"/>
              <a:gd name="connsiteY295" fmla="*/ 546079 h 6857994"/>
              <a:gd name="connsiteX296" fmla="*/ 9305358 w 12191989"/>
              <a:gd name="connsiteY296" fmla="*/ 546079 h 6857994"/>
              <a:gd name="connsiteX297" fmla="*/ 9316100 w 12191989"/>
              <a:gd name="connsiteY297" fmla="*/ 508349 h 6857994"/>
              <a:gd name="connsiteX298" fmla="*/ 9314965 w 12191989"/>
              <a:gd name="connsiteY298" fmla="*/ 498218 h 6857994"/>
              <a:gd name="connsiteX299" fmla="*/ 9308153 w 12191989"/>
              <a:gd name="connsiteY299" fmla="*/ 495336 h 6857994"/>
              <a:gd name="connsiteX300" fmla="*/ 9293655 w 12191989"/>
              <a:gd name="connsiteY300" fmla="*/ 503196 h 6857994"/>
              <a:gd name="connsiteX301" fmla="*/ 9283436 w 12191989"/>
              <a:gd name="connsiteY301" fmla="*/ 517432 h 6857994"/>
              <a:gd name="connsiteX302" fmla="*/ 9282301 w 12191989"/>
              <a:gd name="connsiteY302" fmla="*/ 517432 h 6857994"/>
              <a:gd name="connsiteX303" fmla="*/ 9295576 w 12191989"/>
              <a:gd name="connsiteY303" fmla="*/ 475248 h 6857994"/>
              <a:gd name="connsiteX304" fmla="*/ 9872964 w 12191989"/>
              <a:gd name="connsiteY304" fmla="*/ 475074 h 6857994"/>
              <a:gd name="connsiteX305" fmla="*/ 9852440 w 12191989"/>
              <a:gd name="connsiteY305" fmla="*/ 545992 h 6857994"/>
              <a:gd name="connsiteX306" fmla="*/ 9869733 w 12191989"/>
              <a:gd name="connsiteY306" fmla="*/ 545992 h 6857994"/>
              <a:gd name="connsiteX307" fmla="*/ 9874187 w 12191989"/>
              <a:gd name="connsiteY307" fmla="*/ 530534 h 6857994"/>
              <a:gd name="connsiteX308" fmla="*/ 9881785 w 12191989"/>
              <a:gd name="connsiteY308" fmla="*/ 519965 h 6857994"/>
              <a:gd name="connsiteX309" fmla="*/ 9891480 w 12191989"/>
              <a:gd name="connsiteY309" fmla="*/ 510795 h 6857994"/>
              <a:gd name="connsiteX310" fmla="*/ 9892266 w 12191989"/>
              <a:gd name="connsiteY310" fmla="*/ 512192 h 6857994"/>
              <a:gd name="connsiteX311" fmla="*/ 9883938 w 12191989"/>
              <a:gd name="connsiteY311" fmla="*/ 541534 h 6857994"/>
              <a:gd name="connsiteX312" fmla="*/ 9882597 w 12191989"/>
              <a:gd name="connsiteY312" fmla="*/ 545992 h 6857994"/>
              <a:gd name="connsiteX313" fmla="*/ 9882571 w 12191989"/>
              <a:gd name="connsiteY313" fmla="*/ 545992 h 6857994"/>
              <a:gd name="connsiteX314" fmla="*/ 9882571 w 12191989"/>
              <a:gd name="connsiteY314" fmla="*/ 546079 h 6857994"/>
              <a:gd name="connsiteX315" fmla="*/ 9882597 w 12191989"/>
              <a:gd name="connsiteY315" fmla="*/ 545992 h 6857994"/>
              <a:gd name="connsiteX316" fmla="*/ 9899689 w 12191989"/>
              <a:gd name="connsiteY316" fmla="*/ 545992 h 6857994"/>
              <a:gd name="connsiteX317" fmla="*/ 9910432 w 12191989"/>
              <a:gd name="connsiteY317" fmla="*/ 508262 h 6857994"/>
              <a:gd name="connsiteX318" fmla="*/ 9909384 w 12191989"/>
              <a:gd name="connsiteY318" fmla="*/ 498131 h 6857994"/>
              <a:gd name="connsiteX319" fmla="*/ 9902572 w 12191989"/>
              <a:gd name="connsiteY319" fmla="*/ 495249 h 6857994"/>
              <a:gd name="connsiteX320" fmla="*/ 9888073 w 12191989"/>
              <a:gd name="connsiteY320" fmla="*/ 503022 h 6857994"/>
              <a:gd name="connsiteX321" fmla="*/ 9877855 w 12191989"/>
              <a:gd name="connsiteY321" fmla="*/ 517258 h 6857994"/>
              <a:gd name="connsiteX322" fmla="*/ 9876719 w 12191989"/>
              <a:gd name="connsiteY322" fmla="*/ 517258 h 6857994"/>
              <a:gd name="connsiteX323" fmla="*/ 9889995 w 12191989"/>
              <a:gd name="connsiteY323" fmla="*/ 475074 h 6857994"/>
              <a:gd name="connsiteX324" fmla="*/ 9676368 w 12191989"/>
              <a:gd name="connsiteY324" fmla="*/ 474114 h 6857994"/>
              <a:gd name="connsiteX325" fmla="*/ 9658376 w 12191989"/>
              <a:gd name="connsiteY325" fmla="*/ 480140 h 6857994"/>
              <a:gd name="connsiteX326" fmla="*/ 9647372 w 12191989"/>
              <a:gd name="connsiteY326" fmla="*/ 496298 h 6857994"/>
              <a:gd name="connsiteX327" fmla="*/ 9629642 w 12191989"/>
              <a:gd name="connsiteY327" fmla="*/ 557346 h 6857994"/>
              <a:gd name="connsiteX328" fmla="*/ 9646935 w 12191989"/>
              <a:gd name="connsiteY328" fmla="*/ 557346 h 6857994"/>
              <a:gd name="connsiteX329" fmla="*/ 9661782 w 12191989"/>
              <a:gd name="connsiteY329" fmla="*/ 506254 h 6857994"/>
              <a:gd name="connsiteX330" fmla="*/ 9674272 w 12191989"/>
              <a:gd name="connsiteY330" fmla="*/ 506254 h 6857994"/>
              <a:gd name="connsiteX331" fmla="*/ 9677241 w 12191989"/>
              <a:gd name="connsiteY331" fmla="*/ 496298 h 6857994"/>
              <a:gd name="connsiteX332" fmla="*/ 9664490 w 12191989"/>
              <a:gd name="connsiteY332" fmla="*/ 496298 h 6857994"/>
              <a:gd name="connsiteX333" fmla="*/ 9667372 w 12191989"/>
              <a:gd name="connsiteY333" fmla="*/ 487826 h 6857994"/>
              <a:gd name="connsiteX334" fmla="*/ 9674708 w 12191989"/>
              <a:gd name="connsiteY334" fmla="*/ 484070 h 6857994"/>
              <a:gd name="connsiteX335" fmla="*/ 9685538 w 12191989"/>
              <a:gd name="connsiteY335" fmla="*/ 486953 h 6857994"/>
              <a:gd name="connsiteX336" fmla="*/ 9688508 w 12191989"/>
              <a:gd name="connsiteY336" fmla="*/ 476386 h 6857994"/>
              <a:gd name="connsiteX337" fmla="*/ 9688595 w 12191989"/>
              <a:gd name="connsiteY337" fmla="*/ 476298 h 6857994"/>
              <a:gd name="connsiteX338" fmla="*/ 9676368 w 12191989"/>
              <a:gd name="connsiteY338" fmla="*/ 474114 h 6857994"/>
              <a:gd name="connsiteX339" fmla="*/ 10050783 w 12191989"/>
              <a:gd name="connsiteY339" fmla="*/ 473503 h 6857994"/>
              <a:gd name="connsiteX340" fmla="*/ 10062137 w 12191989"/>
              <a:gd name="connsiteY340" fmla="*/ 480577 h 6857994"/>
              <a:gd name="connsiteX341" fmla="*/ 10044932 w 12191989"/>
              <a:gd name="connsiteY341" fmla="*/ 496822 h 6857994"/>
              <a:gd name="connsiteX342" fmla="*/ 10037857 w 12191989"/>
              <a:gd name="connsiteY342" fmla="*/ 496822 h 6857994"/>
              <a:gd name="connsiteX343" fmla="*/ 10044757 w 12191989"/>
              <a:gd name="connsiteY343" fmla="*/ 474375 h 6857994"/>
              <a:gd name="connsiteX344" fmla="*/ 10050783 w 12191989"/>
              <a:gd name="connsiteY344" fmla="*/ 473503 h 6857994"/>
              <a:gd name="connsiteX345" fmla="*/ 10026416 w 12191989"/>
              <a:gd name="connsiteY345" fmla="*/ 462410 h 6857994"/>
              <a:gd name="connsiteX346" fmla="*/ 10001525 w 12191989"/>
              <a:gd name="connsiteY346" fmla="*/ 546865 h 6857994"/>
              <a:gd name="connsiteX347" fmla="*/ 10001699 w 12191989"/>
              <a:gd name="connsiteY347" fmla="*/ 546865 h 6857994"/>
              <a:gd name="connsiteX348" fmla="*/ 10043272 w 12191989"/>
              <a:gd name="connsiteY348" fmla="*/ 546865 h 6857994"/>
              <a:gd name="connsiteX349" fmla="*/ 10074015 w 12191989"/>
              <a:gd name="connsiteY349" fmla="*/ 522935 h 6857994"/>
              <a:gd name="connsiteX350" fmla="*/ 10056286 w 12191989"/>
              <a:gd name="connsiteY350" fmla="*/ 503371 h 6857994"/>
              <a:gd name="connsiteX351" fmla="*/ 10056286 w 12191989"/>
              <a:gd name="connsiteY351" fmla="*/ 503110 h 6857994"/>
              <a:gd name="connsiteX352" fmla="*/ 10082661 w 12191989"/>
              <a:gd name="connsiteY352" fmla="*/ 478568 h 6857994"/>
              <a:gd name="connsiteX353" fmla="*/ 10053403 w 12191989"/>
              <a:gd name="connsiteY353" fmla="*/ 462410 h 6857994"/>
              <a:gd name="connsiteX354" fmla="*/ 9242388 w 12191989"/>
              <a:gd name="connsiteY354" fmla="*/ 462149 h 6857994"/>
              <a:gd name="connsiteX355" fmla="*/ 9175575 w 12191989"/>
              <a:gd name="connsiteY355" fmla="*/ 518830 h 6857994"/>
              <a:gd name="connsiteX356" fmla="*/ 9175662 w 12191989"/>
              <a:gd name="connsiteY356" fmla="*/ 518830 h 6857994"/>
              <a:gd name="connsiteX357" fmla="*/ 9208937 w 12191989"/>
              <a:gd name="connsiteY357" fmla="*/ 550621 h 6857994"/>
              <a:gd name="connsiteX358" fmla="*/ 9245095 w 12191989"/>
              <a:gd name="connsiteY358" fmla="*/ 546079 h 6857994"/>
              <a:gd name="connsiteX359" fmla="*/ 9248938 w 12191989"/>
              <a:gd name="connsiteY359" fmla="*/ 533591 h 6857994"/>
              <a:gd name="connsiteX360" fmla="*/ 9247016 w 12191989"/>
              <a:gd name="connsiteY360" fmla="*/ 534114 h 6857994"/>
              <a:gd name="connsiteX361" fmla="*/ 9219942 w 12191989"/>
              <a:gd name="connsiteY361" fmla="*/ 539267 h 6857994"/>
              <a:gd name="connsiteX362" fmla="*/ 9199068 w 12191989"/>
              <a:gd name="connsiteY362" fmla="*/ 516035 h 6857994"/>
              <a:gd name="connsiteX363" fmla="*/ 9239243 w 12191989"/>
              <a:gd name="connsiteY363" fmla="*/ 473415 h 6857994"/>
              <a:gd name="connsiteX364" fmla="*/ 9264746 w 12191989"/>
              <a:gd name="connsiteY364" fmla="*/ 478830 h 6857994"/>
              <a:gd name="connsiteX365" fmla="*/ 9268764 w 12191989"/>
              <a:gd name="connsiteY365" fmla="*/ 465380 h 6857994"/>
              <a:gd name="connsiteX366" fmla="*/ 9242388 w 12191989"/>
              <a:gd name="connsiteY366" fmla="*/ 462149 h 6857994"/>
              <a:gd name="connsiteX367" fmla="*/ 10999091 w 12191989"/>
              <a:gd name="connsiteY367" fmla="*/ 385817 h 6857994"/>
              <a:gd name="connsiteX368" fmla="*/ 11004856 w 12191989"/>
              <a:gd name="connsiteY368" fmla="*/ 386079 h 6857994"/>
              <a:gd name="connsiteX369" fmla="*/ 10988261 w 12191989"/>
              <a:gd name="connsiteY369" fmla="*/ 405818 h 6857994"/>
              <a:gd name="connsiteX370" fmla="*/ 10977431 w 12191989"/>
              <a:gd name="connsiteY370" fmla="*/ 396647 h 6857994"/>
              <a:gd name="connsiteX371" fmla="*/ 10999091 w 12191989"/>
              <a:gd name="connsiteY371" fmla="*/ 385817 h 6857994"/>
              <a:gd name="connsiteX372" fmla="*/ 11257784 w 12191989"/>
              <a:gd name="connsiteY372" fmla="*/ 361363 h 6857994"/>
              <a:gd name="connsiteX373" fmla="*/ 11274815 w 12191989"/>
              <a:gd name="connsiteY373" fmla="*/ 381887 h 6857994"/>
              <a:gd name="connsiteX374" fmla="*/ 11258047 w 12191989"/>
              <a:gd name="connsiteY374" fmla="*/ 402150 h 6857994"/>
              <a:gd name="connsiteX375" fmla="*/ 11241977 w 12191989"/>
              <a:gd name="connsiteY375" fmla="*/ 381887 h 6857994"/>
              <a:gd name="connsiteX376" fmla="*/ 11257784 w 12191989"/>
              <a:gd name="connsiteY376" fmla="*/ 361363 h 6857994"/>
              <a:gd name="connsiteX377" fmla="*/ 11956918 w 12191989"/>
              <a:gd name="connsiteY377" fmla="*/ 361277 h 6857994"/>
              <a:gd name="connsiteX378" fmla="*/ 11974124 w 12191989"/>
              <a:gd name="connsiteY378" fmla="*/ 382848 h 6857994"/>
              <a:gd name="connsiteX379" fmla="*/ 11957355 w 12191989"/>
              <a:gd name="connsiteY379" fmla="*/ 404246 h 6857994"/>
              <a:gd name="connsiteX380" fmla="*/ 11941110 w 12191989"/>
              <a:gd name="connsiteY380" fmla="*/ 382587 h 6857994"/>
              <a:gd name="connsiteX381" fmla="*/ 11956918 w 12191989"/>
              <a:gd name="connsiteY381" fmla="*/ 361277 h 6857994"/>
              <a:gd name="connsiteX382" fmla="*/ 10774285 w 12191989"/>
              <a:gd name="connsiteY382" fmla="*/ 360142 h 6857994"/>
              <a:gd name="connsiteX383" fmla="*/ 10791578 w 12191989"/>
              <a:gd name="connsiteY383" fmla="*/ 382674 h 6857994"/>
              <a:gd name="connsiteX384" fmla="*/ 10774285 w 12191989"/>
              <a:gd name="connsiteY384" fmla="*/ 405033 h 6857994"/>
              <a:gd name="connsiteX385" fmla="*/ 10757079 w 12191989"/>
              <a:gd name="connsiteY385" fmla="*/ 382674 h 6857994"/>
              <a:gd name="connsiteX386" fmla="*/ 10774285 w 12191989"/>
              <a:gd name="connsiteY386" fmla="*/ 360142 h 6857994"/>
              <a:gd name="connsiteX387" fmla="*/ 11776829 w 12191989"/>
              <a:gd name="connsiteY387" fmla="*/ 360141 h 6857994"/>
              <a:gd name="connsiteX388" fmla="*/ 11794122 w 12191989"/>
              <a:gd name="connsiteY388" fmla="*/ 382673 h 6857994"/>
              <a:gd name="connsiteX389" fmla="*/ 11776829 w 12191989"/>
              <a:gd name="connsiteY389" fmla="*/ 405031 h 6857994"/>
              <a:gd name="connsiteX390" fmla="*/ 11759624 w 12191989"/>
              <a:gd name="connsiteY390" fmla="*/ 382673 h 6857994"/>
              <a:gd name="connsiteX391" fmla="*/ 11776829 w 12191989"/>
              <a:gd name="connsiteY391" fmla="*/ 360141 h 6857994"/>
              <a:gd name="connsiteX392" fmla="*/ 11519884 w 12191989"/>
              <a:gd name="connsiteY392" fmla="*/ 359442 h 6857994"/>
              <a:gd name="connsiteX393" fmla="*/ 11534120 w 12191989"/>
              <a:gd name="connsiteY393" fmla="*/ 375076 h 6857994"/>
              <a:gd name="connsiteX394" fmla="*/ 11503989 w 12191989"/>
              <a:gd name="connsiteY394" fmla="*/ 375076 h 6857994"/>
              <a:gd name="connsiteX395" fmla="*/ 11519884 w 12191989"/>
              <a:gd name="connsiteY395" fmla="*/ 359442 h 6857994"/>
              <a:gd name="connsiteX396" fmla="*/ 11095162 w 12191989"/>
              <a:gd name="connsiteY396" fmla="*/ 346343 h 6857994"/>
              <a:gd name="connsiteX397" fmla="*/ 11095162 w 12191989"/>
              <a:gd name="connsiteY397" fmla="*/ 419181 h 6857994"/>
              <a:gd name="connsiteX398" fmla="*/ 11117433 w 12191989"/>
              <a:gd name="connsiteY398" fmla="*/ 419181 h 6857994"/>
              <a:gd name="connsiteX399" fmla="*/ 11117433 w 12191989"/>
              <a:gd name="connsiteY399" fmla="*/ 346343 h 6857994"/>
              <a:gd name="connsiteX400" fmla="*/ 10598474 w 12191989"/>
              <a:gd name="connsiteY400" fmla="*/ 346343 h 6857994"/>
              <a:gd name="connsiteX401" fmla="*/ 10598474 w 12191989"/>
              <a:gd name="connsiteY401" fmla="*/ 393156 h 6857994"/>
              <a:gd name="connsiteX402" fmla="*/ 10624413 w 12191989"/>
              <a:gd name="connsiteY402" fmla="*/ 421016 h 6857994"/>
              <a:gd name="connsiteX403" fmla="*/ 10650614 w 12191989"/>
              <a:gd name="connsiteY403" fmla="*/ 406780 h 6857994"/>
              <a:gd name="connsiteX404" fmla="*/ 10650790 w 12191989"/>
              <a:gd name="connsiteY404" fmla="*/ 406867 h 6857994"/>
              <a:gd name="connsiteX405" fmla="*/ 10651052 w 12191989"/>
              <a:gd name="connsiteY405" fmla="*/ 406867 h 6857994"/>
              <a:gd name="connsiteX406" fmla="*/ 10651575 w 12191989"/>
              <a:gd name="connsiteY406" fmla="*/ 419270 h 6857994"/>
              <a:gd name="connsiteX407" fmla="*/ 10672100 w 12191989"/>
              <a:gd name="connsiteY407" fmla="*/ 419270 h 6857994"/>
              <a:gd name="connsiteX408" fmla="*/ 10671401 w 12191989"/>
              <a:gd name="connsiteY408" fmla="*/ 397697 h 6857994"/>
              <a:gd name="connsiteX409" fmla="*/ 10671401 w 12191989"/>
              <a:gd name="connsiteY409" fmla="*/ 346430 h 6857994"/>
              <a:gd name="connsiteX410" fmla="*/ 10649130 w 12191989"/>
              <a:gd name="connsiteY410" fmla="*/ 346430 h 6857994"/>
              <a:gd name="connsiteX411" fmla="*/ 10649130 w 12191989"/>
              <a:gd name="connsiteY411" fmla="*/ 381889 h 6857994"/>
              <a:gd name="connsiteX412" fmla="*/ 10633060 w 12191989"/>
              <a:gd name="connsiteY412" fmla="*/ 402850 h 6857994"/>
              <a:gd name="connsiteX413" fmla="*/ 10620483 w 12191989"/>
              <a:gd name="connsiteY413" fmla="*/ 385208 h 6857994"/>
              <a:gd name="connsiteX414" fmla="*/ 10620483 w 12191989"/>
              <a:gd name="connsiteY414" fmla="*/ 346343 h 6857994"/>
              <a:gd name="connsiteX415" fmla="*/ 10871492 w 12191989"/>
              <a:gd name="connsiteY415" fmla="*/ 344596 h 6857994"/>
              <a:gd name="connsiteX416" fmla="*/ 10847124 w 12191989"/>
              <a:gd name="connsiteY416" fmla="*/ 359007 h 6857994"/>
              <a:gd name="connsiteX417" fmla="*/ 10846863 w 12191989"/>
              <a:gd name="connsiteY417" fmla="*/ 359007 h 6857994"/>
              <a:gd name="connsiteX418" fmla="*/ 10846425 w 12191989"/>
              <a:gd name="connsiteY418" fmla="*/ 346430 h 6857994"/>
              <a:gd name="connsiteX419" fmla="*/ 10825989 w 12191989"/>
              <a:gd name="connsiteY419" fmla="*/ 346430 h 6857994"/>
              <a:gd name="connsiteX420" fmla="*/ 10826688 w 12191989"/>
              <a:gd name="connsiteY420" fmla="*/ 369487 h 6857994"/>
              <a:gd name="connsiteX421" fmla="*/ 10826688 w 12191989"/>
              <a:gd name="connsiteY421" fmla="*/ 419182 h 6857994"/>
              <a:gd name="connsiteX422" fmla="*/ 10848784 w 12191989"/>
              <a:gd name="connsiteY422" fmla="*/ 419182 h 6857994"/>
              <a:gd name="connsiteX423" fmla="*/ 10848784 w 12191989"/>
              <a:gd name="connsiteY423" fmla="*/ 385208 h 6857994"/>
              <a:gd name="connsiteX424" fmla="*/ 10863545 w 12191989"/>
              <a:gd name="connsiteY424" fmla="*/ 362238 h 6857994"/>
              <a:gd name="connsiteX425" fmla="*/ 10874636 w 12191989"/>
              <a:gd name="connsiteY425" fmla="*/ 383549 h 6857994"/>
              <a:gd name="connsiteX426" fmla="*/ 10874636 w 12191989"/>
              <a:gd name="connsiteY426" fmla="*/ 419182 h 6857994"/>
              <a:gd name="connsiteX427" fmla="*/ 10874811 w 12191989"/>
              <a:gd name="connsiteY427" fmla="*/ 419182 h 6857994"/>
              <a:gd name="connsiteX428" fmla="*/ 10896907 w 12191989"/>
              <a:gd name="connsiteY428" fmla="*/ 419182 h 6857994"/>
              <a:gd name="connsiteX429" fmla="*/ 10896907 w 12191989"/>
              <a:gd name="connsiteY429" fmla="*/ 385558 h 6857994"/>
              <a:gd name="connsiteX430" fmla="*/ 10911667 w 12191989"/>
              <a:gd name="connsiteY430" fmla="*/ 362326 h 6857994"/>
              <a:gd name="connsiteX431" fmla="*/ 10922759 w 12191989"/>
              <a:gd name="connsiteY431" fmla="*/ 381802 h 6857994"/>
              <a:gd name="connsiteX432" fmla="*/ 10922759 w 12191989"/>
              <a:gd name="connsiteY432" fmla="*/ 419270 h 6857994"/>
              <a:gd name="connsiteX433" fmla="*/ 10944855 w 12191989"/>
              <a:gd name="connsiteY433" fmla="*/ 419270 h 6857994"/>
              <a:gd name="connsiteX434" fmla="*/ 10944855 w 12191989"/>
              <a:gd name="connsiteY434" fmla="*/ 376125 h 6857994"/>
              <a:gd name="connsiteX435" fmla="*/ 10919790 w 12191989"/>
              <a:gd name="connsiteY435" fmla="*/ 344596 h 6857994"/>
              <a:gd name="connsiteX436" fmla="*/ 10894025 w 12191989"/>
              <a:gd name="connsiteY436" fmla="*/ 359356 h 6857994"/>
              <a:gd name="connsiteX437" fmla="*/ 10871492 w 12191989"/>
              <a:gd name="connsiteY437" fmla="*/ 344596 h 6857994"/>
              <a:gd name="connsiteX438" fmla="*/ 10774722 w 12191989"/>
              <a:gd name="connsiteY438" fmla="*/ 344509 h 6857994"/>
              <a:gd name="connsiteX439" fmla="*/ 10734022 w 12191989"/>
              <a:gd name="connsiteY439" fmla="*/ 382937 h 6857994"/>
              <a:gd name="connsiteX440" fmla="*/ 10774285 w 12191989"/>
              <a:gd name="connsiteY440" fmla="*/ 421016 h 6857994"/>
              <a:gd name="connsiteX441" fmla="*/ 10814548 w 12191989"/>
              <a:gd name="connsiteY441" fmla="*/ 382937 h 6857994"/>
              <a:gd name="connsiteX442" fmla="*/ 10774722 w 12191989"/>
              <a:gd name="connsiteY442" fmla="*/ 344509 h 6857994"/>
              <a:gd name="connsiteX443" fmla="*/ 11867660 w 12191989"/>
              <a:gd name="connsiteY443" fmla="*/ 344508 h 6857994"/>
              <a:gd name="connsiteX444" fmla="*/ 11827660 w 12191989"/>
              <a:gd name="connsiteY444" fmla="*/ 372194 h 6857994"/>
              <a:gd name="connsiteX445" fmla="*/ 11827660 w 12191989"/>
              <a:gd name="connsiteY445" fmla="*/ 419182 h 6857994"/>
              <a:gd name="connsiteX446" fmla="*/ 11849057 w 12191989"/>
              <a:gd name="connsiteY446" fmla="*/ 419182 h 6857994"/>
              <a:gd name="connsiteX447" fmla="*/ 11849057 w 12191989"/>
              <a:gd name="connsiteY447" fmla="*/ 382325 h 6857994"/>
              <a:gd name="connsiteX448" fmla="*/ 11866700 w 12191989"/>
              <a:gd name="connsiteY448" fmla="*/ 362499 h 6857994"/>
              <a:gd name="connsiteX449" fmla="*/ 11873774 w 12191989"/>
              <a:gd name="connsiteY449" fmla="*/ 362499 h 6857994"/>
              <a:gd name="connsiteX450" fmla="*/ 11873774 w 12191989"/>
              <a:gd name="connsiteY450" fmla="*/ 344508 h 6857994"/>
              <a:gd name="connsiteX451" fmla="*/ 11777266 w 12191989"/>
              <a:gd name="connsiteY451" fmla="*/ 344507 h 6857994"/>
              <a:gd name="connsiteX452" fmla="*/ 11736567 w 12191989"/>
              <a:gd name="connsiteY452" fmla="*/ 382935 h 6857994"/>
              <a:gd name="connsiteX453" fmla="*/ 11776829 w 12191989"/>
              <a:gd name="connsiteY453" fmla="*/ 421014 h 6857994"/>
              <a:gd name="connsiteX454" fmla="*/ 11817092 w 12191989"/>
              <a:gd name="connsiteY454" fmla="*/ 382935 h 6857994"/>
              <a:gd name="connsiteX455" fmla="*/ 11777266 w 12191989"/>
              <a:gd name="connsiteY455" fmla="*/ 344507 h 6857994"/>
              <a:gd name="connsiteX456" fmla="*/ 11252195 w 12191989"/>
              <a:gd name="connsiteY456" fmla="*/ 344507 h 6857994"/>
              <a:gd name="connsiteX457" fmla="*/ 11219356 w 12191989"/>
              <a:gd name="connsiteY457" fmla="*/ 382411 h 6857994"/>
              <a:gd name="connsiteX458" fmla="*/ 11251322 w 12191989"/>
              <a:gd name="connsiteY458" fmla="*/ 419006 h 6857994"/>
              <a:gd name="connsiteX459" fmla="*/ 11275165 w 12191989"/>
              <a:gd name="connsiteY459" fmla="*/ 405905 h 6857994"/>
              <a:gd name="connsiteX460" fmla="*/ 11275426 w 12191989"/>
              <a:gd name="connsiteY460" fmla="*/ 405905 h 6857994"/>
              <a:gd name="connsiteX461" fmla="*/ 11275165 w 12191989"/>
              <a:gd name="connsiteY461" fmla="*/ 412979 h 6857994"/>
              <a:gd name="connsiteX462" fmla="*/ 11253505 w 12191989"/>
              <a:gd name="connsiteY462" fmla="*/ 434377 h 6857994"/>
              <a:gd name="connsiteX463" fmla="*/ 11227566 w 12191989"/>
              <a:gd name="connsiteY463" fmla="*/ 427652 h 6857994"/>
              <a:gd name="connsiteX464" fmla="*/ 11227566 w 12191989"/>
              <a:gd name="connsiteY464" fmla="*/ 446168 h 6857994"/>
              <a:gd name="connsiteX465" fmla="*/ 11255426 w 12191989"/>
              <a:gd name="connsiteY465" fmla="*/ 450447 h 6857994"/>
              <a:gd name="connsiteX466" fmla="*/ 11296562 w 12191989"/>
              <a:gd name="connsiteY466" fmla="*/ 412717 h 6857994"/>
              <a:gd name="connsiteX467" fmla="*/ 11296562 w 12191989"/>
              <a:gd name="connsiteY467" fmla="*/ 346341 h 6857994"/>
              <a:gd name="connsiteX468" fmla="*/ 11276037 w 12191989"/>
              <a:gd name="connsiteY468" fmla="*/ 346341 h 6857994"/>
              <a:gd name="connsiteX469" fmla="*/ 11276300 w 12191989"/>
              <a:gd name="connsiteY469" fmla="*/ 357608 h 6857994"/>
              <a:gd name="connsiteX470" fmla="*/ 11276037 w 12191989"/>
              <a:gd name="connsiteY470" fmla="*/ 357608 h 6857994"/>
              <a:gd name="connsiteX471" fmla="*/ 11252195 w 12191989"/>
              <a:gd name="connsiteY471" fmla="*/ 344507 h 6857994"/>
              <a:gd name="connsiteX472" fmla="*/ 11180054 w 12191989"/>
              <a:gd name="connsiteY472" fmla="*/ 344507 h 6857994"/>
              <a:gd name="connsiteX473" fmla="*/ 11155075 w 12191989"/>
              <a:gd name="connsiteY473" fmla="*/ 358743 h 6857994"/>
              <a:gd name="connsiteX474" fmla="*/ 11154988 w 12191989"/>
              <a:gd name="connsiteY474" fmla="*/ 358831 h 6857994"/>
              <a:gd name="connsiteX475" fmla="*/ 11154725 w 12191989"/>
              <a:gd name="connsiteY475" fmla="*/ 358831 h 6857994"/>
              <a:gd name="connsiteX476" fmla="*/ 11154202 w 12191989"/>
              <a:gd name="connsiteY476" fmla="*/ 346429 h 6857994"/>
              <a:gd name="connsiteX477" fmla="*/ 11133328 w 12191989"/>
              <a:gd name="connsiteY477" fmla="*/ 346429 h 6857994"/>
              <a:gd name="connsiteX478" fmla="*/ 11134027 w 12191989"/>
              <a:gd name="connsiteY478" fmla="*/ 369573 h 6857994"/>
              <a:gd name="connsiteX479" fmla="*/ 11134027 w 12191989"/>
              <a:gd name="connsiteY479" fmla="*/ 419268 h 6857994"/>
              <a:gd name="connsiteX480" fmla="*/ 11156036 w 12191989"/>
              <a:gd name="connsiteY480" fmla="*/ 419268 h 6857994"/>
              <a:gd name="connsiteX481" fmla="*/ 11156036 w 12191989"/>
              <a:gd name="connsiteY481" fmla="*/ 387128 h 6857994"/>
              <a:gd name="connsiteX482" fmla="*/ 11159006 w 12191989"/>
              <a:gd name="connsiteY482" fmla="*/ 370796 h 6857994"/>
              <a:gd name="connsiteX483" fmla="*/ 11172805 w 12191989"/>
              <a:gd name="connsiteY483" fmla="*/ 362324 h 6857994"/>
              <a:gd name="connsiteX484" fmla="*/ 11185207 w 12191989"/>
              <a:gd name="connsiteY484" fmla="*/ 384420 h 6857994"/>
              <a:gd name="connsiteX485" fmla="*/ 11185207 w 12191989"/>
              <a:gd name="connsiteY485" fmla="*/ 419181 h 6857994"/>
              <a:gd name="connsiteX486" fmla="*/ 11207215 w 12191989"/>
              <a:gd name="connsiteY486" fmla="*/ 419181 h 6857994"/>
              <a:gd name="connsiteX487" fmla="*/ 11207215 w 12191989"/>
              <a:gd name="connsiteY487" fmla="*/ 376036 h 6857994"/>
              <a:gd name="connsiteX488" fmla="*/ 11180054 w 12191989"/>
              <a:gd name="connsiteY488" fmla="*/ 344507 h 6857994"/>
              <a:gd name="connsiteX489" fmla="*/ 10991755 w 12191989"/>
              <a:gd name="connsiteY489" fmla="*/ 344507 h 6857994"/>
              <a:gd name="connsiteX490" fmla="*/ 10965117 w 12191989"/>
              <a:gd name="connsiteY490" fmla="*/ 349573 h 6857994"/>
              <a:gd name="connsiteX491" fmla="*/ 10965117 w 12191989"/>
              <a:gd name="connsiteY491" fmla="*/ 365904 h 6857994"/>
              <a:gd name="connsiteX492" fmla="*/ 10988261 w 12191989"/>
              <a:gd name="connsiteY492" fmla="*/ 359704 h 6857994"/>
              <a:gd name="connsiteX493" fmla="*/ 11004594 w 12191989"/>
              <a:gd name="connsiteY493" fmla="*/ 374114 h 6857994"/>
              <a:gd name="connsiteX494" fmla="*/ 10994200 w 12191989"/>
              <a:gd name="connsiteY494" fmla="*/ 373677 h 6857994"/>
              <a:gd name="connsiteX495" fmla="*/ 10956121 w 12191989"/>
              <a:gd name="connsiteY495" fmla="*/ 397783 h 6857994"/>
              <a:gd name="connsiteX496" fmla="*/ 10981361 w 12191989"/>
              <a:gd name="connsiteY496" fmla="*/ 420578 h 6857994"/>
              <a:gd name="connsiteX497" fmla="*/ 11006253 w 12191989"/>
              <a:gd name="connsiteY497" fmla="*/ 407040 h 6857994"/>
              <a:gd name="connsiteX498" fmla="*/ 11006515 w 12191989"/>
              <a:gd name="connsiteY498" fmla="*/ 407040 h 6857994"/>
              <a:gd name="connsiteX499" fmla="*/ 11006253 w 12191989"/>
              <a:gd name="connsiteY499" fmla="*/ 413416 h 6857994"/>
              <a:gd name="connsiteX500" fmla="*/ 11006690 w 12191989"/>
              <a:gd name="connsiteY500" fmla="*/ 419180 h 6857994"/>
              <a:gd name="connsiteX501" fmla="*/ 11025991 w 12191989"/>
              <a:gd name="connsiteY501" fmla="*/ 419180 h 6857994"/>
              <a:gd name="connsiteX502" fmla="*/ 11025030 w 12191989"/>
              <a:gd name="connsiteY502" fmla="*/ 393153 h 6857994"/>
              <a:gd name="connsiteX503" fmla="*/ 11025292 w 12191989"/>
              <a:gd name="connsiteY503" fmla="*/ 374813 h 6857994"/>
              <a:gd name="connsiteX504" fmla="*/ 10991755 w 12191989"/>
              <a:gd name="connsiteY504" fmla="*/ 344507 h 6857994"/>
              <a:gd name="connsiteX505" fmla="*/ 11520495 w 12191989"/>
              <a:gd name="connsiteY505" fmla="*/ 344421 h 6857994"/>
              <a:gd name="connsiteX506" fmla="*/ 11482154 w 12191989"/>
              <a:gd name="connsiteY506" fmla="*/ 382499 h 6857994"/>
              <a:gd name="connsiteX507" fmla="*/ 11523551 w 12191989"/>
              <a:gd name="connsiteY507" fmla="*/ 420927 h 6857994"/>
              <a:gd name="connsiteX508" fmla="*/ 11548355 w 12191989"/>
              <a:gd name="connsiteY508" fmla="*/ 416037 h 6857994"/>
              <a:gd name="connsiteX509" fmla="*/ 11547919 w 12191989"/>
              <a:gd name="connsiteY509" fmla="*/ 399443 h 6857994"/>
              <a:gd name="connsiteX510" fmla="*/ 11526085 w 12191989"/>
              <a:gd name="connsiteY510" fmla="*/ 405120 h 6857994"/>
              <a:gd name="connsiteX511" fmla="*/ 11504076 w 12191989"/>
              <a:gd name="connsiteY511" fmla="*/ 388875 h 6857994"/>
              <a:gd name="connsiteX512" fmla="*/ 11504163 w 12191989"/>
              <a:gd name="connsiteY512" fmla="*/ 388788 h 6857994"/>
              <a:gd name="connsiteX513" fmla="*/ 11553858 w 12191989"/>
              <a:gd name="connsiteY513" fmla="*/ 388788 h 6857994"/>
              <a:gd name="connsiteX514" fmla="*/ 11554120 w 12191989"/>
              <a:gd name="connsiteY514" fmla="*/ 383547 h 6857994"/>
              <a:gd name="connsiteX515" fmla="*/ 11520495 w 12191989"/>
              <a:gd name="connsiteY515" fmla="*/ 344421 h 6857994"/>
              <a:gd name="connsiteX516" fmla="*/ 11041362 w 12191989"/>
              <a:gd name="connsiteY516" fmla="*/ 331320 h 6857994"/>
              <a:gd name="connsiteX517" fmla="*/ 11040663 w 12191989"/>
              <a:gd name="connsiteY517" fmla="*/ 393242 h 6857994"/>
              <a:gd name="connsiteX518" fmla="*/ 11066602 w 12191989"/>
              <a:gd name="connsiteY518" fmla="*/ 420142 h 6857994"/>
              <a:gd name="connsiteX519" fmla="*/ 11079703 w 12191989"/>
              <a:gd name="connsiteY519" fmla="*/ 418658 h 6857994"/>
              <a:gd name="connsiteX520" fmla="*/ 11079703 w 12191989"/>
              <a:gd name="connsiteY520" fmla="*/ 403112 h 6857994"/>
              <a:gd name="connsiteX521" fmla="*/ 11072803 w 12191989"/>
              <a:gd name="connsiteY521" fmla="*/ 403985 h 6857994"/>
              <a:gd name="connsiteX522" fmla="*/ 11062235 w 12191989"/>
              <a:gd name="connsiteY522" fmla="*/ 390447 h 6857994"/>
              <a:gd name="connsiteX523" fmla="*/ 11062235 w 12191989"/>
              <a:gd name="connsiteY523" fmla="*/ 361976 h 6857994"/>
              <a:gd name="connsiteX524" fmla="*/ 11079703 w 12191989"/>
              <a:gd name="connsiteY524" fmla="*/ 361976 h 6857994"/>
              <a:gd name="connsiteX525" fmla="*/ 11079703 w 12191989"/>
              <a:gd name="connsiteY525" fmla="*/ 346342 h 6857994"/>
              <a:gd name="connsiteX526" fmla="*/ 11062235 w 12191989"/>
              <a:gd name="connsiteY526" fmla="*/ 346342 h 6857994"/>
              <a:gd name="connsiteX527" fmla="*/ 11062235 w 12191989"/>
              <a:gd name="connsiteY527" fmla="*/ 331320 h 6857994"/>
              <a:gd name="connsiteX528" fmla="*/ 10688257 w 12191989"/>
              <a:gd name="connsiteY528" fmla="*/ 331320 h 6857994"/>
              <a:gd name="connsiteX529" fmla="*/ 10687558 w 12191989"/>
              <a:gd name="connsiteY529" fmla="*/ 393242 h 6857994"/>
              <a:gd name="connsiteX530" fmla="*/ 10713497 w 12191989"/>
              <a:gd name="connsiteY530" fmla="*/ 420142 h 6857994"/>
              <a:gd name="connsiteX531" fmla="*/ 10726598 w 12191989"/>
              <a:gd name="connsiteY531" fmla="*/ 418658 h 6857994"/>
              <a:gd name="connsiteX532" fmla="*/ 10726598 w 12191989"/>
              <a:gd name="connsiteY532" fmla="*/ 403112 h 6857994"/>
              <a:gd name="connsiteX533" fmla="*/ 10719698 w 12191989"/>
              <a:gd name="connsiteY533" fmla="*/ 403985 h 6857994"/>
              <a:gd name="connsiteX534" fmla="*/ 10709130 w 12191989"/>
              <a:gd name="connsiteY534" fmla="*/ 390447 h 6857994"/>
              <a:gd name="connsiteX535" fmla="*/ 10709130 w 12191989"/>
              <a:gd name="connsiteY535" fmla="*/ 361976 h 6857994"/>
              <a:gd name="connsiteX536" fmla="*/ 10726598 w 12191989"/>
              <a:gd name="connsiteY536" fmla="*/ 361976 h 6857994"/>
              <a:gd name="connsiteX537" fmla="*/ 10726598 w 12191989"/>
              <a:gd name="connsiteY537" fmla="*/ 346342 h 6857994"/>
              <a:gd name="connsiteX538" fmla="*/ 10709130 w 12191989"/>
              <a:gd name="connsiteY538" fmla="*/ 346342 h 6857994"/>
              <a:gd name="connsiteX539" fmla="*/ 10709130 w 12191989"/>
              <a:gd name="connsiteY539" fmla="*/ 331320 h 6857994"/>
              <a:gd name="connsiteX540" fmla="*/ 10535154 w 12191989"/>
              <a:gd name="connsiteY540" fmla="*/ 331320 h 6857994"/>
              <a:gd name="connsiteX541" fmla="*/ 10535417 w 12191989"/>
              <a:gd name="connsiteY541" fmla="*/ 331320 h 6857994"/>
              <a:gd name="connsiteX542" fmla="*/ 10543189 w 12191989"/>
              <a:gd name="connsiteY542" fmla="*/ 357871 h 6857994"/>
              <a:gd name="connsiteX543" fmla="*/ 10549914 w 12191989"/>
              <a:gd name="connsiteY543" fmla="*/ 377521 h 6857994"/>
              <a:gd name="connsiteX544" fmla="*/ 10519870 w 12191989"/>
              <a:gd name="connsiteY544" fmla="*/ 377521 h 6857994"/>
              <a:gd name="connsiteX545" fmla="*/ 10526770 w 12191989"/>
              <a:gd name="connsiteY545" fmla="*/ 357871 h 6857994"/>
              <a:gd name="connsiteX546" fmla="*/ 10535154 w 12191989"/>
              <a:gd name="connsiteY546" fmla="*/ 331320 h 6857994"/>
              <a:gd name="connsiteX547" fmla="*/ 11344772 w 12191989"/>
              <a:gd name="connsiteY547" fmla="*/ 331319 h 6857994"/>
              <a:gd name="connsiteX548" fmla="*/ 11344073 w 12191989"/>
              <a:gd name="connsiteY548" fmla="*/ 393241 h 6857994"/>
              <a:gd name="connsiteX549" fmla="*/ 11370012 w 12191989"/>
              <a:gd name="connsiteY549" fmla="*/ 420141 h 6857994"/>
              <a:gd name="connsiteX550" fmla="*/ 11383113 w 12191989"/>
              <a:gd name="connsiteY550" fmla="*/ 418657 h 6857994"/>
              <a:gd name="connsiteX551" fmla="*/ 11383113 w 12191989"/>
              <a:gd name="connsiteY551" fmla="*/ 403111 h 6857994"/>
              <a:gd name="connsiteX552" fmla="*/ 11376213 w 12191989"/>
              <a:gd name="connsiteY552" fmla="*/ 403984 h 6857994"/>
              <a:gd name="connsiteX553" fmla="*/ 11365645 w 12191989"/>
              <a:gd name="connsiteY553" fmla="*/ 390446 h 6857994"/>
              <a:gd name="connsiteX554" fmla="*/ 11365645 w 12191989"/>
              <a:gd name="connsiteY554" fmla="*/ 361975 h 6857994"/>
              <a:gd name="connsiteX555" fmla="*/ 11383113 w 12191989"/>
              <a:gd name="connsiteY555" fmla="*/ 361975 h 6857994"/>
              <a:gd name="connsiteX556" fmla="*/ 11383113 w 12191989"/>
              <a:gd name="connsiteY556" fmla="*/ 346341 h 6857994"/>
              <a:gd name="connsiteX557" fmla="*/ 11365645 w 12191989"/>
              <a:gd name="connsiteY557" fmla="*/ 346341 h 6857994"/>
              <a:gd name="connsiteX558" fmla="*/ 11365645 w 12191989"/>
              <a:gd name="connsiteY558" fmla="*/ 331319 h 6857994"/>
              <a:gd name="connsiteX559" fmla="*/ 10029996 w 12191989"/>
              <a:gd name="connsiteY559" fmla="*/ 331141 h 6857994"/>
              <a:gd name="connsiteX560" fmla="*/ 10056285 w 12191989"/>
              <a:gd name="connsiteY560" fmla="*/ 331141 h 6857994"/>
              <a:gd name="connsiteX561" fmla="*/ 10070869 w 12191989"/>
              <a:gd name="connsiteY561" fmla="*/ 345727 h 6857994"/>
              <a:gd name="connsiteX562" fmla="*/ 10056983 w 12191989"/>
              <a:gd name="connsiteY562" fmla="*/ 360137 h 6857994"/>
              <a:gd name="connsiteX563" fmla="*/ 10030083 w 12191989"/>
              <a:gd name="connsiteY563" fmla="*/ 360137 h 6857994"/>
              <a:gd name="connsiteX564" fmla="*/ 10029996 w 12191989"/>
              <a:gd name="connsiteY564" fmla="*/ 360137 h 6857994"/>
              <a:gd name="connsiteX565" fmla="*/ 11594557 w 12191989"/>
              <a:gd name="connsiteY565" fmla="*/ 320840 h 6857994"/>
              <a:gd name="connsiteX566" fmla="*/ 11619623 w 12191989"/>
              <a:gd name="connsiteY566" fmla="*/ 419180 h 6857994"/>
              <a:gd name="connsiteX567" fmla="*/ 11649492 w 12191989"/>
              <a:gd name="connsiteY567" fmla="*/ 419180 h 6857994"/>
              <a:gd name="connsiteX568" fmla="*/ 11662156 w 12191989"/>
              <a:gd name="connsiteY568" fmla="*/ 356735 h 6857994"/>
              <a:gd name="connsiteX569" fmla="*/ 11665213 w 12191989"/>
              <a:gd name="connsiteY569" fmla="*/ 337172 h 6857994"/>
              <a:gd name="connsiteX570" fmla="*/ 11665475 w 12191989"/>
              <a:gd name="connsiteY570" fmla="*/ 337172 h 6857994"/>
              <a:gd name="connsiteX571" fmla="*/ 11668881 w 12191989"/>
              <a:gd name="connsiteY571" fmla="*/ 356735 h 6857994"/>
              <a:gd name="connsiteX572" fmla="*/ 11669055 w 12191989"/>
              <a:gd name="connsiteY572" fmla="*/ 356735 h 6857994"/>
              <a:gd name="connsiteX573" fmla="*/ 11682680 w 12191989"/>
              <a:gd name="connsiteY573" fmla="*/ 419180 h 6857994"/>
              <a:gd name="connsiteX574" fmla="*/ 11712375 w 12191989"/>
              <a:gd name="connsiteY574" fmla="*/ 419180 h 6857994"/>
              <a:gd name="connsiteX575" fmla="*/ 11736742 w 12191989"/>
              <a:gd name="connsiteY575" fmla="*/ 320840 h 6857994"/>
              <a:gd name="connsiteX576" fmla="*/ 11713947 w 12191989"/>
              <a:gd name="connsiteY576" fmla="*/ 320840 h 6857994"/>
              <a:gd name="connsiteX577" fmla="*/ 11702419 w 12191989"/>
              <a:gd name="connsiteY577" fmla="*/ 375338 h 6857994"/>
              <a:gd name="connsiteX578" fmla="*/ 11697877 w 12191989"/>
              <a:gd name="connsiteY578" fmla="*/ 401102 h 6857994"/>
              <a:gd name="connsiteX579" fmla="*/ 11697615 w 12191989"/>
              <a:gd name="connsiteY579" fmla="*/ 401102 h 6857994"/>
              <a:gd name="connsiteX580" fmla="*/ 11693073 w 12191989"/>
              <a:gd name="connsiteY580" fmla="*/ 375338 h 6857994"/>
              <a:gd name="connsiteX581" fmla="*/ 11681371 w 12191989"/>
              <a:gd name="connsiteY581" fmla="*/ 320840 h 6857994"/>
              <a:gd name="connsiteX582" fmla="*/ 11650628 w 12191989"/>
              <a:gd name="connsiteY582" fmla="*/ 320840 h 6857994"/>
              <a:gd name="connsiteX583" fmla="*/ 11639885 w 12191989"/>
              <a:gd name="connsiteY583" fmla="*/ 375338 h 6857994"/>
              <a:gd name="connsiteX584" fmla="*/ 11635518 w 12191989"/>
              <a:gd name="connsiteY584" fmla="*/ 401102 h 6857994"/>
              <a:gd name="connsiteX585" fmla="*/ 11635257 w 12191989"/>
              <a:gd name="connsiteY585" fmla="*/ 401102 h 6857994"/>
              <a:gd name="connsiteX586" fmla="*/ 11630714 w 12191989"/>
              <a:gd name="connsiteY586" fmla="*/ 375338 h 6857994"/>
              <a:gd name="connsiteX587" fmla="*/ 11618924 w 12191989"/>
              <a:gd name="connsiteY587" fmla="*/ 320840 h 6857994"/>
              <a:gd name="connsiteX588" fmla="*/ 11095162 w 12191989"/>
              <a:gd name="connsiteY588" fmla="*/ 315687 h 6857994"/>
              <a:gd name="connsiteX589" fmla="*/ 11095162 w 12191989"/>
              <a:gd name="connsiteY589" fmla="*/ 334116 h 6857994"/>
              <a:gd name="connsiteX590" fmla="*/ 11117433 w 12191989"/>
              <a:gd name="connsiteY590" fmla="*/ 334116 h 6857994"/>
              <a:gd name="connsiteX591" fmla="*/ 11117433 w 12191989"/>
              <a:gd name="connsiteY591" fmla="*/ 315687 h 6857994"/>
              <a:gd name="connsiteX592" fmla="*/ 11397262 w 12191989"/>
              <a:gd name="connsiteY592" fmla="*/ 312805 h 6857994"/>
              <a:gd name="connsiteX593" fmla="*/ 11397262 w 12191989"/>
              <a:gd name="connsiteY593" fmla="*/ 419269 h 6857994"/>
              <a:gd name="connsiteX594" fmla="*/ 11419271 w 12191989"/>
              <a:gd name="connsiteY594" fmla="*/ 419269 h 6857994"/>
              <a:gd name="connsiteX595" fmla="*/ 11419271 w 12191989"/>
              <a:gd name="connsiteY595" fmla="*/ 387129 h 6857994"/>
              <a:gd name="connsiteX596" fmla="*/ 11435777 w 12191989"/>
              <a:gd name="connsiteY596" fmla="*/ 362325 h 6857994"/>
              <a:gd name="connsiteX597" fmla="*/ 11448441 w 12191989"/>
              <a:gd name="connsiteY597" fmla="*/ 384421 h 6857994"/>
              <a:gd name="connsiteX598" fmla="*/ 11448441 w 12191989"/>
              <a:gd name="connsiteY598" fmla="*/ 419180 h 6857994"/>
              <a:gd name="connsiteX599" fmla="*/ 11470451 w 12191989"/>
              <a:gd name="connsiteY599" fmla="*/ 419180 h 6857994"/>
              <a:gd name="connsiteX600" fmla="*/ 11470451 w 12191989"/>
              <a:gd name="connsiteY600" fmla="*/ 376211 h 6857994"/>
              <a:gd name="connsiteX601" fmla="*/ 11442940 w 12191989"/>
              <a:gd name="connsiteY601" fmla="*/ 344508 h 6857994"/>
              <a:gd name="connsiteX602" fmla="*/ 11419009 w 12191989"/>
              <a:gd name="connsiteY602" fmla="*/ 358569 h 6857994"/>
              <a:gd name="connsiteX603" fmla="*/ 11418922 w 12191989"/>
              <a:gd name="connsiteY603" fmla="*/ 358743 h 6857994"/>
              <a:gd name="connsiteX604" fmla="*/ 11418659 w 12191989"/>
              <a:gd name="connsiteY604" fmla="*/ 358743 h 6857994"/>
              <a:gd name="connsiteX605" fmla="*/ 11419097 w 12191989"/>
              <a:gd name="connsiteY605" fmla="*/ 341975 h 6857994"/>
              <a:gd name="connsiteX606" fmla="*/ 11419097 w 12191989"/>
              <a:gd name="connsiteY606" fmla="*/ 312805 h 6857994"/>
              <a:gd name="connsiteX607" fmla="*/ 11973250 w 12191989"/>
              <a:gd name="connsiteY607" fmla="*/ 312804 h 6857994"/>
              <a:gd name="connsiteX608" fmla="*/ 11973250 w 12191989"/>
              <a:gd name="connsiteY608" fmla="*/ 336298 h 6857994"/>
              <a:gd name="connsiteX609" fmla="*/ 11973687 w 12191989"/>
              <a:gd name="connsiteY609" fmla="*/ 357434 h 6857994"/>
              <a:gd name="connsiteX610" fmla="*/ 11973425 w 12191989"/>
              <a:gd name="connsiteY610" fmla="*/ 357434 h 6857994"/>
              <a:gd name="connsiteX611" fmla="*/ 11950629 w 12191989"/>
              <a:gd name="connsiteY611" fmla="*/ 344595 h 6857994"/>
              <a:gd name="connsiteX612" fmla="*/ 11918402 w 12191989"/>
              <a:gd name="connsiteY612" fmla="*/ 382499 h 6857994"/>
              <a:gd name="connsiteX613" fmla="*/ 11950542 w 12191989"/>
              <a:gd name="connsiteY613" fmla="*/ 420927 h 6857994"/>
              <a:gd name="connsiteX614" fmla="*/ 11975172 w 12191989"/>
              <a:gd name="connsiteY614" fmla="*/ 406430 h 6857994"/>
              <a:gd name="connsiteX615" fmla="*/ 11975346 w 12191989"/>
              <a:gd name="connsiteY615" fmla="*/ 406430 h 6857994"/>
              <a:gd name="connsiteX616" fmla="*/ 11975608 w 12191989"/>
              <a:gd name="connsiteY616" fmla="*/ 419268 h 6857994"/>
              <a:gd name="connsiteX617" fmla="*/ 11996045 w 12191989"/>
              <a:gd name="connsiteY617" fmla="*/ 419268 h 6857994"/>
              <a:gd name="connsiteX618" fmla="*/ 11995346 w 12191989"/>
              <a:gd name="connsiteY618" fmla="*/ 397609 h 6857994"/>
              <a:gd name="connsiteX619" fmla="*/ 11995346 w 12191989"/>
              <a:gd name="connsiteY619" fmla="*/ 312804 h 6857994"/>
              <a:gd name="connsiteX620" fmla="*/ 10520744 w 12191989"/>
              <a:gd name="connsiteY620" fmla="*/ 312718 h 6857994"/>
              <a:gd name="connsiteX621" fmla="*/ 10479521 w 12191989"/>
              <a:gd name="connsiteY621" fmla="*/ 419182 h 6857994"/>
              <a:gd name="connsiteX622" fmla="*/ 10505023 w 12191989"/>
              <a:gd name="connsiteY622" fmla="*/ 419182 h 6857994"/>
              <a:gd name="connsiteX623" fmla="*/ 10513844 w 12191989"/>
              <a:gd name="connsiteY623" fmla="*/ 395513 h 6857994"/>
              <a:gd name="connsiteX624" fmla="*/ 10555941 w 12191989"/>
              <a:gd name="connsiteY624" fmla="*/ 395513 h 6857994"/>
              <a:gd name="connsiteX625" fmla="*/ 10564675 w 12191989"/>
              <a:gd name="connsiteY625" fmla="*/ 419182 h 6857994"/>
              <a:gd name="connsiteX626" fmla="*/ 10591837 w 12191989"/>
              <a:gd name="connsiteY626" fmla="*/ 419182 h 6857994"/>
              <a:gd name="connsiteX627" fmla="*/ 10550002 w 12191989"/>
              <a:gd name="connsiteY627" fmla="*/ 312718 h 6857994"/>
              <a:gd name="connsiteX628" fmla="*/ 11884953 w 12191989"/>
              <a:gd name="connsiteY628" fmla="*/ 312716 h 6857994"/>
              <a:gd name="connsiteX629" fmla="*/ 11884953 w 12191989"/>
              <a:gd name="connsiteY629" fmla="*/ 419180 h 6857994"/>
              <a:gd name="connsiteX630" fmla="*/ 11907224 w 12191989"/>
              <a:gd name="connsiteY630" fmla="*/ 419180 h 6857994"/>
              <a:gd name="connsiteX631" fmla="*/ 11907224 w 12191989"/>
              <a:gd name="connsiteY631" fmla="*/ 312716 h 6857994"/>
              <a:gd name="connsiteX632" fmla="*/ 9591650 w 12191989"/>
              <a:gd name="connsiteY632" fmla="*/ 312714 h 6857994"/>
              <a:gd name="connsiteX633" fmla="*/ 9591650 w 12191989"/>
              <a:gd name="connsiteY633" fmla="*/ 331142 h 6857994"/>
              <a:gd name="connsiteX634" fmla="*/ 9591650 w 12191989"/>
              <a:gd name="connsiteY634" fmla="*/ 400750 h 6857994"/>
              <a:gd name="connsiteX635" fmla="*/ 9591650 w 12191989"/>
              <a:gd name="connsiteY635" fmla="*/ 419266 h 6857994"/>
              <a:gd name="connsiteX636" fmla="*/ 9613134 w 12191989"/>
              <a:gd name="connsiteY636" fmla="*/ 419266 h 6857994"/>
              <a:gd name="connsiteX637" fmla="*/ 9672000 w 12191989"/>
              <a:gd name="connsiteY637" fmla="*/ 419266 h 6857994"/>
              <a:gd name="connsiteX638" fmla="*/ 9672000 w 12191989"/>
              <a:gd name="connsiteY638" fmla="*/ 400750 h 6857994"/>
              <a:gd name="connsiteX639" fmla="*/ 9613134 w 12191989"/>
              <a:gd name="connsiteY639" fmla="*/ 400750 h 6857994"/>
              <a:gd name="connsiteX640" fmla="*/ 9613134 w 12191989"/>
              <a:gd name="connsiteY640" fmla="*/ 372366 h 6857994"/>
              <a:gd name="connsiteX641" fmla="*/ 9664052 w 12191989"/>
              <a:gd name="connsiteY641" fmla="*/ 372366 h 6857994"/>
              <a:gd name="connsiteX642" fmla="*/ 9664052 w 12191989"/>
              <a:gd name="connsiteY642" fmla="*/ 353937 h 6857994"/>
              <a:gd name="connsiteX643" fmla="*/ 9613134 w 12191989"/>
              <a:gd name="connsiteY643" fmla="*/ 353937 h 6857994"/>
              <a:gd name="connsiteX644" fmla="*/ 9613134 w 12191989"/>
              <a:gd name="connsiteY644" fmla="*/ 331142 h 6857994"/>
              <a:gd name="connsiteX645" fmla="*/ 9670515 w 12191989"/>
              <a:gd name="connsiteY645" fmla="*/ 331142 h 6857994"/>
              <a:gd name="connsiteX646" fmla="*/ 9670515 w 12191989"/>
              <a:gd name="connsiteY646" fmla="*/ 312714 h 6857994"/>
              <a:gd name="connsiteX647" fmla="*/ 9613134 w 12191989"/>
              <a:gd name="connsiteY647" fmla="*/ 312714 h 6857994"/>
              <a:gd name="connsiteX648" fmla="*/ 10098294 w 12191989"/>
              <a:gd name="connsiteY648" fmla="*/ 312713 h 6857994"/>
              <a:gd name="connsiteX649" fmla="*/ 10098294 w 12191989"/>
              <a:gd name="connsiteY649" fmla="*/ 419265 h 6857994"/>
              <a:gd name="connsiteX650" fmla="*/ 10119780 w 12191989"/>
              <a:gd name="connsiteY650" fmla="*/ 419265 h 6857994"/>
              <a:gd name="connsiteX651" fmla="*/ 10119780 w 12191989"/>
              <a:gd name="connsiteY651" fmla="*/ 312713 h 6857994"/>
              <a:gd name="connsiteX652" fmla="*/ 9929296 w 12191989"/>
              <a:gd name="connsiteY652" fmla="*/ 312713 h 6857994"/>
              <a:gd name="connsiteX653" fmla="*/ 9929296 w 12191989"/>
              <a:gd name="connsiteY653" fmla="*/ 331141 h 6857994"/>
              <a:gd name="connsiteX654" fmla="*/ 9955322 w 12191989"/>
              <a:gd name="connsiteY654" fmla="*/ 331141 h 6857994"/>
              <a:gd name="connsiteX655" fmla="*/ 9955322 w 12191989"/>
              <a:gd name="connsiteY655" fmla="*/ 419265 h 6857994"/>
              <a:gd name="connsiteX656" fmla="*/ 9977244 w 12191989"/>
              <a:gd name="connsiteY656" fmla="*/ 419265 h 6857994"/>
              <a:gd name="connsiteX657" fmla="*/ 9977244 w 12191989"/>
              <a:gd name="connsiteY657" fmla="*/ 331141 h 6857994"/>
              <a:gd name="connsiteX658" fmla="*/ 10003183 w 12191989"/>
              <a:gd name="connsiteY658" fmla="*/ 331141 h 6857994"/>
              <a:gd name="connsiteX659" fmla="*/ 10003183 w 12191989"/>
              <a:gd name="connsiteY659" fmla="*/ 312713 h 6857994"/>
              <a:gd name="connsiteX660" fmla="*/ 9977244 w 12191989"/>
              <a:gd name="connsiteY660" fmla="*/ 312713 h 6857994"/>
              <a:gd name="connsiteX661" fmla="*/ 9955322 w 12191989"/>
              <a:gd name="connsiteY661" fmla="*/ 312713 h 6857994"/>
              <a:gd name="connsiteX662" fmla="*/ 9756892 w 12191989"/>
              <a:gd name="connsiteY662" fmla="*/ 312713 h 6857994"/>
              <a:gd name="connsiteX663" fmla="*/ 9756892 w 12191989"/>
              <a:gd name="connsiteY663" fmla="*/ 331141 h 6857994"/>
              <a:gd name="connsiteX664" fmla="*/ 9756892 w 12191989"/>
              <a:gd name="connsiteY664" fmla="*/ 400749 h 6857994"/>
              <a:gd name="connsiteX665" fmla="*/ 9756892 w 12191989"/>
              <a:gd name="connsiteY665" fmla="*/ 419265 h 6857994"/>
              <a:gd name="connsiteX666" fmla="*/ 9778464 w 12191989"/>
              <a:gd name="connsiteY666" fmla="*/ 419265 h 6857994"/>
              <a:gd name="connsiteX667" fmla="*/ 9837329 w 12191989"/>
              <a:gd name="connsiteY667" fmla="*/ 419265 h 6857994"/>
              <a:gd name="connsiteX668" fmla="*/ 9837329 w 12191989"/>
              <a:gd name="connsiteY668" fmla="*/ 400749 h 6857994"/>
              <a:gd name="connsiteX669" fmla="*/ 9778464 w 12191989"/>
              <a:gd name="connsiteY669" fmla="*/ 400749 h 6857994"/>
              <a:gd name="connsiteX670" fmla="*/ 9778464 w 12191989"/>
              <a:gd name="connsiteY670" fmla="*/ 372365 h 6857994"/>
              <a:gd name="connsiteX671" fmla="*/ 9829469 w 12191989"/>
              <a:gd name="connsiteY671" fmla="*/ 372365 h 6857994"/>
              <a:gd name="connsiteX672" fmla="*/ 9829469 w 12191989"/>
              <a:gd name="connsiteY672" fmla="*/ 353936 h 6857994"/>
              <a:gd name="connsiteX673" fmla="*/ 9778464 w 12191989"/>
              <a:gd name="connsiteY673" fmla="*/ 353936 h 6857994"/>
              <a:gd name="connsiteX674" fmla="*/ 9778464 w 12191989"/>
              <a:gd name="connsiteY674" fmla="*/ 331141 h 6857994"/>
              <a:gd name="connsiteX675" fmla="*/ 9835845 w 12191989"/>
              <a:gd name="connsiteY675" fmla="*/ 331141 h 6857994"/>
              <a:gd name="connsiteX676" fmla="*/ 9835845 w 12191989"/>
              <a:gd name="connsiteY676" fmla="*/ 312713 h 6857994"/>
              <a:gd name="connsiteX677" fmla="*/ 9778464 w 12191989"/>
              <a:gd name="connsiteY677" fmla="*/ 312713 h 6857994"/>
              <a:gd name="connsiteX678" fmla="*/ 9678987 w 12191989"/>
              <a:gd name="connsiteY678" fmla="*/ 312712 h 6857994"/>
              <a:gd name="connsiteX679" fmla="*/ 9678987 w 12191989"/>
              <a:gd name="connsiteY679" fmla="*/ 400749 h 6857994"/>
              <a:gd name="connsiteX680" fmla="*/ 9678987 w 12191989"/>
              <a:gd name="connsiteY680" fmla="*/ 419264 h 6857994"/>
              <a:gd name="connsiteX681" fmla="*/ 9700472 w 12191989"/>
              <a:gd name="connsiteY681" fmla="*/ 419264 h 6857994"/>
              <a:gd name="connsiteX682" fmla="*/ 9750779 w 12191989"/>
              <a:gd name="connsiteY682" fmla="*/ 419264 h 6857994"/>
              <a:gd name="connsiteX683" fmla="*/ 9750779 w 12191989"/>
              <a:gd name="connsiteY683" fmla="*/ 400749 h 6857994"/>
              <a:gd name="connsiteX684" fmla="*/ 9700472 w 12191989"/>
              <a:gd name="connsiteY684" fmla="*/ 400749 h 6857994"/>
              <a:gd name="connsiteX685" fmla="*/ 9700472 w 12191989"/>
              <a:gd name="connsiteY685" fmla="*/ 312712 h 6857994"/>
              <a:gd name="connsiteX686" fmla="*/ 10008511 w 12191989"/>
              <a:gd name="connsiteY686" fmla="*/ 312539 h 6857994"/>
              <a:gd name="connsiteX687" fmla="*/ 10008511 w 12191989"/>
              <a:gd name="connsiteY687" fmla="*/ 419178 h 6857994"/>
              <a:gd name="connsiteX688" fmla="*/ 10029996 w 12191989"/>
              <a:gd name="connsiteY688" fmla="*/ 419178 h 6857994"/>
              <a:gd name="connsiteX689" fmla="*/ 10029996 w 12191989"/>
              <a:gd name="connsiteY689" fmla="*/ 377255 h 6857994"/>
              <a:gd name="connsiteX690" fmla="*/ 10048599 w 12191989"/>
              <a:gd name="connsiteY690" fmla="*/ 377255 h 6857994"/>
              <a:gd name="connsiteX691" fmla="*/ 10067464 w 12191989"/>
              <a:gd name="connsiteY691" fmla="*/ 390531 h 6857994"/>
              <a:gd name="connsiteX692" fmla="*/ 10071131 w 12191989"/>
              <a:gd name="connsiteY692" fmla="*/ 419265 h 6857994"/>
              <a:gd name="connsiteX693" fmla="*/ 10092704 w 12191989"/>
              <a:gd name="connsiteY693" fmla="*/ 419265 h 6857994"/>
              <a:gd name="connsiteX694" fmla="*/ 10088948 w 12191989"/>
              <a:gd name="connsiteY694" fmla="*/ 391317 h 6857994"/>
              <a:gd name="connsiteX695" fmla="*/ 10073053 w 12191989"/>
              <a:gd name="connsiteY695" fmla="*/ 368347 h 6857994"/>
              <a:gd name="connsiteX696" fmla="*/ 10073053 w 12191989"/>
              <a:gd name="connsiteY696" fmla="*/ 368172 h 6857994"/>
              <a:gd name="connsiteX697" fmla="*/ 10091918 w 12191989"/>
              <a:gd name="connsiteY697" fmla="*/ 342320 h 6857994"/>
              <a:gd name="connsiteX698" fmla="*/ 10057333 w 12191989"/>
              <a:gd name="connsiteY698" fmla="*/ 312539 h 6857994"/>
              <a:gd name="connsiteX699" fmla="*/ 10029996 w 12191989"/>
              <a:gd name="connsiteY699" fmla="*/ 312539 h 6857994"/>
              <a:gd name="connsiteX700" fmla="*/ 10008686 w 12191989"/>
              <a:gd name="connsiteY700" fmla="*/ 312539 h 6857994"/>
              <a:gd name="connsiteX701" fmla="*/ 10173841 w 12191989"/>
              <a:gd name="connsiteY701" fmla="*/ 310266 h 6857994"/>
              <a:gd name="connsiteX702" fmla="*/ 10124845 w 12191989"/>
              <a:gd name="connsiteY702" fmla="*/ 365900 h 6857994"/>
              <a:gd name="connsiteX703" fmla="*/ 10173841 w 12191989"/>
              <a:gd name="connsiteY703" fmla="*/ 421534 h 6857994"/>
              <a:gd name="connsiteX704" fmla="*/ 10220042 w 12191989"/>
              <a:gd name="connsiteY704" fmla="*/ 383979 h 6857994"/>
              <a:gd name="connsiteX705" fmla="*/ 10197597 w 12191989"/>
              <a:gd name="connsiteY705" fmla="*/ 383979 h 6857994"/>
              <a:gd name="connsiteX706" fmla="*/ 10174452 w 12191989"/>
              <a:gd name="connsiteY706" fmla="*/ 402843 h 6857994"/>
              <a:gd name="connsiteX707" fmla="*/ 10174452 w 12191989"/>
              <a:gd name="connsiteY707" fmla="*/ 402756 h 6857994"/>
              <a:gd name="connsiteX708" fmla="*/ 10147028 w 12191989"/>
              <a:gd name="connsiteY708" fmla="*/ 365550 h 6857994"/>
              <a:gd name="connsiteX709" fmla="*/ 10174452 w 12191989"/>
              <a:gd name="connsiteY709" fmla="*/ 328257 h 6857994"/>
              <a:gd name="connsiteX710" fmla="*/ 10197597 w 12191989"/>
              <a:gd name="connsiteY710" fmla="*/ 346511 h 6857994"/>
              <a:gd name="connsiteX711" fmla="*/ 10219955 w 12191989"/>
              <a:gd name="connsiteY711" fmla="*/ 346511 h 6857994"/>
              <a:gd name="connsiteX712" fmla="*/ 10173841 w 12191989"/>
              <a:gd name="connsiteY712" fmla="*/ 310266 h 6857994"/>
              <a:gd name="connsiteX713" fmla="*/ 9885190 w 12191989"/>
              <a:gd name="connsiteY713" fmla="*/ 310266 h 6857994"/>
              <a:gd name="connsiteX714" fmla="*/ 9836194 w 12191989"/>
              <a:gd name="connsiteY714" fmla="*/ 365900 h 6857994"/>
              <a:gd name="connsiteX715" fmla="*/ 9885190 w 12191989"/>
              <a:gd name="connsiteY715" fmla="*/ 421534 h 6857994"/>
              <a:gd name="connsiteX716" fmla="*/ 9931217 w 12191989"/>
              <a:gd name="connsiteY716" fmla="*/ 383979 h 6857994"/>
              <a:gd name="connsiteX717" fmla="*/ 9908772 w 12191989"/>
              <a:gd name="connsiteY717" fmla="*/ 383979 h 6857994"/>
              <a:gd name="connsiteX718" fmla="*/ 9885802 w 12191989"/>
              <a:gd name="connsiteY718" fmla="*/ 402844 h 6857994"/>
              <a:gd name="connsiteX719" fmla="*/ 9885802 w 12191989"/>
              <a:gd name="connsiteY719" fmla="*/ 402756 h 6857994"/>
              <a:gd name="connsiteX720" fmla="*/ 9858290 w 12191989"/>
              <a:gd name="connsiteY720" fmla="*/ 365550 h 6857994"/>
              <a:gd name="connsiteX721" fmla="*/ 9885802 w 12191989"/>
              <a:gd name="connsiteY721" fmla="*/ 328257 h 6857994"/>
              <a:gd name="connsiteX722" fmla="*/ 9908772 w 12191989"/>
              <a:gd name="connsiteY722" fmla="*/ 346511 h 6857994"/>
              <a:gd name="connsiteX723" fmla="*/ 9931043 w 12191989"/>
              <a:gd name="connsiteY723" fmla="*/ 346511 h 6857994"/>
              <a:gd name="connsiteX724" fmla="*/ 9885190 w 12191989"/>
              <a:gd name="connsiteY724" fmla="*/ 310266 h 6857994"/>
              <a:gd name="connsiteX725" fmla="*/ 9365360 w 12191989"/>
              <a:gd name="connsiteY725" fmla="*/ 309220 h 6857994"/>
              <a:gd name="connsiteX726" fmla="*/ 9428855 w 12191989"/>
              <a:gd name="connsiteY726" fmla="*/ 419265 h 6857994"/>
              <a:gd name="connsiteX727" fmla="*/ 9556105 w 12191989"/>
              <a:gd name="connsiteY727" fmla="*/ 419265 h 6857994"/>
              <a:gd name="connsiteX728" fmla="*/ 9492523 w 12191989"/>
              <a:gd name="connsiteY728" fmla="*/ 309220 h 6857994"/>
              <a:gd name="connsiteX729" fmla="*/ 10012005 w 12191989"/>
              <a:gd name="connsiteY729" fmla="*/ 247821 h 6857994"/>
              <a:gd name="connsiteX730" fmla="*/ 10036896 w 12191989"/>
              <a:gd name="connsiteY730" fmla="*/ 247821 h 6857994"/>
              <a:gd name="connsiteX731" fmla="*/ 10053665 w 12191989"/>
              <a:gd name="connsiteY731" fmla="*/ 263368 h 6857994"/>
              <a:gd name="connsiteX732" fmla="*/ 10037158 w 12191989"/>
              <a:gd name="connsiteY732" fmla="*/ 278739 h 6857994"/>
              <a:gd name="connsiteX733" fmla="*/ 10012005 w 12191989"/>
              <a:gd name="connsiteY733" fmla="*/ 278739 h 6857994"/>
              <a:gd name="connsiteX734" fmla="*/ 10012005 w 12191989"/>
              <a:gd name="connsiteY734" fmla="*/ 247821 h 6857994"/>
              <a:gd name="connsiteX735" fmla="*/ 10012092 w 12191989"/>
              <a:gd name="connsiteY735" fmla="*/ 205201 h 6857994"/>
              <a:gd name="connsiteX736" fmla="*/ 10038731 w 12191989"/>
              <a:gd name="connsiteY736" fmla="*/ 205201 h 6857994"/>
              <a:gd name="connsiteX737" fmla="*/ 10051482 w 12191989"/>
              <a:gd name="connsiteY737" fmla="*/ 217864 h 6857994"/>
              <a:gd name="connsiteX738" fmla="*/ 10037595 w 12191989"/>
              <a:gd name="connsiteY738" fmla="*/ 231228 h 6857994"/>
              <a:gd name="connsiteX739" fmla="*/ 10012092 w 12191989"/>
              <a:gd name="connsiteY739" fmla="*/ 231228 h 6857994"/>
              <a:gd name="connsiteX740" fmla="*/ 10012092 w 12191989"/>
              <a:gd name="connsiteY740" fmla="*/ 205201 h 6857994"/>
              <a:gd name="connsiteX741" fmla="*/ 9591650 w 12191989"/>
              <a:gd name="connsiteY741" fmla="*/ 188434 h 6857994"/>
              <a:gd name="connsiteX742" fmla="*/ 9591650 w 12191989"/>
              <a:gd name="connsiteY742" fmla="*/ 294898 h 6857994"/>
              <a:gd name="connsiteX743" fmla="*/ 9611738 w 12191989"/>
              <a:gd name="connsiteY743" fmla="*/ 294898 h 6857994"/>
              <a:gd name="connsiteX744" fmla="*/ 9611738 w 12191989"/>
              <a:gd name="connsiteY744" fmla="*/ 215683 h 6857994"/>
              <a:gd name="connsiteX745" fmla="*/ 9634358 w 12191989"/>
              <a:gd name="connsiteY745" fmla="*/ 294898 h 6857994"/>
              <a:gd name="connsiteX746" fmla="*/ 9635231 w 12191989"/>
              <a:gd name="connsiteY746" fmla="*/ 294898 h 6857994"/>
              <a:gd name="connsiteX747" fmla="*/ 9654183 w 12191989"/>
              <a:gd name="connsiteY747" fmla="*/ 294898 h 6857994"/>
              <a:gd name="connsiteX748" fmla="*/ 9655057 w 12191989"/>
              <a:gd name="connsiteY748" fmla="*/ 294898 h 6857994"/>
              <a:gd name="connsiteX749" fmla="*/ 9677677 w 12191989"/>
              <a:gd name="connsiteY749" fmla="*/ 215683 h 6857994"/>
              <a:gd name="connsiteX750" fmla="*/ 9677677 w 12191989"/>
              <a:gd name="connsiteY750" fmla="*/ 294898 h 6857994"/>
              <a:gd name="connsiteX751" fmla="*/ 9697765 w 12191989"/>
              <a:gd name="connsiteY751" fmla="*/ 294898 h 6857994"/>
              <a:gd name="connsiteX752" fmla="*/ 9697765 w 12191989"/>
              <a:gd name="connsiteY752" fmla="*/ 188434 h 6857994"/>
              <a:gd name="connsiteX753" fmla="*/ 9686760 w 12191989"/>
              <a:gd name="connsiteY753" fmla="*/ 188434 h 6857994"/>
              <a:gd name="connsiteX754" fmla="*/ 9677328 w 12191989"/>
              <a:gd name="connsiteY754" fmla="*/ 188434 h 6857994"/>
              <a:gd name="connsiteX755" fmla="*/ 9667022 w 12191989"/>
              <a:gd name="connsiteY755" fmla="*/ 188434 h 6857994"/>
              <a:gd name="connsiteX756" fmla="*/ 9644751 w 12191989"/>
              <a:gd name="connsiteY756" fmla="*/ 263194 h 6857994"/>
              <a:gd name="connsiteX757" fmla="*/ 9622393 w 12191989"/>
              <a:gd name="connsiteY757" fmla="*/ 188434 h 6857994"/>
              <a:gd name="connsiteX758" fmla="*/ 9612087 w 12191989"/>
              <a:gd name="connsiteY758" fmla="*/ 188434 h 6857994"/>
              <a:gd name="connsiteX759" fmla="*/ 9602567 w 12191989"/>
              <a:gd name="connsiteY759" fmla="*/ 188434 h 6857994"/>
              <a:gd name="connsiteX760" fmla="*/ 10199343 w 12191989"/>
              <a:gd name="connsiteY760" fmla="*/ 188433 h 6857994"/>
              <a:gd name="connsiteX761" fmla="*/ 10199343 w 12191989"/>
              <a:gd name="connsiteY761" fmla="*/ 294897 h 6857994"/>
              <a:gd name="connsiteX762" fmla="*/ 10220478 w 12191989"/>
              <a:gd name="connsiteY762" fmla="*/ 294897 h 6857994"/>
              <a:gd name="connsiteX763" fmla="*/ 10220478 w 12191989"/>
              <a:gd name="connsiteY763" fmla="*/ 248434 h 6857994"/>
              <a:gd name="connsiteX764" fmla="*/ 10263012 w 12191989"/>
              <a:gd name="connsiteY764" fmla="*/ 248434 h 6857994"/>
              <a:gd name="connsiteX765" fmla="*/ 10263012 w 12191989"/>
              <a:gd name="connsiteY765" fmla="*/ 294897 h 6857994"/>
              <a:gd name="connsiteX766" fmla="*/ 10284148 w 12191989"/>
              <a:gd name="connsiteY766" fmla="*/ 294897 h 6857994"/>
              <a:gd name="connsiteX767" fmla="*/ 10284148 w 12191989"/>
              <a:gd name="connsiteY767" fmla="*/ 188433 h 6857994"/>
              <a:gd name="connsiteX768" fmla="*/ 10263012 w 12191989"/>
              <a:gd name="connsiteY768" fmla="*/ 188433 h 6857994"/>
              <a:gd name="connsiteX769" fmla="*/ 10263012 w 12191989"/>
              <a:gd name="connsiteY769" fmla="*/ 229918 h 6857994"/>
              <a:gd name="connsiteX770" fmla="*/ 10220478 w 12191989"/>
              <a:gd name="connsiteY770" fmla="*/ 229918 h 6857994"/>
              <a:gd name="connsiteX771" fmla="*/ 10220478 w 12191989"/>
              <a:gd name="connsiteY771" fmla="*/ 188433 h 6857994"/>
              <a:gd name="connsiteX772" fmla="*/ 9733486 w 12191989"/>
              <a:gd name="connsiteY772" fmla="*/ 188433 h 6857994"/>
              <a:gd name="connsiteX773" fmla="*/ 9733486 w 12191989"/>
              <a:gd name="connsiteY773" fmla="*/ 206773 h 6857994"/>
              <a:gd name="connsiteX774" fmla="*/ 9759600 w 12191989"/>
              <a:gd name="connsiteY774" fmla="*/ 206773 h 6857994"/>
              <a:gd name="connsiteX775" fmla="*/ 9759600 w 12191989"/>
              <a:gd name="connsiteY775" fmla="*/ 294897 h 6857994"/>
              <a:gd name="connsiteX776" fmla="*/ 9781434 w 12191989"/>
              <a:gd name="connsiteY776" fmla="*/ 294897 h 6857994"/>
              <a:gd name="connsiteX777" fmla="*/ 9781434 w 12191989"/>
              <a:gd name="connsiteY777" fmla="*/ 206773 h 6857994"/>
              <a:gd name="connsiteX778" fmla="*/ 9807548 w 12191989"/>
              <a:gd name="connsiteY778" fmla="*/ 206773 h 6857994"/>
              <a:gd name="connsiteX779" fmla="*/ 9807548 w 12191989"/>
              <a:gd name="connsiteY779" fmla="*/ 188433 h 6857994"/>
              <a:gd name="connsiteX780" fmla="*/ 9781434 w 12191989"/>
              <a:gd name="connsiteY780" fmla="*/ 188433 h 6857994"/>
              <a:gd name="connsiteX781" fmla="*/ 9759600 w 12191989"/>
              <a:gd name="connsiteY781" fmla="*/ 188433 h 6857994"/>
              <a:gd name="connsiteX782" fmla="*/ 10080739 w 12191989"/>
              <a:gd name="connsiteY782" fmla="*/ 188346 h 6857994"/>
              <a:gd name="connsiteX783" fmla="*/ 10080739 w 12191989"/>
              <a:gd name="connsiteY783" fmla="*/ 294898 h 6857994"/>
              <a:gd name="connsiteX784" fmla="*/ 10102225 w 12191989"/>
              <a:gd name="connsiteY784" fmla="*/ 294898 h 6857994"/>
              <a:gd name="connsiteX785" fmla="*/ 10102225 w 12191989"/>
              <a:gd name="connsiteY785" fmla="*/ 188346 h 6857994"/>
              <a:gd name="connsiteX786" fmla="*/ 10292969 w 12191989"/>
              <a:gd name="connsiteY786" fmla="*/ 188345 h 6857994"/>
              <a:gd name="connsiteX787" fmla="*/ 10292969 w 12191989"/>
              <a:gd name="connsiteY787" fmla="*/ 294897 h 6857994"/>
              <a:gd name="connsiteX788" fmla="*/ 10314455 w 12191989"/>
              <a:gd name="connsiteY788" fmla="*/ 294897 h 6857994"/>
              <a:gd name="connsiteX789" fmla="*/ 10314455 w 12191989"/>
              <a:gd name="connsiteY789" fmla="*/ 188345 h 6857994"/>
              <a:gd name="connsiteX790" fmla="*/ 9990695 w 12191989"/>
              <a:gd name="connsiteY790" fmla="*/ 188345 h 6857994"/>
              <a:gd name="connsiteX791" fmla="*/ 9990695 w 12191989"/>
              <a:gd name="connsiteY791" fmla="*/ 294897 h 6857994"/>
              <a:gd name="connsiteX792" fmla="*/ 9990782 w 12191989"/>
              <a:gd name="connsiteY792" fmla="*/ 294897 h 6857994"/>
              <a:gd name="connsiteX793" fmla="*/ 10012791 w 12191989"/>
              <a:gd name="connsiteY793" fmla="*/ 294897 h 6857994"/>
              <a:gd name="connsiteX794" fmla="*/ 10012878 w 12191989"/>
              <a:gd name="connsiteY794" fmla="*/ 294897 h 6857994"/>
              <a:gd name="connsiteX795" fmla="*/ 10043796 w 12191989"/>
              <a:gd name="connsiteY795" fmla="*/ 294897 h 6857994"/>
              <a:gd name="connsiteX796" fmla="*/ 10075762 w 12191989"/>
              <a:gd name="connsiteY796" fmla="*/ 266163 h 6857994"/>
              <a:gd name="connsiteX797" fmla="*/ 10055237 w 12191989"/>
              <a:gd name="connsiteY797" fmla="*/ 238215 h 6857994"/>
              <a:gd name="connsiteX798" fmla="*/ 10072093 w 12191989"/>
              <a:gd name="connsiteY798" fmla="*/ 214546 h 6857994"/>
              <a:gd name="connsiteX799" fmla="*/ 10038643 w 12191989"/>
              <a:gd name="connsiteY799" fmla="*/ 188345 h 6857994"/>
              <a:gd name="connsiteX800" fmla="*/ 10012791 w 12191989"/>
              <a:gd name="connsiteY800" fmla="*/ 188345 h 6857994"/>
              <a:gd name="connsiteX801" fmla="*/ 9990782 w 12191989"/>
              <a:gd name="connsiteY801" fmla="*/ 188345 h 6857994"/>
              <a:gd name="connsiteX802" fmla="*/ 9898641 w 12191989"/>
              <a:gd name="connsiteY802" fmla="*/ 188345 h 6857994"/>
              <a:gd name="connsiteX803" fmla="*/ 9898641 w 12191989"/>
              <a:gd name="connsiteY803" fmla="*/ 261621 h 6857994"/>
              <a:gd name="connsiteX804" fmla="*/ 9940738 w 12191989"/>
              <a:gd name="connsiteY804" fmla="*/ 297954 h 6857994"/>
              <a:gd name="connsiteX805" fmla="*/ 9983183 w 12191989"/>
              <a:gd name="connsiteY805" fmla="*/ 261621 h 6857994"/>
              <a:gd name="connsiteX806" fmla="*/ 9983183 w 12191989"/>
              <a:gd name="connsiteY806" fmla="*/ 188345 h 6857994"/>
              <a:gd name="connsiteX807" fmla="*/ 9961786 w 12191989"/>
              <a:gd name="connsiteY807" fmla="*/ 188345 h 6857994"/>
              <a:gd name="connsiteX808" fmla="*/ 9961786 w 12191989"/>
              <a:gd name="connsiteY808" fmla="*/ 263542 h 6857994"/>
              <a:gd name="connsiteX809" fmla="*/ 9940738 w 12191989"/>
              <a:gd name="connsiteY809" fmla="*/ 280311 h 6857994"/>
              <a:gd name="connsiteX810" fmla="*/ 9919777 w 12191989"/>
              <a:gd name="connsiteY810" fmla="*/ 263542 h 6857994"/>
              <a:gd name="connsiteX811" fmla="*/ 9919777 w 12191989"/>
              <a:gd name="connsiteY811" fmla="*/ 188345 h 6857994"/>
              <a:gd name="connsiteX812" fmla="*/ 9706324 w 12191989"/>
              <a:gd name="connsiteY812" fmla="*/ 188345 h 6857994"/>
              <a:gd name="connsiteX813" fmla="*/ 9706324 w 12191989"/>
              <a:gd name="connsiteY813" fmla="*/ 294897 h 6857994"/>
              <a:gd name="connsiteX814" fmla="*/ 9727809 w 12191989"/>
              <a:gd name="connsiteY814" fmla="*/ 294897 h 6857994"/>
              <a:gd name="connsiteX815" fmla="*/ 9727809 w 12191989"/>
              <a:gd name="connsiteY815" fmla="*/ 188345 h 6857994"/>
              <a:gd name="connsiteX816" fmla="*/ 10148950 w 12191989"/>
              <a:gd name="connsiteY816" fmla="*/ 185112 h 6857994"/>
              <a:gd name="connsiteX817" fmla="*/ 10109211 w 12191989"/>
              <a:gd name="connsiteY817" fmla="*/ 217427 h 6857994"/>
              <a:gd name="connsiteX818" fmla="*/ 10143796 w 12191989"/>
              <a:gd name="connsiteY818" fmla="*/ 249916 h 6857994"/>
              <a:gd name="connsiteX819" fmla="*/ 10143884 w 12191989"/>
              <a:gd name="connsiteY819" fmla="*/ 249916 h 6857994"/>
              <a:gd name="connsiteX820" fmla="*/ 10170872 w 12191989"/>
              <a:gd name="connsiteY820" fmla="*/ 266424 h 6857994"/>
              <a:gd name="connsiteX821" fmla="*/ 10149648 w 12191989"/>
              <a:gd name="connsiteY821" fmla="*/ 279961 h 6857994"/>
              <a:gd name="connsiteX822" fmla="*/ 10127989 w 12191989"/>
              <a:gd name="connsiteY822" fmla="*/ 262145 h 6857994"/>
              <a:gd name="connsiteX823" fmla="*/ 10107377 w 12191989"/>
              <a:gd name="connsiteY823" fmla="*/ 262145 h 6857994"/>
              <a:gd name="connsiteX824" fmla="*/ 10150609 w 12191989"/>
              <a:gd name="connsiteY824" fmla="*/ 297690 h 6857994"/>
              <a:gd name="connsiteX825" fmla="*/ 10193230 w 12191989"/>
              <a:gd name="connsiteY825" fmla="*/ 263891 h 6857994"/>
              <a:gd name="connsiteX826" fmla="*/ 10162661 w 12191989"/>
              <a:gd name="connsiteY826" fmla="*/ 232537 h 6857994"/>
              <a:gd name="connsiteX827" fmla="*/ 10130783 w 12191989"/>
              <a:gd name="connsiteY827" fmla="*/ 216030 h 6857994"/>
              <a:gd name="connsiteX828" fmla="*/ 10149823 w 12191989"/>
              <a:gd name="connsiteY828" fmla="*/ 202929 h 6857994"/>
              <a:gd name="connsiteX829" fmla="*/ 10169125 w 12191989"/>
              <a:gd name="connsiteY829" fmla="*/ 219262 h 6857994"/>
              <a:gd name="connsiteX830" fmla="*/ 10189998 w 12191989"/>
              <a:gd name="connsiteY830" fmla="*/ 219262 h 6857994"/>
              <a:gd name="connsiteX831" fmla="*/ 10148950 w 12191989"/>
              <a:gd name="connsiteY831" fmla="*/ 185112 h 6857994"/>
              <a:gd name="connsiteX832" fmla="*/ 9848684 w 12191989"/>
              <a:gd name="connsiteY832" fmla="*/ 185112 h 6857994"/>
              <a:gd name="connsiteX833" fmla="*/ 9808858 w 12191989"/>
              <a:gd name="connsiteY833" fmla="*/ 217427 h 6857994"/>
              <a:gd name="connsiteX834" fmla="*/ 9843531 w 12191989"/>
              <a:gd name="connsiteY834" fmla="*/ 249916 h 6857994"/>
              <a:gd name="connsiteX835" fmla="*/ 9870693 w 12191989"/>
              <a:gd name="connsiteY835" fmla="*/ 266424 h 6857994"/>
              <a:gd name="connsiteX836" fmla="*/ 9849382 w 12191989"/>
              <a:gd name="connsiteY836" fmla="*/ 279962 h 6857994"/>
              <a:gd name="connsiteX837" fmla="*/ 9827723 w 12191989"/>
              <a:gd name="connsiteY837" fmla="*/ 262145 h 6857994"/>
              <a:gd name="connsiteX838" fmla="*/ 9807024 w 12191989"/>
              <a:gd name="connsiteY838" fmla="*/ 262145 h 6857994"/>
              <a:gd name="connsiteX839" fmla="*/ 9850343 w 12191989"/>
              <a:gd name="connsiteY839" fmla="*/ 297690 h 6857994"/>
              <a:gd name="connsiteX840" fmla="*/ 9893051 w 12191989"/>
              <a:gd name="connsiteY840" fmla="*/ 263891 h 6857994"/>
              <a:gd name="connsiteX841" fmla="*/ 9862308 w 12191989"/>
              <a:gd name="connsiteY841" fmla="*/ 232537 h 6857994"/>
              <a:gd name="connsiteX842" fmla="*/ 9830518 w 12191989"/>
              <a:gd name="connsiteY842" fmla="*/ 216030 h 6857994"/>
              <a:gd name="connsiteX843" fmla="*/ 9849557 w 12191989"/>
              <a:gd name="connsiteY843" fmla="*/ 202929 h 6857994"/>
              <a:gd name="connsiteX844" fmla="*/ 9869033 w 12191989"/>
              <a:gd name="connsiteY844" fmla="*/ 219262 h 6857994"/>
              <a:gd name="connsiteX845" fmla="*/ 9889820 w 12191989"/>
              <a:gd name="connsiteY845" fmla="*/ 219262 h 6857994"/>
              <a:gd name="connsiteX846" fmla="*/ 9848684 w 12191989"/>
              <a:gd name="connsiteY846" fmla="*/ 185112 h 6857994"/>
              <a:gd name="connsiteX847" fmla="*/ 10393844 w 12191989"/>
              <a:gd name="connsiteY847" fmla="*/ 171142 h 6857994"/>
              <a:gd name="connsiteX848" fmla="*/ 10393844 w 12191989"/>
              <a:gd name="connsiteY848" fmla="*/ 552369 h 6857994"/>
              <a:gd name="connsiteX849" fmla="*/ 10400132 w 12191989"/>
              <a:gd name="connsiteY849" fmla="*/ 552369 h 6857994"/>
              <a:gd name="connsiteX850" fmla="*/ 10400132 w 12191989"/>
              <a:gd name="connsiteY850" fmla="*/ 171142 h 6857994"/>
              <a:gd name="connsiteX851" fmla="*/ 9365359 w 12191989"/>
              <a:gd name="connsiteY851" fmla="*/ 88781 h 6857994"/>
              <a:gd name="connsiteX852" fmla="*/ 9301690 w 12191989"/>
              <a:gd name="connsiteY852" fmla="*/ 199000 h 6857994"/>
              <a:gd name="connsiteX853" fmla="*/ 9365359 w 12191989"/>
              <a:gd name="connsiteY853" fmla="*/ 309220 h 6857994"/>
              <a:gd name="connsiteX854" fmla="*/ 9238109 w 12191989"/>
              <a:gd name="connsiteY854" fmla="*/ 309220 h 6857994"/>
              <a:gd name="connsiteX855" fmla="*/ 9174527 w 12191989"/>
              <a:gd name="connsiteY855" fmla="*/ 419265 h 6857994"/>
              <a:gd name="connsiteX856" fmla="*/ 9301690 w 12191989"/>
              <a:gd name="connsiteY856" fmla="*/ 419265 h 6857994"/>
              <a:gd name="connsiteX857" fmla="*/ 9365359 w 12191989"/>
              <a:gd name="connsiteY857" fmla="*/ 309220 h 6857994"/>
              <a:gd name="connsiteX858" fmla="*/ 9428853 w 12191989"/>
              <a:gd name="connsiteY858" fmla="*/ 199000 h 6857994"/>
              <a:gd name="connsiteX859" fmla="*/ 0 w 12191989"/>
              <a:gd name="connsiteY859" fmla="*/ 0 h 6857994"/>
              <a:gd name="connsiteX860" fmla="*/ 12191989 w 12191989"/>
              <a:gd name="connsiteY860" fmla="*/ 0 h 6857994"/>
              <a:gd name="connsiteX861" fmla="*/ 12191989 w 12191989"/>
              <a:gd name="connsiteY861" fmla="*/ 6857994 h 6857994"/>
              <a:gd name="connsiteX862" fmla="*/ 0 w 12191989"/>
              <a:gd name="connsiteY862"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Lst>
            <a:rect l="l" t="t" r="r" b="b"/>
            <a:pathLst>
              <a:path w="12191989" h="6857994">
                <a:moveTo>
                  <a:pt x="11606791" y="6581529"/>
                </a:moveTo>
                <a:lnTo>
                  <a:pt x="11606791" y="6852064"/>
                </a:lnTo>
                <a:lnTo>
                  <a:pt x="11617591" y="6852064"/>
                </a:lnTo>
                <a:lnTo>
                  <a:pt x="11617591" y="6581529"/>
                </a:lnTo>
                <a:close/>
                <a:moveTo>
                  <a:pt x="3929439" y="2903008"/>
                </a:moveTo>
                <a:lnTo>
                  <a:pt x="3929439" y="3929008"/>
                </a:lnTo>
                <a:lnTo>
                  <a:pt x="3940239" y="3929008"/>
                </a:lnTo>
                <a:lnTo>
                  <a:pt x="3940239" y="3489808"/>
                </a:lnTo>
                <a:lnTo>
                  <a:pt x="9268239" y="3489808"/>
                </a:lnTo>
                <a:lnTo>
                  <a:pt x="9268239" y="3471808"/>
                </a:lnTo>
                <a:lnTo>
                  <a:pt x="3940239" y="3471808"/>
                </a:lnTo>
                <a:lnTo>
                  <a:pt x="3940239" y="2903008"/>
                </a:lnTo>
                <a:close/>
                <a:moveTo>
                  <a:pt x="10229099" y="519141"/>
                </a:moveTo>
                <a:lnTo>
                  <a:pt x="10229038" y="519268"/>
                </a:lnTo>
                <a:lnTo>
                  <a:pt x="10229038" y="519180"/>
                </a:lnTo>
                <a:close/>
                <a:moveTo>
                  <a:pt x="10100625" y="519141"/>
                </a:moveTo>
                <a:lnTo>
                  <a:pt x="10100564" y="519268"/>
                </a:lnTo>
                <a:lnTo>
                  <a:pt x="10100564" y="519180"/>
                </a:lnTo>
                <a:close/>
                <a:moveTo>
                  <a:pt x="9519223" y="519141"/>
                </a:moveTo>
                <a:lnTo>
                  <a:pt x="9519160" y="519269"/>
                </a:lnTo>
                <a:lnTo>
                  <a:pt x="9519160" y="519181"/>
                </a:lnTo>
                <a:close/>
                <a:moveTo>
                  <a:pt x="9934024" y="519063"/>
                </a:moveTo>
                <a:lnTo>
                  <a:pt x="9933925" y="519268"/>
                </a:lnTo>
                <a:lnTo>
                  <a:pt x="9933838" y="519180"/>
                </a:lnTo>
                <a:close/>
                <a:moveTo>
                  <a:pt x="10033578" y="510097"/>
                </a:moveTo>
                <a:cubicBezTo>
                  <a:pt x="10043098" y="510097"/>
                  <a:pt x="10054190" y="512280"/>
                  <a:pt x="10053142" y="523459"/>
                </a:cubicBezTo>
                <a:cubicBezTo>
                  <a:pt x="10052268" y="533590"/>
                  <a:pt x="10043098" y="536472"/>
                  <a:pt x="10033839" y="536472"/>
                </a:cubicBezTo>
                <a:cubicBezTo>
                  <a:pt x="10031045" y="536472"/>
                  <a:pt x="10028425" y="536472"/>
                  <a:pt x="10025892" y="535599"/>
                </a:cubicBezTo>
                <a:close/>
                <a:moveTo>
                  <a:pt x="9530602" y="506430"/>
                </a:moveTo>
                <a:cubicBezTo>
                  <a:pt x="9532959" y="506430"/>
                  <a:pt x="9534007" y="507478"/>
                  <a:pt x="9533746" y="510010"/>
                </a:cubicBezTo>
                <a:lnTo>
                  <a:pt x="9519223" y="519141"/>
                </a:lnTo>
                <a:lnTo>
                  <a:pt x="9523265" y="510971"/>
                </a:lnTo>
                <a:cubicBezTo>
                  <a:pt x="9525536" y="507827"/>
                  <a:pt x="9527981" y="506430"/>
                  <a:pt x="9530602" y="506430"/>
                </a:cubicBezTo>
                <a:close/>
                <a:moveTo>
                  <a:pt x="10240392" y="506429"/>
                </a:moveTo>
                <a:cubicBezTo>
                  <a:pt x="10242924" y="506429"/>
                  <a:pt x="10243885" y="507477"/>
                  <a:pt x="10243623" y="510009"/>
                </a:cubicBezTo>
                <a:lnTo>
                  <a:pt x="10229099" y="519141"/>
                </a:lnTo>
                <a:lnTo>
                  <a:pt x="10233055" y="510970"/>
                </a:lnTo>
                <a:cubicBezTo>
                  <a:pt x="10235414" y="507826"/>
                  <a:pt x="10237859" y="506429"/>
                  <a:pt x="10240392" y="506429"/>
                </a:cubicBezTo>
                <a:close/>
                <a:moveTo>
                  <a:pt x="10111918" y="506429"/>
                </a:moveTo>
                <a:cubicBezTo>
                  <a:pt x="10114276" y="506429"/>
                  <a:pt x="10115411" y="507477"/>
                  <a:pt x="10115150" y="510010"/>
                </a:cubicBezTo>
                <a:lnTo>
                  <a:pt x="10100625" y="519141"/>
                </a:lnTo>
                <a:lnTo>
                  <a:pt x="10104581" y="510971"/>
                </a:lnTo>
                <a:cubicBezTo>
                  <a:pt x="10106940" y="507826"/>
                  <a:pt x="10109385" y="506429"/>
                  <a:pt x="10111918" y="506429"/>
                </a:cubicBezTo>
                <a:close/>
                <a:moveTo>
                  <a:pt x="9945280" y="506429"/>
                </a:moveTo>
                <a:cubicBezTo>
                  <a:pt x="9947637" y="506429"/>
                  <a:pt x="9948685" y="507477"/>
                  <a:pt x="9948424" y="510010"/>
                </a:cubicBezTo>
                <a:lnTo>
                  <a:pt x="9934024" y="519063"/>
                </a:lnTo>
                <a:lnTo>
                  <a:pt x="9937943" y="510971"/>
                </a:lnTo>
                <a:cubicBezTo>
                  <a:pt x="9940301" y="507827"/>
                  <a:pt x="9942659" y="506429"/>
                  <a:pt x="9945280" y="506429"/>
                </a:cubicBezTo>
                <a:close/>
                <a:moveTo>
                  <a:pt x="9707808" y="505818"/>
                </a:moveTo>
                <a:cubicBezTo>
                  <a:pt x="9710079" y="505818"/>
                  <a:pt x="9711739" y="506692"/>
                  <a:pt x="9712787" y="508613"/>
                </a:cubicBezTo>
                <a:cubicBezTo>
                  <a:pt x="9713573" y="510272"/>
                  <a:pt x="9713922" y="512281"/>
                  <a:pt x="9713573" y="514901"/>
                </a:cubicBezTo>
                <a:cubicBezTo>
                  <a:pt x="9713136" y="519705"/>
                  <a:pt x="9711564" y="524509"/>
                  <a:pt x="9709031" y="528788"/>
                </a:cubicBezTo>
                <a:lnTo>
                  <a:pt x="9709118" y="528875"/>
                </a:lnTo>
                <a:cubicBezTo>
                  <a:pt x="9705887" y="534115"/>
                  <a:pt x="9702219" y="536736"/>
                  <a:pt x="9697852" y="536736"/>
                </a:cubicBezTo>
                <a:cubicBezTo>
                  <a:pt x="9695669" y="536736"/>
                  <a:pt x="9694009" y="535688"/>
                  <a:pt x="9692961" y="533766"/>
                </a:cubicBezTo>
                <a:cubicBezTo>
                  <a:pt x="9692175" y="532106"/>
                  <a:pt x="9691826" y="530010"/>
                  <a:pt x="9692087" y="527565"/>
                </a:cubicBezTo>
                <a:cubicBezTo>
                  <a:pt x="9692525" y="522587"/>
                  <a:pt x="9694009" y="517871"/>
                  <a:pt x="9696542" y="513591"/>
                </a:cubicBezTo>
                <a:cubicBezTo>
                  <a:pt x="9699599" y="508351"/>
                  <a:pt x="9703355" y="505818"/>
                  <a:pt x="9707808" y="505818"/>
                </a:cubicBezTo>
                <a:close/>
                <a:moveTo>
                  <a:pt x="9473570" y="505556"/>
                </a:moveTo>
                <a:cubicBezTo>
                  <a:pt x="9475491" y="505556"/>
                  <a:pt x="9477151" y="505993"/>
                  <a:pt x="9478810" y="506779"/>
                </a:cubicBezTo>
                <a:lnTo>
                  <a:pt x="9477326" y="512019"/>
                </a:lnTo>
                <a:lnTo>
                  <a:pt x="9477238" y="512019"/>
                </a:lnTo>
                <a:cubicBezTo>
                  <a:pt x="9476627" y="514115"/>
                  <a:pt x="9473919" y="517783"/>
                  <a:pt x="9468853" y="523199"/>
                </a:cubicBezTo>
                <a:cubicBezTo>
                  <a:pt x="9463788" y="528613"/>
                  <a:pt x="9460469" y="531321"/>
                  <a:pt x="9458810" y="531321"/>
                </a:cubicBezTo>
                <a:cubicBezTo>
                  <a:pt x="9457762" y="531321"/>
                  <a:pt x="9457412" y="530360"/>
                  <a:pt x="9457587" y="528439"/>
                </a:cubicBezTo>
                <a:cubicBezTo>
                  <a:pt x="9458023" y="523984"/>
                  <a:pt x="9459683" y="519181"/>
                  <a:pt x="9462565" y="514203"/>
                </a:cubicBezTo>
                <a:cubicBezTo>
                  <a:pt x="9465971" y="508351"/>
                  <a:pt x="9469640" y="505556"/>
                  <a:pt x="9473570" y="505556"/>
                </a:cubicBezTo>
                <a:close/>
                <a:moveTo>
                  <a:pt x="9353918" y="505556"/>
                </a:moveTo>
                <a:cubicBezTo>
                  <a:pt x="9355665" y="505556"/>
                  <a:pt x="9357499" y="506081"/>
                  <a:pt x="9359333" y="507042"/>
                </a:cubicBezTo>
                <a:lnTo>
                  <a:pt x="9357849" y="512020"/>
                </a:lnTo>
                <a:cubicBezTo>
                  <a:pt x="9357324" y="513679"/>
                  <a:pt x="9354529" y="517260"/>
                  <a:pt x="9349551" y="523112"/>
                </a:cubicBezTo>
                <a:cubicBezTo>
                  <a:pt x="9344224" y="529312"/>
                  <a:pt x="9340730" y="532369"/>
                  <a:pt x="9338896" y="532369"/>
                </a:cubicBezTo>
                <a:cubicBezTo>
                  <a:pt x="9337586" y="532369"/>
                  <a:pt x="9337062" y="531321"/>
                  <a:pt x="9337237" y="529487"/>
                </a:cubicBezTo>
                <a:cubicBezTo>
                  <a:pt x="9337673" y="524770"/>
                  <a:pt x="9339420" y="519792"/>
                  <a:pt x="9342389" y="514639"/>
                </a:cubicBezTo>
                <a:cubicBezTo>
                  <a:pt x="9345971" y="508439"/>
                  <a:pt x="9349814" y="505556"/>
                  <a:pt x="9353918" y="505556"/>
                </a:cubicBezTo>
                <a:close/>
                <a:moveTo>
                  <a:pt x="9537413" y="495338"/>
                </a:moveTo>
                <a:cubicBezTo>
                  <a:pt x="9528330" y="495338"/>
                  <a:pt x="9519946" y="498831"/>
                  <a:pt x="9512435" y="505905"/>
                </a:cubicBezTo>
                <a:cubicBezTo>
                  <a:pt x="9504750" y="512805"/>
                  <a:pt x="9500558" y="521102"/>
                  <a:pt x="9499684" y="530535"/>
                </a:cubicBezTo>
                <a:cubicBezTo>
                  <a:pt x="9499160" y="535949"/>
                  <a:pt x="9500907" y="540141"/>
                  <a:pt x="9504837" y="543286"/>
                </a:cubicBezTo>
                <a:cubicBezTo>
                  <a:pt x="9508330" y="545906"/>
                  <a:pt x="9512872" y="547217"/>
                  <a:pt x="9518462" y="547217"/>
                </a:cubicBezTo>
                <a:cubicBezTo>
                  <a:pt x="9525361" y="547217"/>
                  <a:pt x="9533920" y="545382"/>
                  <a:pt x="9544226" y="541801"/>
                </a:cubicBezTo>
                <a:lnTo>
                  <a:pt x="9547894" y="529487"/>
                </a:lnTo>
                <a:cubicBezTo>
                  <a:pt x="9538898" y="534378"/>
                  <a:pt x="9531300" y="536736"/>
                  <a:pt x="9525099" y="536736"/>
                </a:cubicBezTo>
                <a:lnTo>
                  <a:pt x="9525099" y="536648"/>
                </a:lnTo>
                <a:cubicBezTo>
                  <a:pt x="9519334" y="536648"/>
                  <a:pt x="9516628" y="534203"/>
                  <a:pt x="9517064" y="529137"/>
                </a:cubicBezTo>
                <a:cubicBezTo>
                  <a:pt x="9524051" y="529137"/>
                  <a:pt x="9530863" y="527128"/>
                  <a:pt x="9537413" y="523199"/>
                </a:cubicBezTo>
                <a:cubicBezTo>
                  <a:pt x="9544837" y="518570"/>
                  <a:pt x="9548855" y="512980"/>
                  <a:pt x="9549466" y="506430"/>
                </a:cubicBezTo>
                <a:cubicBezTo>
                  <a:pt x="9549816" y="502849"/>
                  <a:pt x="9548680" y="500141"/>
                  <a:pt x="9546147" y="498045"/>
                </a:cubicBezTo>
                <a:cubicBezTo>
                  <a:pt x="9543789" y="496211"/>
                  <a:pt x="9540907" y="495338"/>
                  <a:pt x="9537413" y="495338"/>
                </a:cubicBezTo>
                <a:close/>
                <a:moveTo>
                  <a:pt x="9487369" y="495338"/>
                </a:moveTo>
                <a:cubicBezTo>
                  <a:pt x="9482217" y="495338"/>
                  <a:pt x="9475840" y="495600"/>
                  <a:pt x="9475840" y="495600"/>
                </a:cubicBezTo>
                <a:cubicBezTo>
                  <a:pt x="9467544" y="495600"/>
                  <a:pt x="9459596" y="499705"/>
                  <a:pt x="9452084" y="507914"/>
                </a:cubicBezTo>
                <a:cubicBezTo>
                  <a:pt x="9444836" y="515862"/>
                  <a:pt x="9440818" y="524334"/>
                  <a:pt x="9440032" y="532893"/>
                </a:cubicBezTo>
                <a:cubicBezTo>
                  <a:pt x="9439683" y="536474"/>
                  <a:pt x="9440381" y="539530"/>
                  <a:pt x="9442128" y="541888"/>
                </a:cubicBezTo>
                <a:cubicBezTo>
                  <a:pt x="9443962" y="544509"/>
                  <a:pt x="9446670" y="545731"/>
                  <a:pt x="9450163" y="545731"/>
                </a:cubicBezTo>
                <a:cubicBezTo>
                  <a:pt x="9458548" y="545731"/>
                  <a:pt x="9466408" y="538919"/>
                  <a:pt x="9473744" y="525207"/>
                </a:cubicBezTo>
                <a:lnTo>
                  <a:pt x="9475840" y="525207"/>
                </a:lnTo>
                <a:cubicBezTo>
                  <a:pt x="9474705" y="529051"/>
                  <a:pt x="9473395" y="532980"/>
                  <a:pt x="9472172" y="536823"/>
                </a:cubicBezTo>
                <a:cubicBezTo>
                  <a:pt x="9470426" y="542326"/>
                  <a:pt x="9468592" y="546518"/>
                  <a:pt x="9466583" y="549225"/>
                </a:cubicBezTo>
                <a:cubicBezTo>
                  <a:pt x="9463788" y="553155"/>
                  <a:pt x="9460469" y="554990"/>
                  <a:pt x="9456626" y="554990"/>
                </a:cubicBezTo>
                <a:cubicBezTo>
                  <a:pt x="9450862" y="554990"/>
                  <a:pt x="9443962" y="552981"/>
                  <a:pt x="9435927" y="548875"/>
                </a:cubicBezTo>
                <a:lnTo>
                  <a:pt x="9437237" y="563635"/>
                </a:lnTo>
                <a:cubicBezTo>
                  <a:pt x="9441430" y="564596"/>
                  <a:pt x="9446757" y="565033"/>
                  <a:pt x="9453045" y="565033"/>
                </a:cubicBezTo>
                <a:cubicBezTo>
                  <a:pt x="9470949" y="565033"/>
                  <a:pt x="9482041" y="557609"/>
                  <a:pt x="9486147" y="542937"/>
                </a:cubicBezTo>
                <a:lnTo>
                  <a:pt x="9499422" y="495338"/>
                </a:lnTo>
                <a:cubicBezTo>
                  <a:pt x="9496801" y="495338"/>
                  <a:pt x="9492784" y="495425"/>
                  <a:pt x="9487544" y="495338"/>
                </a:cubicBezTo>
                <a:close/>
                <a:moveTo>
                  <a:pt x="10247379" y="495337"/>
                </a:moveTo>
                <a:cubicBezTo>
                  <a:pt x="10238295" y="495337"/>
                  <a:pt x="10229911" y="498830"/>
                  <a:pt x="10222400" y="505904"/>
                </a:cubicBezTo>
                <a:cubicBezTo>
                  <a:pt x="10214802" y="512804"/>
                  <a:pt x="10210523" y="521101"/>
                  <a:pt x="10209649" y="530534"/>
                </a:cubicBezTo>
                <a:cubicBezTo>
                  <a:pt x="10209125" y="535948"/>
                  <a:pt x="10210872" y="540141"/>
                  <a:pt x="10214802" y="543285"/>
                </a:cubicBezTo>
                <a:cubicBezTo>
                  <a:pt x="10218295" y="545905"/>
                  <a:pt x="10222750" y="547216"/>
                  <a:pt x="10228339" y="547216"/>
                </a:cubicBezTo>
                <a:cubicBezTo>
                  <a:pt x="10235151" y="547216"/>
                  <a:pt x="10243798" y="545381"/>
                  <a:pt x="10254103" y="541800"/>
                </a:cubicBezTo>
                <a:lnTo>
                  <a:pt x="10257685" y="529486"/>
                </a:lnTo>
                <a:cubicBezTo>
                  <a:pt x="10248689" y="534377"/>
                  <a:pt x="10241003" y="536735"/>
                  <a:pt x="10234889" y="536735"/>
                </a:cubicBezTo>
                <a:lnTo>
                  <a:pt x="10234977" y="536647"/>
                </a:lnTo>
                <a:cubicBezTo>
                  <a:pt x="10229212" y="536647"/>
                  <a:pt x="10226505" y="534202"/>
                  <a:pt x="10226942" y="529137"/>
                </a:cubicBezTo>
                <a:cubicBezTo>
                  <a:pt x="10233929" y="529137"/>
                  <a:pt x="10240741" y="527128"/>
                  <a:pt x="10247291" y="523198"/>
                </a:cubicBezTo>
                <a:cubicBezTo>
                  <a:pt x="10254715" y="518569"/>
                  <a:pt x="10258820" y="512979"/>
                  <a:pt x="10259432" y="506429"/>
                </a:cubicBezTo>
                <a:cubicBezTo>
                  <a:pt x="10259781" y="502848"/>
                  <a:pt x="10258645" y="500140"/>
                  <a:pt x="10256112" y="498044"/>
                </a:cubicBezTo>
                <a:cubicBezTo>
                  <a:pt x="10253842" y="496211"/>
                  <a:pt x="10250872" y="495337"/>
                  <a:pt x="10247379" y="495337"/>
                </a:cubicBezTo>
                <a:close/>
                <a:moveTo>
                  <a:pt x="10118905" y="495337"/>
                </a:moveTo>
                <a:cubicBezTo>
                  <a:pt x="10109734" y="495337"/>
                  <a:pt x="10101437" y="498831"/>
                  <a:pt x="10093751" y="505905"/>
                </a:cubicBezTo>
                <a:cubicBezTo>
                  <a:pt x="10086241" y="512804"/>
                  <a:pt x="10081962" y="521102"/>
                  <a:pt x="10081088" y="530534"/>
                </a:cubicBezTo>
                <a:cubicBezTo>
                  <a:pt x="10080564" y="535949"/>
                  <a:pt x="10082311" y="540141"/>
                  <a:pt x="10086241" y="543285"/>
                </a:cubicBezTo>
                <a:cubicBezTo>
                  <a:pt x="10089734" y="545906"/>
                  <a:pt x="10094276" y="547216"/>
                  <a:pt x="10099778" y="547216"/>
                </a:cubicBezTo>
                <a:cubicBezTo>
                  <a:pt x="10106765" y="547216"/>
                  <a:pt x="10115324" y="545381"/>
                  <a:pt x="10125542" y="541801"/>
                </a:cubicBezTo>
                <a:lnTo>
                  <a:pt x="10129211" y="529486"/>
                </a:lnTo>
                <a:cubicBezTo>
                  <a:pt x="10120215" y="534377"/>
                  <a:pt x="10112529" y="536735"/>
                  <a:pt x="10106416" y="536735"/>
                </a:cubicBezTo>
                <a:lnTo>
                  <a:pt x="10106503" y="536647"/>
                </a:lnTo>
                <a:cubicBezTo>
                  <a:pt x="10100738" y="536647"/>
                  <a:pt x="10098032" y="534202"/>
                  <a:pt x="10098468" y="529137"/>
                </a:cubicBezTo>
                <a:cubicBezTo>
                  <a:pt x="10105455" y="529137"/>
                  <a:pt x="10112267" y="527128"/>
                  <a:pt x="10118818" y="523198"/>
                </a:cubicBezTo>
                <a:cubicBezTo>
                  <a:pt x="10126154" y="518569"/>
                  <a:pt x="10130259" y="512980"/>
                  <a:pt x="10130871" y="506429"/>
                </a:cubicBezTo>
                <a:cubicBezTo>
                  <a:pt x="10131220" y="502848"/>
                  <a:pt x="10130084" y="500141"/>
                  <a:pt x="10127551" y="498045"/>
                </a:cubicBezTo>
                <a:cubicBezTo>
                  <a:pt x="10125281" y="496211"/>
                  <a:pt x="10122398" y="495337"/>
                  <a:pt x="10118905" y="495337"/>
                </a:cubicBezTo>
                <a:close/>
                <a:moveTo>
                  <a:pt x="9952092" y="495337"/>
                </a:moveTo>
                <a:cubicBezTo>
                  <a:pt x="9943009" y="495337"/>
                  <a:pt x="9934624" y="498831"/>
                  <a:pt x="9927114" y="505905"/>
                </a:cubicBezTo>
                <a:cubicBezTo>
                  <a:pt x="9919428" y="512805"/>
                  <a:pt x="9915236" y="521102"/>
                  <a:pt x="9914362" y="530534"/>
                </a:cubicBezTo>
                <a:cubicBezTo>
                  <a:pt x="9913838" y="535949"/>
                  <a:pt x="9915585" y="540141"/>
                  <a:pt x="9919515" y="543285"/>
                </a:cubicBezTo>
                <a:cubicBezTo>
                  <a:pt x="9923096" y="545906"/>
                  <a:pt x="9927637" y="547216"/>
                  <a:pt x="9933140" y="547216"/>
                </a:cubicBezTo>
                <a:cubicBezTo>
                  <a:pt x="9940040" y="547216"/>
                  <a:pt x="9948685" y="545381"/>
                  <a:pt x="9958992" y="541801"/>
                </a:cubicBezTo>
                <a:lnTo>
                  <a:pt x="9962572" y="529486"/>
                </a:lnTo>
                <a:cubicBezTo>
                  <a:pt x="9953576" y="534377"/>
                  <a:pt x="9945979" y="536736"/>
                  <a:pt x="9939777" y="536736"/>
                </a:cubicBezTo>
                <a:lnTo>
                  <a:pt x="9939777" y="536647"/>
                </a:lnTo>
                <a:cubicBezTo>
                  <a:pt x="9934013" y="536647"/>
                  <a:pt x="9931306" y="534202"/>
                  <a:pt x="9931655" y="529137"/>
                </a:cubicBezTo>
                <a:cubicBezTo>
                  <a:pt x="9938642" y="529137"/>
                  <a:pt x="9945541" y="527128"/>
                  <a:pt x="9952092" y="523198"/>
                </a:cubicBezTo>
                <a:cubicBezTo>
                  <a:pt x="9959428" y="518569"/>
                  <a:pt x="9963533" y="512980"/>
                  <a:pt x="9964145" y="506429"/>
                </a:cubicBezTo>
                <a:cubicBezTo>
                  <a:pt x="9964494" y="502848"/>
                  <a:pt x="9963446" y="500141"/>
                  <a:pt x="9960826" y="498045"/>
                </a:cubicBezTo>
                <a:cubicBezTo>
                  <a:pt x="9958467" y="496211"/>
                  <a:pt x="9955498" y="495337"/>
                  <a:pt x="9952092" y="495337"/>
                </a:cubicBezTo>
                <a:close/>
                <a:moveTo>
                  <a:pt x="10311659" y="495336"/>
                </a:moveTo>
                <a:cubicBezTo>
                  <a:pt x="10307117" y="495336"/>
                  <a:pt x="10302226" y="497869"/>
                  <a:pt x="10297160" y="503196"/>
                </a:cubicBezTo>
                <a:cubicBezTo>
                  <a:pt x="10293143" y="507214"/>
                  <a:pt x="10289824" y="511930"/>
                  <a:pt x="10286942" y="517433"/>
                </a:cubicBezTo>
                <a:lnTo>
                  <a:pt x="10285807" y="517433"/>
                </a:lnTo>
                <a:cubicBezTo>
                  <a:pt x="10285807" y="517433"/>
                  <a:pt x="10293143" y="495599"/>
                  <a:pt x="10293143" y="495599"/>
                </a:cubicBezTo>
                <a:lnTo>
                  <a:pt x="10276113" y="495599"/>
                </a:lnTo>
                <a:cubicBezTo>
                  <a:pt x="10276113" y="495599"/>
                  <a:pt x="10261440" y="546166"/>
                  <a:pt x="10261440" y="546166"/>
                </a:cubicBezTo>
                <a:lnTo>
                  <a:pt x="10278645" y="546166"/>
                </a:lnTo>
                <a:lnTo>
                  <a:pt x="10283099" y="530708"/>
                </a:lnTo>
                <a:cubicBezTo>
                  <a:pt x="10284060" y="527651"/>
                  <a:pt x="10287029" y="523547"/>
                  <a:pt x="10292095" y="518481"/>
                </a:cubicBezTo>
                <a:cubicBezTo>
                  <a:pt x="10297423" y="513153"/>
                  <a:pt x="10301528" y="510534"/>
                  <a:pt x="10304585" y="510534"/>
                </a:cubicBezTo>
                <a:cubicBezTo>
                  <a:pt x="10305807" y="510534"/>
                  <a:pt x="10308515" y="510882"/>
                  <a:pt x="10309824" y="511669"/>
                </a:cubicBezTo>
                <a:lnTo>
                  <a:pt x="10315676" y="496384"/>
                </a:lnTo>
                <a:lnTo>
                  <a:pt x="10315851" y="496384"/>
                </a:lnTo>
                <a:cubicBezTo>
                  <a:pt x="10314803" y="495686"/>
                  <a:pt x="10313318" y="495336"/>
                  <a:pt x="10311659" y="495336"/>
                </a:cubicBezTo>
                <a:close/>
                <a:moveTo>
                  <a:pt x="9782307" y="495251"/>
                </a:moveTo>
                <a:cubicBezTo>
                  <a:pt x="9777854" y="495251"/>
                  <a:pt x="9773050" y="497783"/>
                  <a:pt x="9767897" y="503111"/>
                </a:cubicBezTo>
                <a:cubicBezTo>
                  <a:pt x="9764054" y="507129"/>
                  <a:pt x="9760560" y="511844"/>
                  <a:pt x="9757679" y="517347"/>
                </a:cubicBezTo>
                <a:lnTo>
                  <a:pt x="9756630" y="517347"/>
                </a:lnTo>
                <a:cubicBezTo>
                  <a:pt x="9756630" y="517347"/>
                  <a:pt x="9764141" y="495425"/>
                  <a:pt x="9764141" y="495425"/>
                </a:cubicBezTo>
                <a:lnTo>
                  <a:pt x="9747111" y="495425"/>
                </a:lnTo>
                <a:cubicBezTo>
                  <a:pt x="9747111" y="495425"/>
                  <a:pt x="9732263" y="546080"/>
                  <a:pt x="9732263" y="546080"/>
                </a:cubicBezTo>
                <a:lnTo>
                  <a:pt x="9749556" y="546080"/>
                </a:lnTo>
                <a:lnTo>
                  <a:pt x="9754010" y="530535"/>
                </a:lnTo>
                <a:cubicBezTo>
                  <a:pt x="9754971" y="527478"/>
                  <a:pt x="9757941" y="523460"/>
                  <a:pt x="9763006" y="518308"/>
                </a:cubicBezTo>
                <a:cubicBezTo>
                  <a:pt x="9768333" y="512979"/>
                  <a:pt x="9772525" y="510360"/>
                  <a:pt x="9775495" y="510360"/>
                </a:cubicBezTo>
                <a:cubicBezTo>
                  <a:pt x="9776805" y="510360"/>
                  <a:pt x="9779949" y="510360"/>
                  <a:pt x="9781085" y="511495"/>
                </a:cubicBezTo>
                <a:lnTo>
                  <a:pt x="9785976" y="495862"/>
                </a:lnTo>
                <a:lnTo>
                  <a:pt x="9785976" y="495774"/>
                </a:lnTo>
                <a:cubicBezTo>
                  <a:pt x="9784841" y="495163"/>
                  <a:pt x="9783967" y="495251"/>
                  <a:pt x="9782307" y="495251"/>
                </a:cubicBezTo>
                <a:close/>
                <a:moveTo>
                  <a:pt x="9380032" y="495251"/>
                </a:moveTo>
                <a:cubicBezTo>
                  <a:pt x="9377237" y="495251"/>
                  <a:pt x="9373831" y="495425"/>
                  <a:pt x="9368154" y="495338"/>
                </a:cubicBezTo>
                <a:cubicBezTo>
                  <a:pt x="9362827" y="495251"/>
                  <a:pt x="9358198" y="495513"/>
                  <a:pt x="9355403" y="495513"/>
                </a:cubicBezTo>
                <a:cubicBezTo>
                  <a:pt x="9347281" y="495513"/>
                  <a:pt x="9339333" y="499967"/>
                  <a:pt x="9331734" y="508788"/>
                </a:cubicBezTo>
                <a:cubicBezTo>
                  <a:pt x="9324485" y="517173"/>
                  <a:pt x="9320381" y="525644"/>
                  <a:pt x="9319594" y="534203"/>
                </a:cubicBezTo>
                <a:cubicBezTo>
                  <a:pt x="9319245" y="537609"/>
                  <a:pt x="9319943" y="540579"/>
                  <a:pt x="9321690" y="543199"/>
                </a:cubicBezTo>
                <a:cubicBezTo>
                  <a:pt x="9323524" y="545819"/>
                  <a:pt x="9326145" y="547217"/>
                  <a:pt x="9329376" y="547217"/>
                </a:cubicBezTo>
                <a:cubicBezTo>
                  <a:pt x="9333918" y="547217"/>
                  <a:pt x="9338721" y="544596"/>
                  <a:pt x="9343787" y="539356"/>
                </a:cubicBezTo>
                <a:cubicBezTo>
                  <a:pt x="9347717" y="535164"/>
                  <a:pt x="9351211" y="530448"/>
                  <a:pt x="9354006" y="525120"/>
                </a:cubicBezTo>
                <a:lnTo>
                  <a:pt x="9355141" y="525120"/>
                </a:lnTo>
                <a:cubicBezTo>
                  <a:pt x="9355141" y="525120"/>
                  <a:pt x="9348067" y="546081"/>
                  <a:pt x="9348067" y="546081"/>
                </a:cubicBezTo>
                <a:lnTo>
                  <a:pt x="9365185" y="546081"/>
                </a:lnTo>
                <a:cubicBezTo>
                  <a:pt x="9365185" y="546081"/>
                  <a:pt x="9380032" y="495251"/>
                  <a:pt x="9380032" y="495251"/>
                </a:cubicBezTo>
                <a:close/>
                <a:moveTo>
                  <a:pt x="9712350" y="495250"/>
                </a:moveTo>
                <a:cubicBezTo>
                  <a:pt x="9703179" y="495250"/>
                  <a:pt x="9694882" y="498744"/>
                  <a:pt x="9687197" y="505818"/>
                </a:cubicBezTo>
                <a:cubicBezTo>
                  <a:pt x="9679686" y="512718"/>
                  <a:pt x="9675407" y="521015"/>
                  <a:pt x="9674533" y="530535"/>
                </a:cubicBezTo>
                <a:cubicBezTo>
                  <a:pt x="9674096" y="535862"/>
                  <a:pt x="9675756" y="540141"/>
                  <a:pt x="9679686" y="543198"/>
                </a:cubicBezTo>
                <a:cubicBezTo>
                  <a:pt x="9683179" y="545819"/>
                  <a:pt x="9687721" y="547128"/>
                  <a:pt x="9693223" y="547128"/>
                </a:cubicBezTo>
                <a:cubicBezTo>
                  <a:pt x="9702219" y="547128"/>
                  <a:pt x="9710691" y="543548"/>
                  <a:pt x="9718289" y="536298"/>
                </a:cubicBezTo>
                <a:cubicBezTo>
                  <a:pt x="9725974" y="529137"/>
                  <a:pt x="9730166" y="520840"/>
                  <a:pt x="9731040" y="511583"/>
                </a:cubicBezTo>
                <a:cubicBezTo>
                  <a:pt x="9731565" y="506342"/>
                  <a:pt x="9729817" y="502062"/>
                  <a:pt x="9725887" y="499093"/>
                </a:cubicBezTo>
                <a:lnTo>
                  <a:pt x="9725887" y="499180"/>
                </a:lnTo>
                <a:cubicBezTo>
                  <a:pt x="9722394" y="496473"/>
                  <a:pt x="9717852" y="495250"/>
                  <a:pt x="9712350" y="495250"/>
                </a:cubicBezTo>
                <a:close/>
                <a:moveTo>
                  <a:pt x="9428241" y="495161"/>
                </a:moveTo>
                <a:cubicBezTo>
                  <a:pt x="9423699" y="495161"/>
                  <a:pt x="9418809" y="497694"/>
                  <a:pt x="9413743" y="503022"/>
                </a:cubicBezTo>
                <a:cubicBezTo>
                  <a:pt x="9409813" y="506952"/>
                  <a:pt x="9406407" y="511843"/>
                  <a:pt x="9403524" y="517257"/>
                </a:cubicBezTo>
                <a:lnTo>
                  <a:pt x="9402389" y="517257"/>
                </a:lnTo>
                <a:cubicBezTo>
                  <a:pt x="9402389" y="517257"/>
                  <a:pt x="9409813" y="495248"/>
                  <a:pt x="9409813" y="495248"/>
                </a:cubicBezTo>
                <a:lnTo>
                  <a:pt x="9392695" y="495248"/>
                </a:lnTo>
                <a:cubicBezTo>
                  <a:pt x="9392695" y="495248"/>
                  <a:pt x="9377935" y="545992"/>
                  <a:pt x="9377935" y="545992"/>
                </a:cubicBezTo>
                <a:lnTo>
                  <a:pt x="9395140" y="545992"/>
                </a:lnTo>
                <a:lnTo>
                  <a:pt x="9399682" y="530533"/>
                </a:lnTo>
                <a:cubicBezTo>
                  <a:pt x="9400206" y="528786"/>
                  <a:pt x="9402739" y="525292"/>
                  <a:pt x="9407280" y="519965"/>
                </a:cubicBezTo>
                <a:cubicBezTo>
                  <a:pt x="9411909" y="514812"/>
                  <a:pt x="9415664" y="511231"/>
                  <a:pt x="9416887" y="510795"/>
                </a:cubicBezTo>
                <a:cubicBezTo>
                  <a:pt x="9418023" y="510358"/>
                  <a:pt x="9417673" y="512192"/>
                  <a:pt x="9417673" y="512192"/>
                </a:cubicBezTo>
                <a:cubicBezTo>
                  <a:pt x="9416887" y="518131"/>
                  <a:pt x="9407979" y="546079"/>
                  <a:pt x="9407979" y="546079"/>
                </a:cubicBezTo>
                <a:lnTo>
                  <a:pt x="9425097" y="546079"/>
                </a:lnTo>
                <a:lnTo>
                  <a:pt x="9425359" y="545992"/>
                </a:lnTo>
                <a:lnTo>
                  <a:pt x="9436102" y="508174"/>
                </a:lnTo>
                <a:cubicBezTo>
                  <a:pt x="9437760" y="502148"/>
                  <a:pt x="9436102" y="499441"/>
                  <a:pt x="9435054" y="498043"/>
                </a:cubicBezTo>
                <a:cubicBezTo>
                  <a:pt x="9433307" y="496122"/>
                  <a:pt x="9431036" y="495161"/>
                  <a:pt x="9428241" y="495161"/>
                </a:cubicBezTo>
                <a:close/>
                <a:moveTo>
                  <a:pt x="9587982" y="495076"/>
                </a:moveTo>
                <a:cubicBezTo>
                  <a:pt x="9582130" y="495076"/>
                  <a:pt x="9577239" y="496124"/>
                  <a:pt x="9573047" y="498133"/>
                </a:cubicBezTo>
                <a:cubicBezTo>
                  <a:pt x="9567719" y="500840"/>
                  <a:pt x="9564837" y="505120"/>
                  <a:pt x="9564313" y="510360"/>
                </a:cubicBezTo>
                <a:cubicBezTo>
                  <a:pt x="9564051" y="513329"/>
                  <a:pt x="9564925" y="516299"/>
                  <a:pt x="9567108" y="519268"/>
                </a:cubicBezTo>
                <a:cubicBezTo>
                  <a:pt x="9569117" y="521452"/>
                  <a:pt x="9571126" y="523809"/>
                  <a:pt x="9573134" y="525905"/>
                </a:cubicBezTo>
                <a:cubicBezTo>
                  <a:pt x="9575317" y="528351"/>
                  <a:pt x="9576278" y="530534"/>
                  <a:pt x="9576104" y="532369"/>
                </a:cubicBezTo>
                <a:cubicBezTo>
                  <a:pt x="9576016" y="533766"/>
                  <a:pt x="9575317" y="534814"/>
                  <a:pt x="9574182" y="535687"/>
                </a:cubicBezTo>
                <a:cubicBezTo>
                  <a:pt x="9573047" y="536561"/>
                  <a:pt x="9571736" y="537084"/>
                  <a:pt x="9570339" y="537084"/>
                </a:cubicBezTo>
                <a:cubicBezTo>
                  <a:pt x="9566759" y="537084"/>
                  <a:pt x="9561781" y="535600"/>
                  <a:pt x="9555404" y="532631"/>
                </a:cubicBezTo>
                <a:lnTo>
                  <a:pt x="9552086" y="544334"/>
                </a:lnTo>
                <a:cubicBezTo>
                  <a:pt x="9558898" y="546168"/>
                  <a:pt x="9564662" y="547041"/>
                  <a:pt x="9569378" y="547041"/>
                </a:cubicBezTo>
                <a:cubicBezTo>
                  <a:pt x="9575492" y="547041"/>
                  <a:pt x="9580645" y="545818"/>
                  <a:pt x="9584837" y="543548"/>
                </a:cubicBezTo>
                <a:cubicBezTo>
                  <a:pt x="9589990" y="540666"/>
                  <a:pt x="9592959" y="536299"/>
                  <a:pt x="9593483" y="530534"/>
                </a:cubicBezTo>
                <a:cubicBezTo>
                  <a:pt x="9593745" y="527478"/>
                  <a:pt x="9592784" y="524596"/>
                  <a:pt x="9590514" y="521539"/>
                </a:cubicBezTo>
                <a:cubicBezTo>
                  <a:pt x="9589815" y="520840"/>
                  <a:pt x="9587632" y="518744"/>
                  <a:pt x="9583876" y="515164"/>
                </a:cubicBezTo>
                <a:cubicBezTo>
                  <a:pt x="9581605" y="512805"/>
                  <a:pt x="9580470" y="510970"/>
                  <a:pt x="9580645" y="509574"/>
                </a:cubicBezTo>
                <a:cubicBezTo>
                  <a:pt x="9580908" y="506604"/>
                  <a:pt x="9583265" y="505120"/>
                  <a:pt x="9587806" y="505120"/>
                </a:cubicBezTo>
                <a:cubicBezTo>
                  <a:pt x="9591038" y="505120"/>
                  <a:pt x="9594444" y="505818"/>
                  <a:pt x="9598462" y="507129"/>
                </a:cubicBezTo>
                <a:lnTo>
                  <a:pt x="9601518" y="496560"/>
                </a:lnTo>
                <a:lnTo>
                  <a:pt x="9601344" y="496560"/>
                </a:lnTo>
                <a:cubicBezTo>
                  <a:pt x="9593309" y="495599"/>
                  <a:pt x="9588854" y="495076"/>
                  <a:pt x="9587982" y="495076"/>
                </a:cubicBezTo>
                <a:close/>
                <a:moveTo>
                  <a:pt x="10205369" y="486080"/>
                </a:moveTo>
                <a:lnTo>
                  <a:pt x="10187203" y="488525"/>
                </a:lnTo>
                <a:cubicBezTo>
                  <a:pt x="10187203" y="488525"/>
                  <a:pt x="10178731" y="516124"/>
                  <a:pt x="10177159" y="521189"/>
                </a:cubicBezTo>
                <a:cubicBezTo>
                  <a:pt x="10175150" y="527565"/>
                  <a:pt x="10174015" y="532630"/>
                  <a:pt x="10173666" y="536648"/>
                </a:cubicBezTo>
                <a:cubicBezTo>
                  <a:pt x="10173316" y="540142"/>
                  <a:pt x="10174277" y="542936"/>
                  <a:pt x="10176635" y="544770"/>
                </a:cubicBezTo>
                <a:cubicBezTo>
                  <a:pt x="10178819" y="546430"/>
                  <a:pt x="10181614" y="547216"/>
                  <a:pt x="10185281" y="547216"/>
                </a:cubicBezTo>
                <a:cubicBezTo>
                  <a:pt x="10188425" y="547216"/>
                  <a:pt x="10192706" y="546430"/>
                  <a:pt x="10198556" y="545033"/>
                </a:cubicBezTo>
                <a:lnTo>
                  <a:pt x="10201701" y="534203"/>
                </a:lnTo>
                <a:cubicBezTo>
                  <a:pt x="10199605" y="535600"/>
                  <a:pt x="10197771" y="536211"/>
                  <a:pt x="10196111" y="536211"/>
                </a:cubicBezTo>
                <a:cubicBezTo>
                  <a:pt x="10193229" y="536211"/>
                  <a:pt x="10192181" y="534639"/>
                  <a:pt x="10192443" y="531408"/>
                </a:cubicBezTo>
                <a:cubicBezTo>
                  <a:pt x="10192793" y="528002"/>
                  <a:pt x="10193753" y="523809"/>
                  <a:pt x="10195412" y="518656"/>
                </a:cubicBezTo>
                <a:cubicBezTo>
                  <a:pt x="10196897" y="514639"/>
                  <a:pt x="10198469" y="509399"/>
                  <a:pt x="10199867" y="505381"/>
                </a:cubicBezTo>
                <a:lnTo>
                  <a:pt x="10208076" y="505381"/>
                </a:lnTo>
                <a:lnTo>
                  <a:pt x="10211046" y="495512"/>
                </a:lnTo>
                <a:lnTo>
                  <a:pt x="10210959" y="495512"/>
                </a:lnTo>
                <a:lnTo>
                  <a:pt x="10202574" y="495512"/>
                </a:lnTo>
                <a:close/>
                <a:moveTo>
                  <a:pt x="10168688" y="486080"/>
                </a:moveTo>
                <a:lnTo>
                  <a:pt x="10150783" y="488525"/>
                </a:lnTo>
                <a:cubicBezTo>
                  <a:pt x="10150783" y="488525"/>
                  <a:pt x="10142486" y="516124"/>
                  <a:pt x="10140827" y="521189"/>
                </a:cubicBezTo>
                <a:cubicBezTo>
                  <a:pt x="10138818" y="527565"/>
                  <a:pt x="10137682" y="532630"/>
                  <a:pt x="10137246" y="536648"/>
                </a:cubicBezTo>
                <a:cubicBezTo>
                  <a:pt x="10136897" y="540142"/>
                  <a:pt x="10137945" y="542937"/>
                  <a:pt x="10140302" y="544770"/>
                </a:cubicBezTo>
                <a:cubicBezTo>
                  <a:pt x="10142486" y="546430"/>
                  <a:pt x="10145281" y="547216"/>
                  <a:pt x="10148862" y="547216"/>
                </a:cubicBezTo>
                <a:cubicBezTo>
                  <a:pt x="10152093" y="547216"/>
                  <a:pt x="10156372" y="546430"/>
                  <a:pt x="10161875" y="545033"/>
                </a:cubicBezTo>
                <a:lnTo>
                  <a:pt x="10165019" y="534203"/>
                </a:lnTo>
                <a:cubicBezTo>
                  <a:pt x="10162923" y="535600"/>
                  <a:pt x="10161089" y="536211"/>
                  <a:pt x="10159516" y="536211"/>
                </a:cubicBezTo>
                <a:cubicBezTo>
                  <a:pt x="10156810" y="536211"/>
                  <a:pt x="10155762" y="534639"/>
                  <a:pt x="10156023" y="531408"/>
                </a:cubicBezTo>
                <a:cubicBezTo>
                  <a:pt x="10156460" y="528002"/>
                  <a:pt x="10157333" y="523810"/>
                  <a:pt x="10158906" y="518656"/>
                </a:cubicBezTo>
                <a:cubicBezTo>
                  <a:pt x="10160215" y="514639"/>
                  <a:pt x="10161525" y="509399"/>
                  <a:pt x="10162923" y="505381"/>
                </a:cubicBezTo>
                <a:lnTo>
                  <a:pt x="10171220" y="505381"/>
                </a:lnTo>
                <a:lnTo>
                  <a:pt x="10174102" y="495512"/>
                </a:lnTo>
                <a:lnTo>
                  <a:pt x="10165805" y="495512"/>
                </a:lnTo>
                <a:close/>
                <a:moveTo>
                  <a:pt x="9848074" y="486080"/>
                </a:moveTo>
                <a:lnTo>
                  <a:pt x="9830169" y="488526"/>
                </a:lnTo>
                <a:cubicBezTo>
                  <a:pt x="9830169" y="488526"/>
                  <a:pt x="9821784" y="516124"/>
                  <a:pt x="9820126" y="521189"/>
                </a:cubicBezTo>
                <a:cubicBezTo>
                  <a:pt x="9818204" y="527566"/>
                  <a:pt x="9816981" y="532718"/>
                  <a:pt x="9816632" y="536649"/>
                </a:cubicBezTo>
                <a:cubicBezTo>
                  <a:pt x="9816283" y="540142"/>
                  <a:pt x="9817331" y="542937"/>
                  <a:pt x="9819688" y="544771"/>
                </a:cubicBezTo>
                <a:cubicBezTo>
                  <a:pt x="9821784" y="546342"/>
                  <a:pt x="9824667" y="547216"/>
                  <a:pt x="9828335" y="547216"/>
                </a:cubicBezTo>
                <a:cubicBezTo>
                  <a:pt x="9831392" y="547216"/>
                  <a:pt x="9835671" y="546430"/>
                  <a:pt x="9841174" y="545033"/>
                </a:cubicBezTo>
                <a:lnTo>
                  <a:pt x="9844318" y="534203"/>
                </a:lnTo>
                <a:cubicBezTo>
                  <a:pt x="9842222" y="535601"/>
                  <a:pt x="9840388" y="536211"/>
                  <a:pt x="9838815" y="536211"/>
                </a:cubicBezTo>
                <a:cubicBezTo>
                  <a:pt x="9836196" y="536211"/>
                  <a:pt x="9835060" y="534640"/>
                  <a:pt x="9835409" y="531408"/>
                </a:cubicBezTo>
                <a:cubicBezTo>
                  <a:pt x="9835671" y="528002"/>
                  <a:pt x="9836632" y="523810"/>
                  <a:pt x="9838204" y="518657"/>
                </a:cubicBezTo>
                <a:cubicBezTo>
                  <a:pt x="9839514" y="514552"/>
                  <a:pt x="9840824" y="510359"/>
                  <a:pt x="9842222" y="506255"/>
                </a:cubicBezTo>
                <a:lnTo>
                  <a:pt x="9850519" y="506255"/>
                </a:lnTo>
                <a:lnTo>
                  <a:pt x="9853401" y="496385"/>
                </a:lnTo>
                <a:lnTo>
                  <a:pt x="9853314" y="496385"/>
                </a:lnTo>
                <a:lnTo>
                  <a:pt x="9845017" y="496385"/>
                </a:lnTo>
                <a:close/>
                <a:moveTo>
                  <a:pt x="9278545" y="475248"/>
                </a:moveTo>
                <a:cubicBezTo>
                  <a:pt x="9278545" y="475248"/>
                  <a:pt x="9258021" y="546166"/>
                  <a:pt x="9258021" y="546166"/>
                </a:cubicBezTo>
                <a:lnTo>
                  <a:pt x="9275226" y="546166"/>
                </a:lnTo>
                <a:lnTo>
                  <a:pt x="9279768" y="530620"/>
                </a:lnTo>
                <a:cubicBezTo>
                  <a:pt x="9280292" y="528873"/>
                  <a:pt x="9282825" y="525292"/>
                  <a:pt x="9287453" y="520052"/>
                </a:cubicBezTo>
                <a:cubicBezTo>
                  <a:pt x="9292083" y="514900"/>
                  <a:pt x="9295664" y="511405"/>
                  <a:pt x="9297061" y="510882"/>
                </a:cubicBezTo>
                <a:cubicBezTo>
                  <a:pt x="9298458" y="510358"/>
                  <a:pt x="9297847" y="512279"/>
                  <a:pt x="9297847" y="512279"/>
                </a:cubicBezTo>
                <a:cubicBezTo>
                  <a:pt x="9296712" y="517519"/>
                  <a:pt x="9288152" y="546079"/>
                  <a:pt x="9288152" y="546079"/>
                </a:cubicBezTo>
                <a:lnTo>
                  <a:pt x="9288327" y="546079"/>
                </a:lnTo>
                <a:lnTo>
                  <a:pt x="9305358" y="546079"/>
                </a:lnTo>
                <a:lnTo>
                  <a:pt x="9316100" y="508349"/>
                </a:lnTo>
                <a:cubicBezTo>
                  <a:pt x="9317760" y="502323"/>
                  <a:pt x="9316013" y="499616"/>
                  <a:pt x="9314965" y="498218"/>
                </a:cubicBezTo>
                <a:cubicBezTo>
                  <a:pt x="9313305" y="496296"/>
                  <a:pt x="9311035" y="495336"/>
                  <a:pt x="9308153" y="495336"/>
                </a:cubicBezTo>
                <a:cubicBezTo>
                  <a:pt x="9303612" y="495336"/>
                  <a:pt x="9298808" y="497869"/>
                  <a:pt x="9293655" y="503196"/>
                </a:cubicBezTo>
                <a:cubicBezTo>
                  <a:pt x="9289725" y="507214"/>
                  <a:pt x="9286318" y="512017"/>
                  <a:pt x="9283436" y="517432"/>
                </a:cubicBezTo>
                <a:lnTo>
                  <a:pt x="9282301" y="517432"/>
                </a:lnTo>
                <a:cubicBezTo>
                  <a:pt x="9287279" y="503546"/>
                  <a:pt x="9291734" y="489396"/>
                  <a:pt x="9295576" y="475248"/>
                </a:cubicBezTo>
                <a:close/>
                <a:moveTo>
                  <a:pt x="9872964" y="475074"/>
                </a:moveTo>
                <a:cubicBezTo>
                  <a:pt x="9872964" y="475074"/>
                  <a:pt x="9852440" y="545992"/>
                  <a:pt x="9852440" y="545992"/>
                </a:cubicBezTo>
                <a:lnTo>
                  <a:pt x="9869733" y="545992"/>
                </a:lnTo>
                <a:lnTo>
                  <a:pt x="9874187" y="530534"/>
                </a:lnTo>
                <a:cubicBezTo>
                  <a:pt x="9874711" y="528787"/>
                  <a:pt x="9877244" y="525293"/>
                  <a:pt x="9881785" y="519965"/>
                </a:cubicBezTo>
                <a:cubicBezTo>
                  <a:pt x="9886502" y="514813"/>
                  <a:pt x="9889995" y="511319"/>
                  <a:pt x="9891480" y="510795"/>
                </a:cubicBezTo>
                <a:cubicBezTo>
                  <a:pt x="9892877" y="510271"/>
                  <a:pt x="9892266" y="512192"/>
                  <a:pt x="9892266" y="512192"/>
                </a:cubicBezTo>
                <a:cubicBezTo>
                  <a:pt x="9891480" y="516188"/>
                  <a:pt x="9886419" y="533252"/>
                  <a:pt x="9883938" y="541534"/>
                </a:cubicBezTo>
                <a:lnTo>
                  <a:pt x="9882597" y="545992"/>
                </a:lnTo>
                <a:lnTo>
                  <a:pt x="9882571" y="545992"/>
                </a:lnTo>
                <a:lnTo>
                  <a:pt x="9882571" y="546079"/>
                </a:lnTo>
                <a:lnTo>
                  <a:pt x="9882597" y="545992"/>
                </a:lnTo>
                <a:lnTo>
                  <a:pt x="9899689" y="545992"/>
                </a:lnTo>
                <a:lnTo>
                  <a:pt x="9910432" y="508262"/>
                </a:lnTo>
                <a:cubicBezTo>
                  <a:pt x="9912091" y="502323"/>
                  <a:pt x="9910432" y="499616"/>
                  <a:pt x="9909384" y="498131"/>
                </a:cubicBezTo>
                <a:cubicBezTo>
                  <a:pt x="9907811" y="496210"/>
                  <a:pt x="9905541" y="495249"/>
                  <a:pt x="9902572" y="495249"/>
                </a:cubicBezTo>
                <a:cubicBezTo>
                  <a:pt x="9898030" y="495249"/>
                  <a:pt x="9893227" y="497782"/>
                  <a:pt x="9888073" y="503022"/>
                </a:cubicBezTo>
                <a:cubicBezTo>
                  <a:pt x="9884056" y="506952"/>
                  <a:pt x="9880650" y="511756"/>
                  <a:pt x="9877855" y="517258"/>
                </a:cubicBezTo>
                <a:lnTo>
                  <a:pt x="9876719" y="517258"/>
                </a:lnTo>
                <a:cubicBezTo>
                  <a:pt x="9881698" y="503284"/>
                  <a:pt x="9886153" y="489223"/>
                  <a:pt x="9889995" y="475074"/>
                </a:cubicBezTo>
                <a:close/>
                <a:moveTo>
                  <a:pt x="9676368" y="474114"/>
                </a:moveTo>
                <a:cubicBezTo>
                  <a:pt x="9669643" y="474114"/>
                  <a:pt x="9663529" y="476210"/>
                  <a:pt x="9658376" y="480140"/>
                </a:cubicBezTo>
                <a:cubicBezTo>
                  <a:pt x="9653398" y="484070"/>
                  <a:pt x="9649730" y="489486"/>
                  <a:pt x="9647372" y="496298"/>
                </a:cubicBezTo>
                <a:cubicBezTo>
                  <a:pt x="9647372" y="496298"/>
                  <a:pt x="9629642" y="557346"/>
                  <a:pt x="9629642" y="557346"/>
                </a:cubicBezTo>
                <a:lnTo>
                  <a:pt x="9646935" y="557346"/>
                </a:lnTo>
                <a:cubicBezTo>
                  <a:pt x="9646935" y="557346"/>
                  <a:pt x="9661782" y="506254"/>
                  <a:pt x="9661782" y="506254"/>
                </a:cubicBezTo>
                <a:lnTo>
                  <a:pt x="9674272" y="506254"/>
                </a:lnTo>
                <a:cubicBezTo>
                  <a:pt x="9674272" y="506254"/>
                  <a:pt x="9677241" y="496298"/>
                  <a:pt x="9677241" y="496298"/>
                </a:cubicBezTo>
                <a:lnTo>
                  <a:pt x="9664490" y="496298"/>
                </a:lnTo>
                <a:cubicBezTo>
                  <a:pt x="9665712" y="491931"/>
                  <a:pt x="9666673" y="489136"/>
                  <a:pt x="9667372" y="487826"/>
                </a:cubicBezTo>
                <a:cubicBezTo>
                  <a:pt x="9669031" y="485381"/>
                  <a:pt x="9671389" y="484070"/>
                  <a:pt x="9674708" y="484070"/>
                </a:cubicBezTo>
                <a:cubicBezTo>
                  <a:pt x="9678027" y="484070"/>
                  <a:pt x="9681695" y="485031"/>
                  <a:pt x="9685538" y="486953"/>
                </a:cubicBezTo>
                <a:lnTo>
                  <a:pt x="9688508" y="476386"/>
                </a:lnTo>
                <a:lnTo>
                  <a:pt x="9688595" y="476298"/>
                </a:lnTo>
                <a:cubicBezTo>
                  <a:pt x="9684839" y="474813"/>
                  <a:pt x="9680822" y="474114"/>
                  <a:pt x="9676368" y="474114"/>
                </a:cubicBezTo>
                <a:close/>
                <a:moveTo>
                  <a:pt x="10050783" y="473503"/>
                </a:moveTo>
                <a:cubicBezTo>
                  <a:pt x="10055937" y="473503"/>
                  <a:pt x="10062748" y="474114"/>
                  <a:pt x="10062137" y="480577"/>
                </a:cubicBezTo>
                <a:cubicBezTo>
                  <a:pt x="10061002" y="492542"/>
                  <a:pt x="10049386" y="496822"/>
                  <a:pt x="10044932" y="496822"/>
                </a:cubicBezTo>
                <a:lnTo>
                  <a:pt x="10037857" y="496822"/>
                </a:lnTo>
                <a:cubicBezTo>
                  <a:pt x="10037857" y="496822"/>
                  <a:pt x="10044757" y="474375"/>
                  <a:pt x="10044757" y="474375"/>
                </a:cubicBezTo>
                <a:cubicBezTo>
                  <a:pt x="10046504" y="473852"/>
                  <a:pt x="10048774" y="473503"/>
                  <a:pt x="10050783" y="473503"/>
                </a:cubicBezTo>
                <a:close/>
                <a:moveTo>
                  <a:pt x="10026416" y="462410"/>
                </a:moveTo>
                <a:cubicBezTo>
                  <a:pt x="10026416" y="462410"/>
                  <a:pt x="10001525" y="546865"/>
                  <a:pt x="10001525" y="546865"/>
                </a:cubicBezTo>
                <a:lnTo>
                  <a:pt x="10001699" y="546865"/>
                </a:lnTo>
                <a:lnTo>
                  <a:pt x="10043272" y="546865"/>
                </a:lnTo>
                <a:cubicBezTo>
                  <a:pt x="10052792" y="546865"/>
                  <a:pt x="10072356" y="541014"/>
                  <a:pt x="10074015" y="522935"/>
                </a:cubicBezTo>
                <a:cubicBezTo>
                  <a:pt x="10075063" y="511844"/>
                  <a:pt x="10065805" y="505992"/>
                  <a:pt x="10056286" y="503371"/>
                </a:cubicBezTo>
                <a:lnTo>
                  <a:pt x="10056286" y="503110"/>
                </a:lnTo>
                <a:cubicBezTo>
                  <a:pt x="10068164" y="500227"/>
                  <a:pt x="10081439" y="491319"/>
                  <a:pt x="10082661" y="478568"/>
                </a:cubicBezTo>
                <a:cubicBezTo>
                  <a:pt x="10084234" y="462236"/>
                  <a:pt x="10065543" y="462410"/>
                  <a:pt x="10053403" y="462410"/>
                </a:cubicBezTo>
                <a:close/>
                <a:moveTo>
                  <a:pt x="9242388" y="462149"/>
                </a:moveTo>
                <a:cubicBezTo>
                  <a:pt x="9202300" y="462149"/>
                  <a:pt x="9177758" y="495162"/>
                  <a:pt x="9175575" y="518830"/>
                </a:cubicBezTo>
                <a:lnTo>
                  <a:pt x="9175662" y="518830"/>
                </a:lnTo>
                <a:cubicBezTo>
                  <a:pt x="9173653" y="538830"/>
                  <a:pt x="9186142" y="550621"/>
                  <a:pt x="9208937" y="550621"/>
                </a:cubicBezTo>
                <a:cubicBezTo>
                  <a:pt x="9221514" y="550621"/>
                  <a:pt x="9233829" y="548524"/>
                  <a:pt x="9245095" y="546079"/>
                </a:cubicBezTo>
                <a:cubicBezTo>
                  <a:pt x="9245532" y="544682"/>
                  <a:pt x="9247977" y="536822"/>
                  <a:pt x="9248938" y="533591"/>
                </a:cubicBezTo>
                <a:cubicBezTo>
                  <a:pt x="9247977" y="533765"/>
                  <a:pt x="9247016" y="534114"/>
                  <a:pt x="9247016" y="534114"/>
                </a:cubicBezTo>
                <a:cubicBezTo>
                  <a:pt x="9238195" y="536472"/>
                  <a:pt x="9228327" y="539267"/>
                  <a:pt x="9219942" y="539267"/>
                </a:cubicBezTo>
                <a:cubicBezTo>
                  <a:pt x="9206142" y="539267"/>
                  <a:pt x="9197671" y="529922"/>
                  <a:pt x="9199068" y="516035"/>
                </a:cubicBezTo>
                <a:cubicBezTo>
                  <a:pt x="9201077" y="495512"/>
                  <a:pt x="9217671" y="473415"/>
                  <a:pt x="9239243" y="473415"/>
                </a:cubicBezTo>
                <a:cubicBezTo>
                  <a:pt x="9247366" y="473415"/>
                  <a:pt x="9255925" y="475337"/>
                  <a:pt x="9264746" y="478830"/>
                </a:cubicBezTo>
                <a:cubicBezTo>
                  <a:pt x="9265445" y="476647"/>
                  <a:pt x="9268065" y="467913"/>
                  <a:pt x="9268764" y="465380"/>
                </a:cubicBezTo>
                <a:cubicBezTo>
                  <a:pt x="9259942" y="463284"/>
                  <a:pt x="9251034" y="462149"/>
                  <a:pt x="9242388" y="462149"/>
                </a:cubicBezTo>
                <a:close/>
                <a:moveTo>
                  <a:pt x="10999091" y="385817"/>
                </a:moveTo>
                <a:cubicBezTo>
                  <a:pt x="11001187" y="385817"/>
                  <a:pt x="11003196" y="385992"/>
                  <a:pt x="11004856" y="386079"/>
                </a:cubicBezTo>
                <a:cubicBezTo>
                  <a:pt x="11004856" y="399355"/>
                  <a:pt x="10997781" y="405818"/>
                  <a:pt x="10988261" y="405818"/>
                </a:cubicBezTo>
                <a:cubicBezTo>
                  <a:pt x="10981624" y="405818"/>
                  <a:pt x="10977431" y="402848"/>
                  <a:pt x="10977431" y="396647"/>
                </a:cubicBezTo>
                <a:cubicBezTo>
                  <a:pt x="10977431" y="388874"/>
                  <a:pt x="10985204" y="385817"/>
                  <a:pt x="10999091" y="385817"/>
                </a:cubicBezTo>
                <a:close/>
                <a:moveTo>
                  <a:pt x="11257784" y="361363"/>
                </a:moveTo>
                <a:cubicBezTo>
                  <a:pt x="11267915" y="361363"/>
                  <a:pt x="11274815" y="370097"/>
                  <a:pt x="11274815" y="381887"/>
                </a:cubicBezTo>
                <a:cubicBezTo>
                  <a:pt x="11274815" y="393678"/>
                  <a:pt x="11267740" y="402150"/>
                  <a:pt x="11258047" y="402150"/>
                </a:cubicBezTo>
                <a:cubicBezTo>
                  <a:pt x="11248439" y="402150"/>
                  <a:pt x="11241977" y="393591"/>
                  <a:pt x="11241977" y="381887"/>
                </a:cubicBezTo>
                <a:cubicBezTo>
                  <a:pt x="11241977" y="370185"/>
                  <a:pt x="11248439" y="361363"/>
                  <a:pt x="11257784" y="361363"/>
                </a:cubicBezTo>
                <a:close/>
                <a:moveTo>
                  <a:pt x="11956918" y="361277"/>
                </a:moveTo>
                <a:cubicBezTo>
                  <a:pt x="11967398" y="361277"/>
                  <a:pt x="11974124" y="370447"/>
                  <a:pt x="11974124" y="382848"/>
                </a:cubicBezTo>
                <a:cubicBezTo>
                  <a:pt x="11974124" y="395250"/>
                  <a:pt x="11967224" y="404246"/>
                  <a:pt x="11957355" y="404246"/>
                </a:cubicBezTo>
                <a:cubicBezTo>
                  <a:pt x="11947485" y="404246"/>
                  <a:pt x="11941110" y="395250"/>
                  <a:pt x="11941110" y="382587"/>
                </a:cubicBezTo>
                <a:cubicBezTo>
                  <a:pt x="11941110" y="370010"/>
                  <a:pt x="11947311" y="361277"/>
                  <a:pt x="11956918" y="361277"/>
                </a:cubicBezTo>
                <a:close/>
                <a:moveTo>
                  <a:pt x="10774285" y="360142"/>
                </a:moveTo>
                <a:cubicBezTo>
                  <a:pt x="10784852" y="360142"/>
                  <a:pt x="10791578" y="369050"/>
                  <a:pt x="10791578" y="382674"/>
                </a:cubicBezTo>
                <a:cubicBezTo>
                  <a:pt x="10791578" y="396299"/>
                  <a:pt x="10784591" y="405033"/>
                  <a:pt x="10774285" y="405033"/>
                </a:cubicBezTo>
                <a:cubicBezTo>
                  <a:pt x="10763979" y="405033"/>
                  <a:pt x="10757079" y="396212"/>
                  <a:pt x="10757079" y="382674"/>
                </a:cubicBezTo>
                <a:cubicBezTo>
                  <a:pt x="10757079" y="369050"/>
                  <a:pt x="10763717" y="360142"/>
                  <a:pt x="10774285" y="360142"/>
                </a:cubicBezTo>
                <a:close/>
                <a:moveTo>
                  <a:pt x="11776829" y="360141"/>
                </a:moveTo>
                <a:cubicBezTo>
                  <a:pt x="11787397" y="360141"/>
                  <a:pt x="11794122" y="369049"/>
                  <a:pt x="11794122" y="382673"/>
                </a:cubicBezTo>
                <a:cubicBezTo>
                  <a:pt x="11794122" y="396298"/>
                  <a:pt x="11787135" y="405031"/>
                  <a:pt x="11776829" y="405031"/>
                </a:cubicBezTo>
                <a:cubicBezTo>
                  <a:pt x="11766524" y="405031"/>
                  <a:pt x="11759624" y="396211"/>
                  <a:pt x="11759624" y="382673"/>
                </a:cubicBezTo>
                <a:cubicBezTo>
                  <a:pt x="11759624" y="369049"/>
                  <a:pt x="11766261" y="360141"/>
                  <a:pt x="11776829" y="360141"/>
                </a:cubicBezTo>
                <a:close/>
                <a:moveTo>
                  <a:pt x="11519884" y="359442"/>
                </a:moveTo>
                <a:cubicBezTo>
                  <a:pt x="11528617" y="359442"/>
                  <a:pt x="11534120" y="364246"/>
                  <a:pt x="11534120" y="375076"/>
                </a:cubicBezTo>
                <a:lnTo>
                  <a:pt x="11503989" y="375076"/>
                </a:lnTo>
                <a:cubicBezTo>
                  <a:pt x="11505124" y="364770"/>
                  <a:pt x="11511849" y="359442"/>
                  <a:pt x="11519884" y="359442"/>
                </a:cubicBezTo>
                <a:close/>
                <a:moveTo>
                  <a:pt x="11095162" y="346343"/>
                </a:moveTo>
                <a:lnTo>
                  <a:pt x="11095162" y="419181"/>
                </a:lnTo>
                <a:lnTo>
                  <a:pt x="11117433" y="419181"/>
                </a:lnTo>
                <a:lnTo>
                  <a:pt x="11117433" y="346343"/>
                </a:lnTo>
                <a:close/>
                <a:moveTo>
                  <a:pt x="10598474" y="346343"/>
                </a:moveTo>
                <a:lnTo>
                  <a:pt x="10598474" y="393156"/>
                </a:lnTo>
                <a:cubicBezTo>
                  <a:pt x="10598474" y="409924"/>
                  <a:pt x="10608780" y="421016"/>
                  <a:pt x="10624413" y="421016"/>
                </a:cubicBezTo>
                <a:cubicBezTo>
                  <a:pt x="10636640" y="421016"/>
                  <a:pt x="10645549" y="415252"/>
                  <a:pt x="10650614" y="406780"/>
                </a:cubicBezTo>
                <a:lnTo>
                  <a:pt x="10650790" y="406867"/>
                </a:lnTo>
                <a:lnTo>
                  <a:pt x="10651052" y="406867"/>
                </a:lnTo>
                <a:cubicBezTo>
                  <a:pt x="10651052" y="411671"/>
                  <a:pt x="10651313" y="416300"/>
                  <a:pt x="10651575" y="419270"/>
                </a:cubicBezTo>
                <a:lnTo>
                  <a:pt x="10672100" y="419270"/>
                </a:lnTo>
                <a:cubicBezTo>
                  <a:pt x="10671401" y="413156"/>
                  <a:pt x="10671401" y="405296"/>
                  <a:pt x="10671401" y="397697"/>
                </a:cubicBezTo>
                <a:lnTo>
                  <a:pt x="10671401" y="346430"/>
                </a:lnTo>
                <a:lnTo>
                  <a:pt x="10649130" y="346430"/>
                </a:lnTo>
                <a:lnTo>
                  <a:pt x="10649130" y="381889"/>
                </a:lnTo>
                <a:cubicBezTo>
                  <a:pt x="10649130" y="393854"/>
                  <a:pt x="10642579" y="402850"/>
                  <a:pt x="10633060" y="402850"/>
                </a:cubicBezTo>
                <a:cubicBezTo>
                  <a:pt x="10623540" y="402850"/>
                  <a:pt x="10620483" y="396300"/>
                  <a:pt x="10620483" y="385208"/>
                </a:cubicBezTo>
                <a:lnTo>
                  <a:pt x="10620483" y="346343"/>
                </a:lnTo>
                <a:close/>
                <a:moveTo>
                  <a:pt x="10871492" y="344596"/>
                </a:moveTo>
                <a:cubicBezTo>
                  <a:pt x="10861360" y="344596"/>
                  <a:pt x="10852365" y="349837"/>
                  <a:pt x="10847124" y="359007"/>
                </a:cubicBezTo>
                <a:lnTo>
                  <a:pt x="10846863" y="359007"/>
                </a:lnTo>
                <a:cubicBezTo>
                  <a:pt x="10846863" y="355164"/>
                  <a:pt x="10846688" y="349400"/>
                  <a:pt x="10846425" y="346430"/>
                </a:cubicBezTo>
                <a:lnTo>
                  <a:pt x="10825989" y="346430"/>
                </a:lnTo>
                <a:cubicBezTo>
                  <a:pt x="10826513" y="355164"/>
                  <a:pt x="10826688" y="363025"/>
                  <a:pt x="10826688" y="369487"/>
                </a:cubicBezTo>
                <a:lnTo>
                  <a:pt x="10826688" y="419182"/>
                </a:lnTo>
                <a:lnTo>
                  <a:pt x="10848784" y="419182"/>
                </a:lnTo>
                <a:lnTo>
                  <a:pt x="10848784" y="385208"/>
                </a:lnTo>
                <a:cubicBezTo>
                  <a:pt x="10848784" y="372632"/>
                  <a:pt x="10853412" y="362238"/>
                  <a:pt x="10863545" y="362238"/>
                </a:cubicBezTo>
                <a:cubicBezTo>
                  <a:pt x="10872627" y="362238"/>
                  <a:pt x="10874636" y="370972"/>
                  <a:pt x="10874636" y="383549"/>
                </a:cubicBezTo>
                <a:lnTo>
                  <a:pt x="10874636" y="419182"/>
                </a:lnTo>
                <a:lnTo>
                  <a:pt x="10874811" y="419182"/>
                </a:lnTo>
                <a:lnTo>
                  <a:pt x="10896907" y="419182"/>
                </a:lnTo>
                <a:lnTo>
                  <a:pt x="10896907" y="385558"/>
                </a:lnTo>
                <a:cubicBezTo>
                  <a:pt x="10896907" y="373068"/>
                  <a:pt x="10900925" y="362326"/>
                  <a:pt x="10911667" y="362326"/>
                </a:cubicBezTo>
                <a:cubicBezTo>
                  <a:pt x="10919352" y="362326"/>
                  <a:pt x="10922759" y="368702"/>
                  <a:pt x="10922759" y="381802"/>
                </a:cubicBezTo>
                <a:lnTo>
                  <a:pt x="10922759" y="419270"/>
                </a:lnTo>
                <a:lnTo>
                  <a:pt x="10944855" y="419270"/>
                </a:lnTo>
                <a:lnTo>
                  <a:pt x="10944855" y="376125"/>
                </a:lnTo>
                <a:cubicBezTo>
                  <a:pt x="10944855" y="357173"/>
                  <a:pt x="10937257" y="344596"/>
                  <a:pt x="10919790" y="344596"/>
                </a:cubicBezTo>
                <a:cubicBezTo>
                  <a:pt x="10909221" y="344596"/>
                  <a:pt x="10899352" y="349750"/>
                  <a:pt x="10894025" y="359356"/>
                </a:cubicBezTo>
                <a:cubicBezTo>
                  <a:pt x="10890532" y="349662"/>
                  <a:pt x="10882497" y="344596"/>
                  <a:pt x="10871492" y="344596"/>
                </a:cubicBezTo>
                <a:close/>
                <a:moveTo>
                  <a:pt x="10774722" y="344509"/>
                </a:moveTo>
                <a:cubicBezTo>
                  <a:pt x="10749917" y="344509"/>
                  <a:pt x="10734022" y="360054"/>
                  <a:pt x="10734022" y="382937"/>
                </a:cubicBezTo>
                <a:cubicBezTo>
                  <a:pt x="10734022" y="405819"/>
                  <a:pt x="10750179" y="421016"/>
                  <a:pt x="10774285" y="421016"/>
                </a:cubicBezTo>
                <a:cubicBezTo>
                  <a:pt x="10798390" y="421016"/>
                  <a:pt x="10814548" y="405906"/>
                  <a:pt x="10814548" y="382937"/>
                </a:cubicBezTo>
                <a:cubicBezTo>
                  <a:pt x="10814548" y="359618"/>
                  <a:pt x="10799526" y="344509"/>
                  <a:pt x="10774722" y="344509"/>
                </a:cubicBezTo>
                <a:close/>
                <a:moveTo>
                  <a:pt x="11867660" y="344508"/>
                </a:moveTo>
                <a:cubicBezTo>
                  <a:pt x="11828534" y="344508"/>
                  <a:pt x="11827660" y="359530"/>
                  <a:pt x="11827660" y="372194"/>
                </a:cubicBezTo>
                <a:lnTo>
                  <a:pt x="11827660" y="419182"/>
                </a:lnTo>
                <a:lnTo>
                  <a:pt x="11849057" y="419182"/>
                </a:lnTo>
                <a:lnTo>
                  <a:pt x="11849057" y="382325"/>
                </a:lnTo>
                <a:cubicBezTo>
                  <a:pt x="11849057" y="368962"/>
                  <a:pt x="11848795" y="362499"/>
                  <a:pt x="11866700" y="362499"/>
                </a:cubicBezTo>
                <a:lnTo>
                  <a:pt x="11873774" y="362499"/>
                </a:lnTo>
                <a:lnTo>
                  <a:pt x="11873774" y="344508"/>
                </a:lnTo>
                <a:close/>
                <a:moveTo>
                  <a:pt x="11777266" y="344507"/>
                </a:moveTo>
                <a:cubicBezTo>
                  <a:pt x="11752462" y="344507"/>
                  <a:pt x="11736567" y="360053"/>
                  <a:pt x="11736567" y="382935"/>
                </a:cubicBezTo>
                <a:cubicBezTo>
                  <a:pt x="11736567" y="405818"/>
                  <a:pt x="11752724" y="421014"/>
                  <a:pt x="11776829" y="421014"/>
                </a:cubicBezTo>
                <a:cubicBezTo>
                  <a:pt x="11800934" y="421014"/>
                  <a:pt x="11817092" y="405905"/>
                  <a:pt x="11817092" y="382935"/>
                </a:cubicBezTo>
                <a:cubicBezTo>
                  <a:pt x="11817092" y="359616"/>
                  <a:pt x="11802070" y="344507"/>
                  <a:pt x="11777266" y="344507"/>
                </a:cubicBezTo>
                <a:close/>
                <a:moveTo>
                  <a:pt x="11252195" y="344507"/>
                </a:moveTo>
                <a:cubicBezTo>
                  <a:pt x="11232718" y="344507"/>
                  <a:pt x="11219356" y="359965"/>
                  <a:pt x="11219356" y="382411"/>
                </a:cubicBezTo>
                <a:cubicBezTo>
                  <a:pt x="11219356" y="404857"/>
                  <a:pt x="11232020" y="419006"/>
                  <a:pt x="11251322" y="419006"/>
                </a:cubicBezTo>
                <a:cubicBezTo>
                  <a:pt x="11262326" y="419006"/>
                  <a:pt x="11270186" y="413765"/>
                  <a:pt x="11275165" y="405905"/>
                </a:cubicBezTo>
                <a:lnTo>
                  <a:pt x="11275426" y="405905"/>
                </a:lnTo>
                <a:cubicBezTo>
                  <a:pt x="11275165" y="408612"/>
                  <a:pt x="11275165" y="410970"/>
                  <a:pt x="11275165" y="412979"/>
                </a:cubicBezTo>
                <a:cubicBezTo>
                  <a:pt x="11275165" y="428787"/>
                  <a:pt x="11266169" y="434377"/>
                  <a:pt x="11253505" y="434377"/>
                </a:cubicBezTo>
                <a:cubicBezTo>
                  <a:pt x="11245295" y="434377"/>
                  <a:pt x="11236561" y="432281"/>
                  <a:pt x="11227566" y="427652"/>
                </a:cubicBezTo>
                <a:lnTo>
                  <a:pt x="11227566" y="446168"/>
                </a:lnTo>
                <a:cubicBezTo>
                  <a:pt x="11236561" y="449137"/>
                  <a:pt x="11246169" y="450447"/>
                  <a:pt x="11255426" y="450447"/>
                </a:cubicBezTo>
                <a:cubicBezTo>
                  <a:pt x="11281889" y="450447"/>
                  <a:pt x="11296562" y="437172"/>
                  <a:pt x="11296562" y="412717"/>
                </a:cubicBezTo>
                <a:lnTo>
                  <a:pt x="11296562" y="346341"/>
                </a:lnTo>
                <a:lnTo>
                  <a:pt x="11276037" y="346341"/>
                </a:lnTo>
                <a:cubicBezTo>
                  <a:pt x="11276037" y="350009"/>
                  <a:pt x="11276037" y="353066"/>
                  <a:pt x="11276300" y="357608"/>
                </a:cubicBezTo>
                <a:lnTo>
                  <a:pt x="11276037" y="357608"/>
                </a:lnTo>
                <a:cubicBezTo>
                  <a:pt x="11270972" y="349136"/>
                  <a:pt x="11263636" y="344507"/>
                  <a:pt x="11252195" y="344507"/>
                </a:cubicBezTo>
                <a:close/>
                <a:moveTo>
                  <a:pt x="11180054" y="344507"/>
                </a:moveTo>
                <a:cubicBezTo>
                  <a:pt x="11169573" y="344507"/>
                  <a:pt x="11160403" y="350272"/>
                  <a:pt x="11155075" y="358743"/>
                </a:cubicBezTo>
                <a:lnTo>
                  <a:pt x="11154988" y="358831"/>
                </a:lnTo>
                <a:lnTo>
                  <a:pt x="11154725" y="358831"/>
                </a:lnTo>
                <a:cubicBezTo>
                  <a:pt x="11154725" y="354988"/>
                  <a:pt x="11154463" y="349485"/>
                  <a:pt x="11154202" y="346429"/>
                </a:cubicBezTo>
                <a:lnTo>
                  <a:pt x="11133328" y="346429"/>
                </a:lnTo>
                <a:cubicBezTo>
                  <a:pt x="11133852" y="355163"/>
                  <a:pt x="11134027" y="362936"/>
                  <a:pt x="11134027" y="369573"/>
                </a:cubicBezTo>
                <a:lnTo>
                  <a:pt x="11134027" y="419268"/>
                </a:lnTo>
                <a:lnTo>
                  <a:pt x="11156036" y="419268"/>
                </a:lnTo>
                <a:lnTo>
                  <a:pt x="11156036" y="387128"/>
                </a:lnTo>
                <a:cubicBezTo>
                  <a:pt x="11156036" y="380840"/>
                  <a:pt x="11156909" y="374988"/>
                  <a:pt x="11159006" y="370796"/>
                </a:cubicBezTo>
                <a:cubicBezTo>
                  <a:pt x="11161712" y="365731"/>
                  <a:pt x="11166341" y="362324"/>
                  <a:pt x="11172805" y="362324"/>
                </a:cubicBezTo>
                <a:cubicBezTo>
                  <a:pt x="11183547" y="362324"/>
                  <a:pt x="11185207" y="370621"/>
                  <a:pt x="11185207" y="384420"/>
                </a:cubicBezTo>
                <a:lnTo>
                  <a:pt x="11185207" y="419181"/>
                </a:lnTo>
                <a:lnTo>
                  <a:pt x="11207215" y="419181"/>
                </a:lnTo>
                <a:lnTo>
                  <a:pt x="11207215" y="376036"/>
                </a:lnTo>
                <a:cubicBezTo>
                  <a:pt x="11207215" y="356298"/>
                  <a:pt x="11198656" y="344507"/>
                  <a:pt x="11180054" y="344507"/>
                </a:cubicBezTo>
                <a:close/>
                <a:moveTo>
                  <a:pt x="10991755" y="344507"/>
                </a:moveTo>
                <a:cubicBezTo>
                  <a:pt x="10983283" y="344507"/>
                  <a:pt x="10972716" y="346079"/>
                  <a:pt x="10965117" y="349573"/>
                </a:cubicBezTo>
                <a:lnTo>
                  <a:pt x="10965117" y="365904"/>
                </a:lnTo>
                <a:cubicBezTo>
                  <a:pt x="10971755" y="362237"/>
                  <a:pt x="10980488" y="359704"/>
                  <a:pt x="10988261" y="359704"/>
                </a:cubicBezTo>
                <a:cubicBezTo>
                  <a:pt x="10999004" y="359704"/>
                  <a:pt x="11004594" y="363896"/>
                  <a:pt x="11004594" y="374114"/>
                </a:cubicBezTo>
                <a:cubicBezTo>
                  <a:pt x="11001100" y="373852"/>
                  <a:pt x="10997082" y="373677"/>
                  <a:pt x="10994200" y="373677"/>
                </a:cubicBezTo>
                <a:cubicBezTo>
                  <a:pt x="10970008" y="373677"/>
                  <a:pt x="10956121" y="381887"/>
                  <a:pt x="10956121" y="397783"/>
                </a:cubicBezTo>
                <a:cubicBezTo>
                  <a:pt x="10956121" y="411756"/>
                  <a:pt x="10966864" y="420578"/>
                  <a:pt x="10981361" y="420578"/>
                </a:cubicBezTo>
                <a:cubicBezTo>
                  <a:pt x="10993152" y="420578"/>
                  <a:pt x="11001537" y="415250"/>
                  <a:pt x="11006253" y="407040"/>
                </a:cubicBezTo>
                <a:lnTo>
                  <a:pt x="11006515" y="407040"/>
                </a:lnTo>
                <a:cubicBezTo>
                  <a:pt x="11006340" y="409573"/>
                  <a:pt x="11006253" y="411844"/>
                  <a:pt x="11006253" y="413416"/>
                </a:cubicBezTo>
                <a:cubicBezTo>
                  <a:pt x="11006253" y="415512"/>
                  <a:pt x="11006427" y="418044"/>
                  <a:pt x="11006690" y="419180"/>
                </a:cubicBezTo>
                <a:lnTo>
                  <a:pt x="11025991" y="419180"/>
                </a:lnTo>
                <a:cubicBezTo>
                  <a:pt x="11025467" y="414552"/>
                  <a:pt x="11025030" y="406254"/>
                  <a:pt x="11025030" y="393153"/>
                </a:cubicBezTo>
                <a:cubicBezTo>
                  <a:pt x="11025030" y="387214"/>
                  <a:pt x="11025292" y="379529"/>
                  <a:pt x="11025292" y="374813"/>
                </a:cubicBezTo>
                <a:cubicBezTo>
                  <a:pt x="11025292" y="355686"/>
                  <a:pt x="11015248" y="344507"/>
                  <a:pt x="10991755" y="344507"/>
                </a:cubicBezTo>
                <a:close/>
                <a:moveTo>
                  <a:pt x="11520495" y="344421"/>
                </a:moveTo>
                <a:cubicBezTo>
                  <a:pt x="11497525" y="344421"/>
                  <a:pt x="11482154" y="360141"/>
                  <a:pt x="11482154" y="382499"/>
                </a:cubicBezTo>
                <a:cubicBezTo>
                  <a:pt x="11482154" y="406866"/>
                  <a:pt x="11498748" y="420927"/>
                  <a:pt x="11523551" y="420927"/>
                </a:cubicBezTo>
                <a:cubicBezTo>
                  <a:pt x="11533246" y="420927"/>
                  <a:pt x="11542155" y="419094"/>
                  <a:pt x="11548355" y="416037"/>
                </a:cubicBezTo>
                <a:lnTo>
                  <a:pt x="11547919" y="399443"/>
                </a:lnTo>
                <a:cubicBezTo>
                  <a:pt x="11541194" y="403285"/>
                  <a:pt x="11533858" y="405120"/>
                  <a:pt x="11526085" y="405120"/>
                </a:cubicBezTo>
                <a:cubicBezTo>
                  <a:pt x="11512810" y="405120"/>
                  <a:pt x="11504599" y="398482"/>
                  <a:pt x="11504076" y="388875"/>
                </a:cubicBezTo>
                <a:lnTo>
                  <a:pt x="11504163" y="388788"/>
                </a:lnTo>
                <a:lnTo>
                  <a:pt x="11553858" y="388788"/>
                </a:lnTo>
                <a:cubicBezTo>
                  <a:pt x="11553946" y="387740"/>
                  <a:pt x="11554120" y="384682"/>
                  <a:pt x="11554120" y="383547"/>
                </a:cubicBezTo>
                <a:cubicBezTo>
                  <a:pt x="11554120" y="357084"/>
                  <a:pt x="11542067" y="344421"/>
                  <a:pt x="11520495" y="344421"/>
                </a:cubicBezTo>
                <a:close/>
                <a:moveTo>
                  <a:pt x="11041362" y="331320"/>
                </a:moveTo>
                <a:lnTo>
                  <a:pt x="11040663" y="393242"/>
                </a:lnTo>
                <a:cubicBezTo>
                  <a:pt x="11040663" y="412020"/>
                  <a:pt x="11048524" y="420142"/>
                  <a:pt x="11066602" y="420142"/>
                </a:cubicBezTo>
                <a:cubicBezTo>
                  <a:pt x="11070882" y="420142"/>
                  <a:pt x="11075685" y="419618"/>
                  <a:pt x="11079703" y="418658"/>
                </a:cubicBezTo>
                <a:lnTo>
                  <a:pt x="11079703" y="403112"/>
                </a:lnTo>
                <a:cubicBezTo>
                  <a:pt x="11077607" y="403723"/>
                  <a:pt x="11075161" y="403985"/>
                  <a:pt x="11072803" y="403985"/>
                </a:cubicBezTo>
                <a:cubicBezTo>
                  <a:pt x="11063807" y="403985"/>
                  <a:pt x="11062235" y="398046"/>
                  <a:pt x="11062235" y="390447"/>
                </a:cubicBezTo>
                <a:lnTo>
                  <a:pt x="11062235" y="361976"/>
                </a:lnTo>
                <a:lnTo>
                  <a:pt x="11079703" y="361976"/>
                </a:lnTo>
                <a:lnTo>
                  <a:pt x="11079703" y="346342"/>
                </a:lnTo>
                <a:lnTo>
                  <a:pt x="11062235" y="346342"/>
                </a:lnTo>
                <a:lnTo>
                  <a:pt x="11062235" y="331320"/>
                </a:lnTo>
                <a:close/>
                <a:moveTo>
                  <a:pt x="10688257" y="331320"/>
                </a:moveTo>
                <a:lnTo>
                  <a:pt x="10687558" y="393242"/>
                </a:lnTo>
                <a:cubicBezTo>
                  <a:pt x="10687558" y="412020"/>
                  <a:pt x="10695419" y="420142"/>
                  <a:pt x="10713497" y="420142"/>
                </a:cubicBezTo>
                <a:cubicBezTo>
                  <a:pt x="10717777" y="420142"/>
                  <a:pt x="10722580" y="419619"/>
                  <a:pt x="10726598" y="418658"/>
                </a:cubicBezTo>
                <a:lnTo>
                  <a:pt x="10726598" y="403112"/>
                </a:lnTo>
                <a:cubicBezTo>
                  <a:pt x="10724502" y="403723"/>
                  <a:pt x="10722056" y="403985"/>
                  <a:pt x="10719698" y="403985"/>
                </a:cubicBezTo>
                <a:cubicBezTo>
                  <a:pt x="10710702" y="403985"/>
                  <a:pt x="10709130" y="398046"/>
                  <a:pt x="10709130" y="390447"/>
                </a:cubicBezTo>
                <a:lnTo>
                  <a:pt x="10709130" y="361976"/>
                </a:lnTo>
                <a:lnTo>
                  <a:pt x="10726598" y="361976"/>
                </a:lnTo>
                <a:lnTo>
                  <a:pt x="10726598" y="346342"/>
                </a:lnTo>
                <a:lnTo>
                  <a:pt x="10709130" y="346342"/>
                </a:lnTo>
                <a:lnTo>
                  <a:pt x="10709130" y="331320"/>
                </a:lnTo>
                <a:close/>
                <a:moveTo>
                  <a:pt x="10535154" y="331320"/>
                </a:moveTo>
                <a:lnTo>
                  <a:pt x="10535417" y="331320"/>
                </a:lnTo>
                <a:cubicBezTo>
                  <a:pt x="10536814" y="336823"/>
                  <a:pt x="10540744" y="350534"/>
                  <a:pt x="10543189" y="357871"/>
                </a:cubicBezTo>
                <a:lnTo>
                  <a:pt x="10549914" y="377521"/>
                </a:lnTo>
                <a:lnTo>
                  <a:pt x="10519870" y="377521"/>
                </a:lnTo>
                <a:lnTo>
                  <a:pt x="10526770" y="357871"/>
                </a:lnTo>
                <a:cubicBezTo>
                  <a:pt x="10529391" y="350710"/>
                  <a:pt x="10533670" y="336997"/>
                  <a:pt x="10535154" y="331320"/>
                </a:cubicBezTo>
                <a:close/>
                <a:moveTo>
                  <a:pt x="11344772" y="331319"/>
                </a:moveTo>
                <a:lnTo>
                  <a:pt x="11344073" y="393241"/>
                </a:lnTo>
                <a:cubicBezTo>
                  <a:pt x="11344073" y="412019"/>
                  <a:pt x="11351933" y="420141"/>
                  <a:pt x="11370012" y="420141"/>
                </a:cubicBezTo>
                <a:cubicBezTo>
                  <a:pt x="11374291" y="420141"/>
                  <a:pt x="11379095" y="419617"/>
                  <a:pt x="11383113" y="418657"/>
                </a:cubicBezTo>
                <a:lnTo>
                  <a:pt x="11383113" y="403111"/>
                </a:lnTo>
                <a:cubicBezTo>
                  <a:pt x="11381017" y="403722"/>
                  <a:pt x="11378571" y="403984"/>
                  <a:pt x="11376213" y="403984"/>
                </a:cubicBezTo>
                <a:cubicBezTo>
                  <a:pt x="11367217" y="403984"/>
                  <a:pt x="11365645" y="398045"/>
                  <a:pt x="11365645" y="390446"/>
                </a:cubicBezTo>
                <a:lnTo>
                  <a:pt x="11365645" y="361975"/>
                </a:lnTo>
                <a:lnTo>
                  <a:pt x="11383113" y="361975"/>
                </a:lnTo>
                <a:lnTo>
                  <a:pt x="11383113" y="346341"/>
                </a:lnTo>
                <a:lnTo>
                  <a:pt x="11365645" y="346341"/>
                </a:lnTo>
                <a:lnTo>
                  <a:pt x="11365645" y="331319"/>
                </a:lnTo>
                <a:close/>
                <a:moveTo>
                  <a:pt x="10029996" y="331141"/>
                </a:moveTo>
                <a:cubicBezTo>
                  <a:pt x="10029996" y="331141"/>
                  <a:pt x="10056285" y="331141"/>
                  <a:pt x="10056285" y="331141"/>
                </a:cubicBezTo>
                <a:cubicBezTo>
                  <a:pt x="10065018" y="331141"/>
                  <a:pt x="10070869" y="337255"/>
                  <a:pt x="10070869" y="345727"/>
                </a:cubicBezTo>
                <a:cubicBezTo>
                  <a:pt x="10070869" y="351492"/>
                  <a:pt x="10065717" y="360137"/>
                  <a:pt x="10056983" y="360137"/>
                </a:cubicBezTo>
                <a:lnTo>
                  <a:pt x="10030083" y="360137"/>
                </a:lnTo>
                <a:lnTo>
                  <a:pt x="10029996" y="360137"/>
                </a:lnTo>
                <a:close/>
                <a:moveTo>
                  <a:pt x="11594557" y="320840"/>
                </a:moveTo>
                <a:lnTo>
                  <a:pt x="11619623" y="419180"/>
                </a:lnTo>
                <a:lnTo>
                  <a:pt x="11649492" y="419180"/>
                </a:lnTo>
                <a:lnTo>
                  <a:pt x="11662156" y="356735"/>
                </a:lnTo>
                <a:cubicBezTo>
                  <a:pt x="11663116" y="352107"/>
                  <a:pt x="11664514" y="342935"/>
                  <a:pt x="11665213" y="337172"/>
                </a:cubicBezTo>
                <a:lnTo>
                  <a:pt x="11665475" y="337172"/>
                </a:lnTo>
                <a:cubicBezTo>
                  <a:pt x="11666173" y="342935"/>
                  <a:pt x="11667920" y="352107"/>
                  <a:pt x="11668881" y="356735"/>
                </a:cubicBezTo>
                <a:lnTo>
                  <a:pt x="11669055" y="356735"/>
                </a:lnTo>
                <a:lnTo>
                  <a:pt x="11682680" y="419180"/>
                </a:lnTo>
                <a:lnTo>
                  <a:pt x="11712375" y="419180"/>
                </a:lnTo>
                <a:lnTo>
                  <a:pt x="11736742" y="320840"/>
                </a:lnTo>
                <a:lnTo>
                  <a:pt x="11713947" y="320840"/>
                </a:lnTo>
                <a:lnTo>
                  <a:pt x="11702419" y="375338"/>
                </a:lnTo>
                <a:cubicBezTo>
                  <a:pt x="11701545" y="379093"/>
                  <a:pt x="11698750" y="394377"/>
                  <a:pt x="11697877" y="401102"/>
                </a:cubicBezTo>
                <a:lnTo>
                  <a:pt x="11697615" y="401102"/>
                </a:lnTo>
                <a:cubicBezTo>
                  <a:pt x="11696567" y="394202"/>
                  <a:pt x="11693772" y="378744"/>
                  <a:pt x="11693073" y="375338"/>
                </a:cubicBezTo>
                <a:lnTo>
                  <a:pt x="11681371" y="320840"/>
                </a:lnTo>
                <a:lnTo>
                  <a:pt x="11650628" y="320840"/>
                </a:lnTo>
                <a:lnTo>
                  <a:pt x="11639885" y="375338"/>
                </a:lnTo>
                <a:cubicBezTo>
                  <a:pt x="11639187" y="378744"/>
                  <a:pt x="11636479" y="393940"/>
                  <a:pt x="11635518" y="401102"/>
                </a:cubicBezTo>
                <a:lnTo>
                  <a:pt x="11635257" y="401102"/>
                </a:lnTo>
                <a:cubicBezTo>
                  <a:pt x="11634383" y="393940"/>
                  <a:pt x="11631414" y="378744"/>
                  <a:pt x="11630714" y="375338"/>
                </a:cubicBezTo>
                <a:lnTo>
                  <a:pt x="11618924" y="320840"/>
                </a:lnTo>
                <a:close/>
                <a:moveTo>
                  <a:pt x="11095162" y="315687"/>
                </a:moveTo>
                <a:lnTo>
                  <a:pt x="11095162" y="334116"/>
                </a:lnTo>
                <a:lnTo>
                  <a:pt x="11117433" y="334116"/>
                </a:lnTo>
                <a:lnTo>
                  <a:pt x="11117433" y="315687"/>
                </a:lnTo>
                <a:close/>
                <a:moveTo>
                  <a:pt x="11397262" y="312805"/>
                </a:moveTo>
                <a:lnTo>
                  <a:pt x="11397262" y="419269"/>
                </a:lnTo>
                <a:lnTo>
                  <a:pt x="11419271" y="419269"/>
                </a:lnTo>
                <a:lnTo>
                  <a:pt x="11419271" y="387129"/>
                </a:lnTo>
                <a:cubicBezTo>
                  <a:pt x="11419271" y="373591"/>
                  <a:pt x="11423114" y="362325"/>
                  <a:pt x="11435777" y="362325"/>
                </a:cubicBezTo>
                <a:cubicBezTo>
                  <a:pt x="11446433" y="362325"/>
                  <a:pt x="11448441" y="370796"/>
                  <a:pt x="11448441" y="384421"/>
                </a:cubicBezTo>
                <a:lnTo>
                  <a:pt x="11448441" y="419180"/>
                </a:lnTo>
                <a:lnTo>
                  <a:pt x="11470451" y="419180"/>
                </a:lnTo>
                <a:lnTo>
                  <a:pt x="11470451" y="376211"/>
                </a:lnTo>
                <a:cubicBezTo>
                  <a:pt x="11470451" y="356298"/>
                  <a:pt x="11461542" y="344508"/>
                  <a:pt x="11442940" y="344508"/>
                </a:cubicBezTo>
                <a:cubicBezTo>
                  <a:pt x="11432546" y="344508"/>
                  <a:pt x="11424337" y="350272"/>
                  <a:pt x="11419009" y="358569"/>
                </a:cubicBezTo>
                <a:lnTo>
                  <a:pt x="11418922" y="358743"/>
                </a:lnTo>
                <a:lnTo>
                  <a:pt x="11418659" y="358743"/>
                </a:lnTo>
                <a:cubicBezTo>
                  <a:pt x="11418922" y="353503"/>
                  <a:pt x="11419097" y="347041"/>
                  <a:pt x="11419097" y="341975"/>
                </a:cubicBezTo>
                <a:lnTo>
                  <a:pt x="11419097" y="312805"/>
                </a:lnTo>
                <a:close/>
                <a:moveTo>
                  <a:pt x="11973250" y="312804"/>
                </a:moveTo>
                <a:lnTo>
                  <a:pt x="11973250" y="336298"/>
                </a:lnTo>
                <a:cubicBezTo>
                  <a:pt x="11973250" y="343373"/>
                  <a:pt x="11973425" y="351233"/>
                  <a:pt x="11973687" y="357434"/>
                </a:cubicBezTo>
                <a:lnTo>
                  <a:pt x="11973425" y="357434"/>
                </a:lnTo>
                <a:cubicBezTo>
                  <a:pt x="11968971" y="349486"/>
                  <a:pt x="11961634" y="344595"/>
                  <a:pt x="11950629" y="344595"/>
                </a:cubicBezTo>
                <a:cubicBezTo>
                  <a:pt x="11931503" y="344595"/>
                  <a:pt x="11918402" y="359180"/>
                  <a:pt x="11918402" y="382499"/>
                </a:cubicBezTo>
                <a:cubicBezTo>
                  <a:pt x="11918402" y="405818"/>
                  <a:pt x="11930979" y="420927"/>
                  <a:pt x="11950542" y="420927"/>
                </a:cubicBezTo>
                <a:cubicBezTo>
                  <a:pt x="11961897" y="420927"/>
                  <a:pt x="11969932" y="416124"/>
                  <a:pt x="11975172" y="406430"/>
                </a:cubicBezTo>
                <a:lnTo>
                  <a:pt x="11975346" y="406430"/>
                </a:lnTo>
                <a:cubicBezTo>
                  <a:pt x="11975346" y="411408"/>
                  <a:pt x="11975433" y="416036"/>
                  <a:pt x="11975608" y="419268"/>
                </a:cubicBezTo>
                <a:lnTo>
                  <a:pt x="11996045" y="419268"/>
                </a:lnTo>
                <a:cubicBezTo>
                  <a:pt x="11995521" y="413242"/>
                  <a:pt x="11995346" y="405206"/>
                  <a:pt x="11995346" y="397609"/>
                </a:cubicBezTo>
                <a:lnTo>
                  <a:pt x="11995346" y="312804"/>
                </a:lnTo>
                <a:close/>
                <a:moveTo>
                  <a:pt x="10520744" y="312718"/>
                </a:moveTo>
                <a:lnTo>
                  <a:pt x="10479521" y="419182"/>
                </a:lnTo>
                <a:lnTo>
                  <a:pt x="10505023" y="419182"/>
                </a:lnTo>
                <a:lnTo>
                  <a:pt x="10513844" y="395513"/>
                </a:lnTo>
                <a:lnTo>
                  <a:pt x="10555941" y="395513"/>
                </a:lnTo>
                <a:lnTo>
                  <a:pt x="10564675" y="419182"/>
                </a:lnTo>
                <a:lnTo>
                  <a:pt x="10591837" y="419182"/>
                </a:lnTo>
                <a:lnTo>
                  <a:pt x="10550002" y="312718"/>
                </a:lnTo>
                <a:close/>
                <a:moveTo>
                  <a:pt x="11884953" y="312716"/>
                </a:moveTo>
                <a:lnTo>
                  <a:pt x="11884953" y="419180"/>
                </a:lnTo>
                <a:lnTo>
                  <a:pt x="11907224" y="419180"/>
                </a:lnTo>
                <a:lnTo>
                  <a:pt x="11907224" y="312716"/>
                </a:lnTo>
                <a:close/>
                <a:moveTo>
                  <a:pt x="9591650" y="312714"/>
                </a:moveTo>
                <a:lnTo>
                  <a:pt x="9591650" y="331142"/>
                </a:lnTo>
                <a:lnTo>
                  <a:pt x="9591650" y="400750"/>
                </a:lnTo>
                <a:lnTo>
                  <a:pt x="9591650" y="419266"/>
                </a:lnTo>
                <a:lnTo>
                  <a:pt x="9613134" y="419266"/>
                </a:lnTo>
                <a:lnTo>
                  <a:pt x="9672000" y="419266"/>
                </a:lnTo>
                <a:lnTo>
                  <a:pt x="9672000" y="400750"/>
                </a:lnTo>
                <a:lnTo>
                  <a:pt x="9613134" y="400750"/>
                </a:lnTo>
                <a:lnTo>
                  <a:pt x="9613134" y="372366"/>
                </a:lnTo>
                <a:lnTo>
                  <a:pt x="9664052" y="372366"/>
                </a:lnTo>
                <a:lnTo>
                  <a:pt x="9664052" y="353937"/>
                </a:lnTo>
                <a:lnTo>
                  <a:pt x="9613134" y="353937"/>
                </a:lnTo>
                <a:lnTo>
                  <a:pt x="9613134" y="331142"/>
                </a:lnTo>
                <a:lnTo>
                  <a:pt x="9670515" y="331142"/>
                </a:lnTo>
                <a:lnTo>
                  <a:pt x="9670515" y="312714"/>
                </a:lnTo>
                <a:lnTo>
                  <a:pt x="9613134" y="312714"/>
                </a:lnTo>
                <a:close/>
                <a:moveTo>
                  <a:pt x="10098294" y="312713"/>
                </a:moveTo>
                <a:lnTo>
                  <a:pt x="10098294" y="419265"/>
                </a:lnTo>
                <a:lnTo>
                  <a:pt x="10119780" y="419265"/>
                </a:lnTo>
                <a:lnTo>
                  <a:pt x="10119780" y="312713"/>
                </a:lnTo>
                <a:close/>
                <a:moveTo>
                  <a:pt x="9929296" y="312713"/>
                </a:moveTo>
                <a:lnTo>
                  <a:pt x="9929296" y="331141"/>
                </a:lnTo>
                <a:lnTo>
                  <a:pt x="9955322" y="331141"/>
                </a:lnTo>
                <a:lnTo>
                  <a:pt x="9955322" y="419265"/>
                </a:lnTo>
                <a:lnTo>
                  <a:pt x="9977244" y="419265"/>
                </a:lnTo>
                <a:lnTo>
                  <a:pt x="9977244" y="331141"/>
                </a:lnTo>
                <a:lnTo>
                  <a:pt x="10003183" y="331141"/>
                </a:lnTo>
                <a:lnTo>
                  <a:pt x="10003183" y="312713"/>
                </a:lnTo>
                <a:lnTo>
                  <a:pt x="9977244" y="312713"/>
                </a:lnTo>
                <a:lnTo>
                  <a:pt x="9955322" y="312713"/>
                </a:lnTo>
                <a:close/>
                <a:moveTo>
                  <a:pt x="9756892" y="312713"/>
                </a:moveTo>
                <a:lnTo>
                  <a:pt x="9756892" y="331141"/>
                </a:lnTo>
                <a:lnTo>
                  <a:pt x="9756892" y="400749"/>
                </a:lnTo>
                <a:lnTo>
                  <a:pt x="9756892" y="419265"/>
                </a:lnTo>
                <a:lnTo>
                  <a:pt x="9778464" y="419265"/>
                </a:lnTo>
                <a:lnTo>
                  <a:pt x="9837329" y="419265"/>
                </a:lnTo>
                <a:lnTo>
                  <a:pt x="9837329" y="400749"/>
                </a:lnTo>
                <a:lnTo>
                  <a:pt x="9778464" y="400749"/>
                </a:lnTo>
                <a:lnTo>
                  <a:pt x="9778464" y="372365"/>
                </a:lnTo>
                <a:lnTo>
                  <a:pt x="9829469" y="372365"/>
                </a:lnTo>
                <a:lnTo>
                  <a:pt x="9829469" y="353936"/>
                </a:lnTo>
                <a:lnTo>
                  <a:pt x="9778464" y="353936"/>
                </a:lnTo>
                <a:lnTo>
                  <a:pt x="9778464" y="331141"/>
                </a:lnTo>
                <a:lnTo>
                  <a:pt x="9835845" y="331141"/>
                </a:lnTo>
                <a:lnTo>
                  <a:pt x="9835845" y="312713"/>
                </a:lnTo>
                <a:lnTo>
                  <a:pt x="9778464" y="312713"/>
                </a:lnTo>
                <a:close/>
                <a:moveTo>
                  <a:pt x="9678987" y="312712"/>
                </a:moveTo>
                <a:lnTo>
                  <a:pt x="9678987" y="400749"/>
                </a:lnTo>
                <a:lnTo>
                  <a:pt x="9678987" y="419264"/>
                </a:lnTo>
                <a:lnTo>
                  <a:pt x="9700472" y="419264"/>
                </a:lnTo>
                <a:lnTo>
                  <a:pt x="9750779" y="419264"/>
                </a:lnTo>
                <a:lnTo>
                  <a:pt x="9750779" y="400749"/>
                </a:lnTo>
                <a:lnTo>
                  <a:pt x="9700472" y="400749"/>
                </a:lnTo>
                <a:lnTo>
                  <a:pt x="9700472" y="312712"/>
                </a:lnTo>
                <a:close/>
                <a:moveTo>
                  <a:pt x="10008511" y="312539"/>
                </a:moveTo>
                <a:lnTo>
                  <a:pt x="10008511" y="419178"/>
                </a:lnTo>
                <a:lnTo>
                  <a:pt x="10029996" y="419178"/>
                </a:lnTo>
                <a:lnTo>
                  <a:pt x="10029996" y="377255"/>
                </a:lnTo>
                <a:cubicBezTo>
                  <a:pt x="10029996" y="377255"/>
                  <a:pt x="10048599" y="377255"/>
                  <a:pt x="10048599" y="377255"/>
                </a:cubicBezTo>
                <a:cubicBezTo>
                  <a:pt x="10059603" y="377255"/>
                  <a:pt x="10065630" y="382933"/>
                  <a:pt x="10067464" y="390531"/>
                </a:cubicBezTo>
                <a:cubicBezTo>
                  <a:pt x="10069473" y="398915"/>
                  <a:pt x="10068948" y="411405"/>
                  <a:pt x="10071131" y="419265"/>
                </a:cubicBezTo>
                <a:lnTo>
                  <a:pt x="10092704" y="419265"/>
                </a:lnTo>
                <a:cubicBezTo>
                  <a:pt x="10090608" y="411055"/>
                  <a:pt x="10089386" y="399876"/>
                  <a:pt x="10088948" y="391317"/>
                </a:cubicBezTo>
                <a:cubicBezTo>
                  <a:pt x="10088162" y="376819"/>
                  <a:pt x="10080564" y="371055"/>
                  <a:pt x="10073053" y="368347"/>
                </a:cubicBezTo>
                <a:lnTo>
                  <a:pt x="10073053" y="368172"/>
                </a:lnTo>
                <a:cubicBezTo>
                  <a:pt x="10082136" y="365291"/>
                  <a:pt x="10091918" y="357081"/>
                  <a:pt x="10091918" y="342320"/>
                </a:cubicBezTo>
                <a:cubicBezTo>
                  <a:pt x="10091918" y="323368"/>
                  <a:pt x="10079079" y="312539"/>
                  <a:pt x="10057333" y="312539"/>
                </a:cubicBezTo>
                <a:lnTo>
                  <a:pt x="10029996" y="312539"/>
                </a:lnTo>
                <a:cubicBezTo>
                  <a:pt x="10029996" y="312539"/>
                  <a:pt x="10008686" y="312539"/>
                  <a:pt x="10008686" y="312539"/>
                </a:cubicBezTo>
                <a:close/>
                <a:moveTo>
                  <a:pt x="10173841" y="310266"/>
                </a:moveTo>
                <a:cubicBezTo>
                  <a:pt x="10141351" y="310266"/>
                  <a:pt x="10124845" y="335157"/>
                  <a:pt x="10124845" y="365900"/>
                </a:cubicBezTo>
                <a:cubicBezTo>
                  <a:pt x="10124845" y="396642"/>
                  <a:pt x="10142050" y="421534"/>
                  <a:pt x="10173841" y="421534"/>
                </a:cubicBezTo>
                <a:cubicBezTo>
                  <a:pt x="10199693" y="421534"/>
                  <a:pt x="10216898" y="406861"/>
                  <a:pt x="10220042" y="383979"/>
                </a:cubicBezTo>
                <a:lnTo>
                  <a:pt x="10197597" y="383979"/>
                </a:lnTo>
                <a:cubicBezTo>
                  <a:pt x="10194365" y="394634"/>
                  <a:pt x="10187378" y="402843"/>
                  <a:pt x="10174452" y="402843"/>
                </a:cubicBezTo>
                <a:lnTo>
                  <a:pt x="10174452" y="402756"/>
                </a:lnTo>
                <a:cubicBezTo>
                  <a:pt x="10157159" y="402756"/>
                  <a:pt x="10147028" y="385813"/>
                  <a:pt x="10147028" y="365550"/>
                </a:cubicBezTo>
                <a:cubicBezTo>
                  <a:pt x="10147028" y="345288"/>
                  <a:pt x="10156723" y="328257"/>
                  <a:pt x="10174452" y="328257"/>
                </a:cubicBezTo>
                <a:cubicBezTo>
                  <a:pt x="10187641" y="328257"/>
                  <a:pt x="10194365" y="336467"/>
                  <a:pt x="10197597" y="346511"/>
                </a:cubicBezTo>
                <a:lnTo>
                  <a:pt x="10219955" y="346511"/>
                </a:lnTo>
                <a:cubicBezTo>
                  <a:pt x="10216287" y="325637"/>
                  <a:pt x="10199955" y="310266"/>
                  <a:pt x="10173841" y="310266"/>
                </a:cubicBezTo>
                <a:close/>
                <a:moveTo>
                  <a:pt x="9885190" y="310266"/>
                </a:moveTo>
                <a:cubicBezTo>
                  <a:pt x="9852613" y="310266"/>
                  <a:pt x="9836194" y="335157"/>
                  <a:pt x="9836194" y="365900"/>
                </a:cubicBezTo>
                <a:cubicBezTo>
                  <a:pt x="9836194" y="396642"/>
                  <a:pt x="9853312" y="421534"/>
                  <a:pt x="9885190" y="421534"/>
                </a:cubicBezTo>
                <a:cubicBezTo>
                  <a:pt x="9910780" y="421534"/>
                  <a:pt x="9928073" y="406861"/>
                  <a:pt x="9931217" y="383979"/>
                </a:cubicBezTo>
                <a:lnTo>
                  <a:pt x="9908772" y="383979"/>
                </a:lnTo>
                <a:cubicBezTo>
                  <a:pt x="9905802" y="394634"/>
                  <a:pt x="9898815" y="402844"/>
                  <a:pt x="9885802" y="402844"/>
                </a:cubicBezTo>
                <a:lnTo>
                  <a:pt x="9885802" y="402756"/>
                </a:lnTo>
                <a:cubicBezTo>
                  <a:pt x="9868508" y="402756"/>
                  <a:pt x="9858290" y="385813"/>
                  <a:pt x="9858290" y="365550"/>
                </a:cubicBezTo>
                <a:cubicBezTo>
                  <a:pt x="9858290" y="345288"/>
                  <a:pt x="9868160" y="328257"/>
                  <a:pt x="9885802" y="328257"/>
                </a:cubicBezTo>
                <a:cubicBezTo>
                  <a:pt x="9898903" y="328257"/>
                  <a:pt x="9905802" y="336467"/>
                  <a:pt x="9908772" y="346511"/>
                </a:cubicBezTo>
                <a:lnTo>
                  <a:pt x="9931043" y="346511"/>
                </a:lnTo>
                <a:cubicBezTo>
                  <a:pt x="9927461" y="325638"/>
                  <a:pt x="9911130" y="310266"/>
                  <a:pt x="9885190" y="310266"/>
                </a:cubicBezTo>
                <a:close/>
                <a:moveTo>
                  <a:pt x="9365360" y="309220"/>
                </a:moveTo>
                <a:lnTo>
                  <a:pt x="9428855" y="419265"/>
                </a:lnTo>
                <a:lnTo>
                  <a:pt x="9556105" y="419265"/>
                </a:lnTo>
                <a:lnTo>
                  <a:pt x="9492523" y="309220"/>
                </a:lnTo>
                <a:close/>
                <a:moveTo>
                  <a:pt x="10012005" y="247821"/>
                </a:moveTo>
                <a:lnTo>
                  <a:pt x="10036896" y="247821"/>
                </a:lnTo>
                <a:cubicBezTo>
                  <a:pt x="10046066" y="247821"/>
                  <a:pt x="10053665" y="253062"/>
                  <a:pt x="10053665" y="263368"/>
                </a:cubicBezTo>
                <a:cubicBezTo>
                  <a:pt x="10053665" y="272102"/>
                  <a:pt x="10046765" y="278739"/>
                  <a:pt x="10037158" y="278739"/>
                </a:cubicBezTo>
                <a:lnTo>
                  <a:pt x="10012005" y="278739"/>
                </a:lnTo>
                <a:cubicBezTo>
                  <a:pt x="10012005" y="278739"/>
                  <a:pt x="10012005" y="247821"/>
                  <a:pt x="10012005" y="247821"/>
                </a:cubicBezTo>
                <a:close/>
                <a:moveTo>
                  <a:pt x="10012092" y="205201"/>
                </a:moveTo>
                <a:lnTo>
                  <a:pt x="10038731" y="205201"/>
                </a:lnTo>
                <a:cubicBezTo>
                  <a:pt x="10044844" y="205201"/>
                  <a:pt x="10051482" y="210790"/>
                  <a:pt x="10051482" y="217864"/>
                </a:cubicBezTo>
                <a:cubicBezTo>
                  <a:pt x="10051482" y="224241"/>
                  <a:pt x="10046853" y="231228"/>
                  <a:pt x="10037595" y="231228"/>
                </a:cubicBezTo>
                <a:lnTo>
                  <a:pt x="10012092" y="231228"/>
                </a:lnTo>
                <a:cubicBezTo>
                  <a:pt x="10012092" y="231228"/>
                  <a:pt x="10012092" y="205201"/>
                  <a:pt x="10012092" y="205201"/>
                </a:cubicBezTo>
                <a:close/>
                <a:moveTo>
                  <a:pt x="9591650" y="188434"/>
                </a:moveTo>
                <a:lnTo>
                  <a:pt x="9591650" y="294898"/>
                </a:lnTo>
                <a:lnTo>
                  <a:pt x="9611738" y="294898"/>
                </a:lnTo>
                <a:lnTo>
                  <a:pt x="9611738" y="215683"/>
                </a:lnTo>
                <a:lnTo>
                  <a:pt x="9634358" y="294898"/>
                </a:lnTo>
                <a:lnTo>
                  <a:pt x="9635231" y="294898"/>
                </a:lnTo>
                <a:lnTo>
                  <a:pt x="9654183" y="294898"/>
                </a:lnTo>
                <a:lnTo>
                  <a:pt x="9655057" y="294898"/>
                </a:lnTo>
                <a:lnTo>
                  <a:pt x="9677677" y="215683"/>
                </a:lnTo>
                <a:lnTo>
                  <a:pt x="9677677" y="294898"/>
                </a:lnTo>
                <a:lnTo>
                  <a:pt x="9697765" y="294898"/>
                </a:lnTo>
                <a:lnTo>
                  <a:pt x="9697765" y="188434"/>
                </a:lnTo>
                <a:lnTo>
                  <a:pt x="9686760" y="188434"/>
                </a:lnTo>
                <a:lnTo>
                  <a:pt x="9677328" y="188434"/>
                </a:lnTo>
                <a:lnTo>
                  <a:pt x="9667022" y="188434"/>
                </a:lnTo>
                <a:lnTo>
                  <a:pt x="9644751" y="263194"/>
                </a:lnTo>
                <a:lnTo>
                  <a:pt x="9622393" y="188434"/>
                </a:lnTo>
                <a:lnTo>
                  <a:pt x="9612087" y="188434"/>
                </a:lnTo>
                <a:lnTo>
                  <a:pt x="9602567" y="188434"/>
                </a:lnTo>
                <a:close/>
                <a:moveTo>
                  <a:pt x="10199343" y="188433"/>
                </a:moveTo>
                <a:lnTo>
                  <a:pt x="10199343" y="294897"/>
                </a:lnTo>
                <a:lnTo>
                  <a:pt x="10220478" y="294897"/>
                </a:lnTo>
                <a:lnTo>
                  <a:pt x="10220478" y="248434"/>
                </a:lnTo>
                <a:lnTo>
                  <a:pt x="10263012" y="248434"/>
                </a:lnTo>
                <a:lnTo>
                  <a:pt x="10263012" y="294897"/>
                </a:lnTo>
                <a:lnTo>
                  <a:pt x="10284148" y="294897"/>
                </a:lnTo>
                <a:lnTo>
                  <a:pt x="10284148" y="188433"/>
                </a:lnTo>
                <a:lnTo>
                  <a:pt x="10263012" y="188433"/>
                </a:lnTo>
                <a:lnTo>
                  <a:pt x="10263012" y="229918"/>
                </a:lnTo>
                <a:lnTo>
                  <a:pt x="10220478" y="229918"/>
                </a:lnTo>
                <a:lnTo>
                  <a:pt x="10220478" y="188433"/>
                </a:lnTo>
                <a:close/>
                <a:moveTo>
                  <a:pt x="9733486" y="188433"/>
                </a:moveTo>
                <a:lnTo>
                  <a:pt x="9733486" y="206773"/>
                </a:lnTo>
                <a:lnTo>
                  <a:pt x="9759600" y="206773"/>
                </a:lnTo>
                <a:lnTo>
                  <a:pt x="9759600" y="294897"/>
                </a:lnTo>
                <a:lnTo>
                  <a:pt x="9781434" y="294897"/>
                </a:lnTo>
                <a:lnTo>
                  <a:pt x="9781434" y="206773"/>
                </a:lnTo>
                <a:lnTo>
                  <a:pt x="9807548" y="206773"/>
                </a:lnTo>
                <a:lnTo>
                  <a:pt x="9807548" y="188433"/>
                </a:lnTo>
                <a:lnTo>
                  <a:pt x="9781434" y="188433"/>
                </a:lnTo>
                <a:lnTo>
                  <a:pt x="9759600" y="188433"/>
                </a:lnTo>
                <a:close/>
                <a:moveTo>
                  <a:pt x="10080739" y="188346"/>
                </a:moveTo>
                <a:lnTo>
                  <a:pt x="10080739" y="294898"/>
                </a:lnTo>
                <a:lnTo>
                  <a:pt x="10102225" y="294898"/>
                </a:lnTo>
                <a:lnTo>
                  <a:pt x="10102225" y="188346"/>
                </a:lnTo>
                <a:close/>
                <a:moveTo>
                  <a:pt x="10292969" y="188345"/>
                </a:moveTo>
                <a:lnTo>
                  <a:pt x="10292969" y="294897"/>
                </a:lnTo>
                <a:lnTo>
                  <a:pt x="10314455" y="294897"/>
                </a:lnTo>
                <a:lnTo>
                  <a:pt x="10314455" y="188345"/>
                </a:lnTo>
                <a:close/>
                <a:moveTo>
                  <a:pt x="9990695" y="188345"/>
                </a:moveTo>
                <a:lnTo>
                  <a:pt x="9990695" y="294897"/>
                </a:lnTo>
                <a:lnTo>
                  <a:pt x="9990782" y="294897"/>
                </a:lnTo>
                <a:cubicBezTo>
                  <a:pt x="9990782" y="294897"/>
                  <a:pt x="10012791" y="294897"/>
                  <a:pt x="10012791" y="294897"/>
                </a:cubicBezTo>
                <a:lnTo>
                  <a:pt x="10012878" y="294897"/>
                </a:lnTo>
                <a:lnTo>
                  <a:pt x="10043796" y="294897"/>
                </a:lnTo>
                <a:cubicBezTo>
                  <a:pt x="10063796" y="294897"/>
                  <a:pt x="10075762" y="282844"/>
                  <a:pt x="10075762" y="266163"/>
                </a:cubicBezTo>
                <a:cubicBezTo>
                  <a:pt x="10075762" y="252625"/>
                  <a:pt x="10065892" y="240922"/>
                  <a:pt x="10055237" y="238215"/>
                </a:cubicBezTo>
                <a:cubicBezTo>
                  <a:pt x="10064582" y="235856"/>
                  <a:pt x="10072093" y="226249"/>
                  <a:pt x="10072093" y="214546"/>
                </a:cubicBezTo>
                <a:cubicBezTo>
                  <a:pt x="10072093" y="198825"/>
                  <a:pt x="10060478" y="188345"/>
                  <a:pt x="10038643" y="188345"/>
                </a:cubicBezTo>
                <a:lnTo>
                  <a:pt x="10012791" y="188345"/>
                </a:lnTo>
                <a:cubicBezTo>
                  <a:pt x="10012791" y="188345"/>
                  <a:pt x="9990782" y="188345"/>
                  <a:pt x="9990782" y="188345"/>
                </a:cubicBezTo>
                <a:close/>
                <a:moveTo>
                  <a:pt x="9898641" y="188345"/>
                </a:moveTo>
                <a:lnTo>
                  <a:pt x="9898641" y="261621"/>
                </a:lnTo>
                <a:cubicBezTo>
                  <a:pt x="9898641" y="287211"/>
                  <a:pt x="9914537" y="297954"/>
                  <a:pt x="9940738" y="297954"/>
                </a:cubicBezTo>
                <a:cubicBezTo>
                  <a:pt x="9967987" y="297954"/>
                  <a:pt x="9983183" y="285464"/>
                  <a:pt x="9983183" y="261621"/>
                </a:cubicBezTo>
                <a:lnTo>
                  <a:pt x="9983183" y="188345"/>
                </a:lnTo>
                <a:lnTo>
                  <a:pt x="9961786" y="188345"/>
                </a:lnTo>
                <a:lnTo>
                  <a:pt x="9961786" y="263542"/>
                </a:lnTo>
                <a:cubicBezTo>
                  <a:pt x="9961786" y="272713"/>
                  <a:pt x="9954013" y="280311"/>
                  <a:pt x="9940738" y="280311"/>
                </a:cubicBezTo>
                <a:cubicBezTo>
                  <a:pt x="9924668" y="280311"/>
                  <a:pt x="9919777" y="271316"/>
                  <a:pt x="9919777" y="263542"/>
                </a:cubicBezTo>
                <a:lnTo>
                  <a:pt x="9919777" y="188345"/>
                </a:lnTo>
                <a:close/>
                <a:moveTo>
                  <a:pt x="9706324" y="188345"/>
                </a:moveTo>
                <a:lnTo>
                  <a:pt x="9706324" y="294897"/>
                </a:lnTo>
                <a:lnTo>
                  <a:pt x="9727809" y="294897"/>
                </a:lnTo>
                <a:lnTo>
                  <a:pt x="9727809" y="188345"/>
                </a:lnTo>
                <a:close/>
                <a:moveTo>
                  <a:pt x="10148950" y="185112"/>
                </a:moveTo>
                <a:cubicBezTo>
                  <a:pt x="10129473" y="185112"/>
                  <a:pt x="10109211" y="196379"/>
                  <a:pt x="10109211" y="217427"/>
                </a:cubicBezTo>
                <a:cubicBezTo>
                  <a:pt x="10109211" y="235157"/>
                  <a:pt x="10122224" y="246074"/>
                  <a:pt x="10143796" y="249916"/>
                </a:cubicBezTo>
                <a:lnTo>
                  <a:pt x="10143884" y="249916"/>
                </a:lnTo>
                <a:cubicBezTo>
                  <a:pt x="10161177" y="252886"/>
                  <a:pt x="10170872" y="256118"/>
                  <a:pt x="10170872" y="266424"/>
                </a:cubicBezTo>
                <a:cubicBezTo>
                  <a:pt x="10170872" y="273411"/>
                  <a:pt x="10164059" y="279961"/>
                  <a:pt x="10149648" y="279961"/>
                </a:cubicBezTo>
                <a:cubicBezTo>
                  <a:pt x="10135238" y="279961"/>
                  <a:pt x="10127989" y="271838"/>
                  <a:pt x="10127989" y="262145"/>
                </a:cubicBezTo>
                <a:lnTo>
                  <a:pt x="10107377" y="262145"/>
                </a:lnTo>
                <a:cubicBezTo>
                  <a:pt x="10107377" y="280660"/>
                  <a:pt x="10119342" y="297690"/>
                  <a:pt x="10150609" y="297690"/>
                </a:cubicBezTo>
                <a:cubicBezTo>
                  <a:pt x="10181876" y="297690"/>
                  <a:pt x="10193230" y="281795"/>
                  <a:pt x="10193230" y="263891"/>
                </a:cubicBezTo>
                <a:cubicBezTo>
                  <a:pt x="10193230" y="247034"/>
                  <a:pt x="10182225" y="236380"/>
                  <a:pt x="10162661" y="232537"/>
                </a:cubicBezTo>
                <a:cubicBezTo>
                  <a:pt x="10143709" y="228868"/>
                  <a:pt x="10130783" y="228082"/>
                  <a:pt x="10130783" y="216030"/>
                </a:cubicBezTo>
                <a:cubicBezTo>
                  <a:pt x="10130783" y="207820"/>
                  <a:pt x="10138207" y="202929"/>
                  <a:pt x="10149823" y="202929"/>
                </a:cubicBezTo>
                <a:cubicBezTo>
                  <a:pt x="10162050" y="202929"/>
                  <a:pt x="10169125" y="209043"/>
                  <a:pt x="10169125" y="219262"/>
                </a:cubicBezTo>
                <a:lnTo>
                  <a:pt x="10189998" y="219262"/>
                </a:lnTo>
                <a:cubicBezTo>
                  <a:pt x="10189998" y="202405"/>
                  <a:pt x="10177160" y="185112"/>
                  <a:pt x="10148950" y="185112"/>
                </a:cubicBezTo>
                <a:close/>
                <a:moveTo>
                  <a:pt x="9848684" y="185112"/>
                </a:moveTo>
                <a:cubicBezTo>
                  <a:pt x="9829207" y="185112"/>
                  <a:pt x="9808858" y="196379"/>
                  <a:pt x="9808858" y="217427"/>
                </a:cubicBezTo>
                <a:cubicBezTo>
                  <a:pt x="9808858" y="235157"/>
                  <a:pt x="9821871" y="246074"/>
                  <a:pt x="9843531" y="249916"/>
                </a:cubicBezTo>
                <a:cubicBezTo>
                  <a:pt x="9860824" y="252886"/>
                  <a:pt x="9870693" y="256118"/>
                  <a:pt x="9870693" y="266424"/>
                </a:cubicBezTo>
                <a:cubicBezTo>
                  <a:pt x="9870693" y="273411"/>
                  <a:pt x="9863794" y="279962"/>
                  <a:pt x="9849382" y="279962"/>
                </a:cubicBezTo>
                <a:cubicBezTo>
                  <a:pt x="9834972" y="279962"/>
                  <a:pt x="9827723" y="271839"/>
                  <a:pt x="9827723" y="262145"/>
                </a:cubicBezTo>
                <a:lnTo>
                  <a:pt x="9807024" y="262145"/>
                </a:lnTo>
                <a:cubicBezTo>
                  <a:pt x="9807024" y="280660"/>
                  <a:pt x="9818989" y="297690"/>
                  <a:pt x="9850343" y="297690"/>
                </a:cubicBezTo>
                <a:cubicBezTo>
                  <a:pt x="9881698" y="297690"/>
                  <a:pt x="9893051" y="281795"/>
                  <a:pt x="9893051" y="263891"/>
                </a:cubicBezTo>
                <a:cubicBezTo>
                  <a:pt x="9893051" y="247035"/>
                  <a:pt x="9881959" y="236380"/>
                  <a:pt x="9862308" y="232537"/>
                </a:cubicBezTo>
                <a:cubicBezTo>
                  <a:pt x="9843443" y="228868"/>
                  <a:pt x="9830518" y="228083"/>
                  <a:pt x="9830518" y="216030"/>
                </a:cubicBezTo>
                <a:cubicBezTo>
                  <a:pt x="9830518" y="207820"/>
                  <a:pt x="9837941" y="202929"/>
                  <a:pt x="9849557" y="202929"/>
                </a:cubicBezTo>
                <a:cubicBezTo>
                  <a:pt x="9861872" y="202929"/>
                  <a:pt x="9869033" y="209043"/>
                  <a:pt x="9869033" y="219262"/>
                </a:cubicBezTo>
                <a:lnTo>
                  <a:pt x="9889820" y="219262"/>
                </a:lnTo>
                <a:cubicBezTo>
                  <a:pt x="9889820" y="202405"/>
                  <a:pt x="9877156" y="185112"/>
                  <a:pt x="9848684" y="185112"/>
                </a:cubicBezTo>
                <a:close/>
                <a:moveTo>
                  <a:pt x="10393844" y="171142"/>
                </a:moveTo>
                <a:lnTo>
                  <a:pt x="10393844" y="552369"/>
                </a:lnTo>
                <a:lnTo>
                  <a:pt x="10400132" y="552369"/>
                </a:lnTo>
                <a:lnTo>
                  <a:pt x="10400132" y="171142"/>
                </a:lnTo>
                <a:close/>
                <a:moveTo>
                  <a:pt x="9365359" y="88781"/>
                </a:moveTo>
                <a:lnTo>
                  <a:pt x="9301690" y="199000"/>
                </a:lnTo>
                <a:lnTo>
                  <a:pt x="9365359" y="309220"/>
                </a:lnTo>
                <a:lnTo>
                  <a:pt x="9238109" y="309220"/>
                </a:lnTo>
                <a:lnTo>
                  <a:pt x="9174527" y="419265"/>
                </a:lnTo>
                <a:lnTo>
                  <a:pt x="9301690" y="419265"/>
                </a:lnTo>
                <a:lnTo>
                  <a:pt x="9365359" y="309220"/>
                </a:lnTo>
                <a:lnTo>
                  <a:pt x="9428853" y="199000"/>
                </a:lnTo>
                <a:close/>
                <a:moveTo>
                  <a:pt x="0" y="0"/>
                </a:moveTo>
                <a:lnTo>
                  <a:pt x="12191989" y="0"/>
                </a:lnTo>
                <a:lnTo>
                  <a:pt x="12191989" y="6857994"/>
                </a:lnTo>
                <a:lnTo>
                  <a:pt x="0" y="6857994"/>
                </a:lnTo>
                <a:close/>
              </a:path>
            </a:pathLst>
          </a:custGeom>
        </p:spPr>
        <p:txBody>
          <a:bodyPr wrap="square">
            <a:noAutofit/>
          </a:bodyPr>
          <a:lstStyle>
            <a:lvl1pPr>
              <a:defRPr>
                <a:latin typeface="Meiryo UI" panose="020B0604030504040204" pitchFamily="34" charset="-128"/>
                <a:ea typeface="Meiryo UI" panose="020B0604030504040204" pitchFamily="34" charset="-128"/>
              </a:defRPr>
            </a:lvl1pPr>
          </a:lstStyle>
          <a:p>
            <a:endParaRPr lang="en-JP" dirty="0"/>
          </a:p>
        </p:txBody>
      </p:sp>
      <p:sp>
        <p:nvSpPr>
          <p:cNvPr id="8" name="Slide Number Divider with 0.1pt Outline">
            <a:extLst>
              <a:ext uri="{FF2B5EF4-FFF2-40B4-BE49-F238E27FC236}">
                <a16:creationId xmlns:a16="http://schemas.microsoft.com/office/drawing/2014/main" id="{E1C4B5B5-71A5-BCEB-A1C3-5C8DEF6BF9FE}"/>
              </a:ext>
            </a:extLst>
          </p:cNvPr>
          <p:cNvSpPr/>
          <p:nvPr userDrawn="1"/>
        </p:nvSpPr>
        <p:spPr>
          <a:xfrm>
            <a:off x="11606802" y="6588000"/>
            <a:ext cx="10800" cy="270535"/>
          </a:xfrm>
          <a:prstGeom prst="rect">
            <a:avLst/>
          </a:prstGeom>
          <a:solidFill>
            <a:srgbClr val="000000"/>
          </a:solidFill>
          <a:ln w="127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94" name="Copyright">
            <a:extLst>
              <a:ext uri="{FF2B5EF4-FFF2-40B4-BE49-F238E27FC236}">
                <a16:creationId xmlns:a16="http://schemas.microsoft.com/office/drawing/2014/main" id="{3E28AB51-D4AA-44F2-B5AB-66EDA783F42F}"/>
              </a:ext>
            </a:extLst>
          </p:cNvPr>
          <p:cNvSpPr txBox="1"/>
          <p:nvPr userDrawn="1"/>
        </p:nvSpPr>
        <p:spPr>
          <a:xfrm>
            <a:off x="180975" y="6645600"/>
            <a:ext cx="1292225" cy="105222"/>
          </a:xfrm>
          <a:prstGeom prst="rect">
            <a:avLst/>
          </a:prstGeom>
          <a:noFill/>
        </p:spPr>
        <p:txBody>
          <a:bodyPr wrap="square" lIns="0" tIns="0" rIns="0" bIns="0" rtlCol="0">
            <a:spAutoFit/>
          </a:bodyPr>
          <a:lstStyle>
            <a:defPPr>
              <a:defRPr lang="ja-JP"/>
            </a:defPPr>
            <a:lvl1pPr defTabSz="914400">
              <a:lnSpc>
                <a:spcPct val="130000"/>
              </a:lnSpc>
              <a:defRPr kumimoji="1" sz="600">
                <a:solidFill>
                  <a:srgbClr val="666666"/>
                </a:solidFill>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lvl="0"/>
            <a:r>
              <a:rPr lang="en-US" altLang="ja-JP" dirty="0">
                <a:solidFill>
                  <a:srgbClr val="000000"/>
                </a:solidFill>
                <a:latin typeface="Meiryo UI" panose="020B0604030504040204" pitchFamily="34" charset="-128"/>
                <a:ea typeface="Meiryo UI" panose="020B0604030504040204" pitchFamily="34" charset="-128"/>
              </a:rPr>
              <a:t>©Mitsubishi</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Electric</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Corporation</a:t>
            </a:r>
            <a:endParaRPr lang="ja-JP" altLang="en-US" dirty="0">
              <a:solidFill>
                <a:srgbClr val="000000"/>
              </a:solidFill>
              <a:latin typeface="Meiryo UI" panose="020B0604030504040204" pitchFamily="34" charset="-128"/>
              <a:ea typeface="Meiryo UI" panose="020B0604030504040204" pitchFamily="34" charset="-128"/>
            </a:endParaRPr>
          </a:p>
        </p:txBody>
      </p:sp>
      <p:sp>
        <p:nvSpPr>
          <p:cNvPr id="2" name="Date Placeholder">
            <a:extLst>
              <a:ext uri="{FF2B5EF4-FFF2-40B4-BE49-F238E27FC236}">
                <a16:creationId xmlns:a16="http://schemas.microsoft.com/office/drawing/2014/main" id="{7D220BD1-A4FC-4EB3-AB48-B9528C7E0240}"/>
              </a:ext>
            </a:extLst>
          </p:cNvPr>
          <p:cNvSpPr>
            <a:spLocks noGrp="1"/>
          </p:cNvSpPr>
          <p:nvPr>
            <p:ph type="dt" sz="half" idx="19"/>
          </p:nvPr>
        </p:nvSpPr>
        <p:spPr/>
        <p:txBody>
          <a:bodyPr vert="horz" lIns="0" tIns="0" rIns="0" bIns="0" rtlCol="0" anchor="ctr"/>
          <a:lstStyle>
            <a:lvl1pPr>
              <a:defRPr lang="ja-JP" altLang="en-US">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285" name="Title Vertical Line with 0.1pt Outline">
            <a:extLst>
              <a:ext uri="{FF2B5EF4-FFF2-40B4-BE49-F238E27FC236}">
                <a16:creationId xmlns:a16="http://schemas.microsoft.com/office/drawing/2014/main" id="{4EC7C6FA-B59F-23EB-EE06-56A9A9388CE8}"/>
              </a:ext>
            </a:extLst>
          </p:cNvPr>
          <p:cNvSpPr/>
          <p:nvPr userDrawn="1"/>
        </p:nvSpPr>
        <p:spPr>
          <a:xfrm>
            <a:off x="3929451" y="2909479"/>
            <a:ext cx="10800" cy="1026000"/>
          </a:xfrm>
          <a:prstGeom prst="rect">
            <a:avLst/>
          </a:prstGeom>
          <a:solidFill>
            <a:srgbClr val="E60012"/>
          </a:solidFill>
          <a:ln w="127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34" charset="-128"/>
              <a:ea typeface="Meiryo UI" panose="020B0604030504040204" pitchFamily="34" charset="-128"/>
            </a:endParaRPr>
          </a:p>
        </p:txBody>
      </p:sp>
      <p:sp>
        <p:nvSpPr>
          <p:cNvPr id="284" name="Title Horizontal Line with 0.1pt Outline">
            <a:extLst>
              <a:ext uri="{FF2B5EF4-FFF2-40B4-BE49-F238E27FC236}">
                <a16:creationId xmlns:a16="http://schemas.microsoft.com/office/drawing/2014/main" id="{B8192CB1-AC1C-8244-E132-9EE204ABB539}"/>
              </a:ext>
            </a:extLst>
          </p:cNvPr>
          <p:cNvSpPr/>
          <p:nvPr userDrawn="1"/>
        </p:nvSpPr>
        <p:spPr>
          <a:xfrm>
            <a:off x="3929451" y="3478279"/>
            <a:ext cx="5338800" cy="18000"/>
          </a:xfrm>
          <a:prstGeom prst="rect">
            <a:avLst/>
          </a:prstGeom>
          <a:solidFill>
            <a:srgbClr val="E60012"/>
          </a:solidFill>
          <a:ln w="127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kumimoji="1" lang="ja-JP" altLang="en-US">
              <a:latin typeface="Meiryo UI" panose="020B0604030504040204" pitchFamily="34" charset="-128"/>
              <a:ea typeface="Meiryo UI" panose="020B0604030504040204" pitchFamily="34" charset="-128"/>
            </a:endParaRPr>
          </a:p>
        </p:txBody>
      </p:sp>
      <p:pic>
        <p:nvPicPr>
          <p:cNvPr id="282" name="Picture 281">
            <a:extLst>
              <a:ext uri="{FF2B5EF4-FFF2-40B4-BE49-F238E27FC236}">
                <a16:creationId xmlns:a16="http://schemas.microsoft.com/office/drawing/2014/main" id="{61E1E1BD-6D96-396A-59B8-4CA88E1BEF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6041" y="89724"/>
            <a:ext cx="2826962" cy="481371"/>
          </a:xfrm>
          <a:prstGeom prst="rect">
            <a:avLst/>
          </a:prstGeom>
        </p:spPr>
      </p:pic>
      <p:sp>
        <p:nvSpPr>
          <p:cNvPr id="99" name="Section Title">
            <a:extLst>
              <a:ext uri="{FF2B5EF4-FFF2-40B4-BE49-F238E27FC236}">
                <a16:creationId xmlns:a16="http://schemas.microsoft.com/office/drawing/2014/main" id="{81F2343B-A77E-495C-8AD7-D3524655DA3A}"/>
              </a:ext>
            </a:extLst>
          </p:cNvPr>
          <p:cNvSpPr>
            <a:spLocks noGrp="1"/>
          </p:cNvSpPr>
          <p:nvPr>
            <p:ph type="title"/>
          </p:nvPr>
        </p:nvSpPr>
        <p:spPr>
          <a:xfrm>
            <a:off x="3931551" y="2282146"/>
            <a:ext cx="5794814" cy="1204836"/>
          </a:xfrm>
          <a:custGeom>
            <a:avLst/>
            <a:gdLst>
              <a:gd name="connsiteX0" fmla="*/ 0 w 5794814"/>
              <a:gd name="connsiteY0" fmla="*/ 0 h 1204836"/>
              <a:gd name="connsiteX1" fmla="*/ 5794814 w 5794814"/>
              <a:gd name="connsiteY1" fmla="*/ 0 h 1204836"/>
              <a:gd name="connsiteX2" fmla="*/ 5794814 w 5794814"/>
              <a:gd name="connsiteY2" fmla="*/ 1204836 h 1204836"/>
              <a:gd name="connsiteX3" fmla="*/ 5336700 w 5794814"/>
              <a:gd name="connsiteY3" fmla="*/ 1204836 h 1204836"/>
              <a:gd name="connsiteX4" fmla="*/ 5336700 w 5794814"/>
              <a:gd name="connsiteY4" fmla="*/ 1196133 h 1204836"/>
              <a:gd name="connsiteX5" fmla="*/ 5336700 w 5794814"/>
              <a:gd name="connsiteY5" fmla="*/ 1195836 h 1204836"/>
              <a:gd name="connsiteX6" fmla="*/ 8700 w 5794814"/>
              <a:gd name="connsiteY6" fmla="*/ 1195836 h 1204836"/>
              <a:gd name="connsiteX7" fmla="*/ 8700 w 5794814"/>
              <a:gd name="connsiteY7" fmla="*/ 627333 h 1204836"/>
              <a:gd name="connsiteX8" fmla="*/ 8700 w 5794814"/>
              <a:gd name="connsiteY8" fmla="*/ 626654 h 1204836"/>
              <a:gd name="connsiteX9" fmla="*/ 0 w 5794814"/>
              <a:gd name="connsiteY9" fmla="*/ 626654 h 120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94814" h="1204836">
                <a:moveTo>
                  <a:pt x="0" y="0"/>
                </a:moveTo>
                <a:lnTo>
                  <a:pt x="5794814" y="0"/>
                </a:lnTo>
                <a:lnTo>
                  <a:pt x="5794814" y="1204836"/>
                </a:lnTo>
                <a:lnTo>
                  <a:pt x="5336700" y="1204836"/>
                </a:lnTo>
                <a:lnTo>
                  <a:pt x="5336700" y="1196133"/>
                </a:lnTo>
                <a:lnTo>
                  <a:pt x="5336700" y="1195836"/>
                </a:lnTo>
                <a:lnTo>
                  <a:pt x="8700" y="1195836"/>
                </a:lnTo>
                <a:lnTo>
                  <a:pt x="8700" y="627333"/>
                </a:lnTo>
                <a:lnTo>
                  <a:pt x="8700" y="626654"/>
                </a:lnTo>
                <a:lnTo>
                  <a:pt x="0" y="626654"/>
                </a:lnTo>
                <a:close/>
              </a:path>
            </a:pathLst>
          </a:custGeom>
          <a:solidFill>
            <a:schemeClr val="bg1">
              <a:alpha val="45000"/>
            </a:schemeClr>
          </a:solidFill>
        </p:spPr>
        <p:txBody>
          <a:bodyPr wrap="square" lIns="432000" tIns="180000" rIns="453600" bIns="180000" anchor="b">
            <a:noAutofit/>
          </a:bodyPr>
          <a:lstStyle>
            <a:lvl1pPr>
              <a:defRPr sz="2000" spc="600">
                <a:solidFill>
                  <a:schemeClr val="tx1"/>
                </a:solidFill>
                <a:latin typeface="Meiryo UI" panose="020B0604030504040204" pitchFamily="34" charset="-128"/>
                <a:ea typeface="Meiryo UI" panose="020B0604030504040204" pitchFamily="34" charset="-128"/>
              </a:defRPr>
            </a:lvl1pPr>
          </a:lstStyle>
          <a:p>
            <a:r>
              <a:rPr lang="ja-JP" altLang="en-US"/>
              <a:t>マスター タイトルの書式設定</a:t>
            </a:r>
            <a:endParaRPr lang="en-US"/>
          </a:p>
        </p:txBody>
      </p:sp>
      <p:sp>
        <p:nvSpPr>
          <p:cNvPr id="101" name="Section Subtitle">
            <a:extLst>
              <a:ext uri="{FF2B5EF4-FFF2-40B4-BE49-F238E27FC236}">
                <a16:creationId xmlns:a16="http://schemas.microsoft.com/office/drawing/2014/main" id="{58F6F071-E982-4C94-B1BC-D8B9BE5A9C45}"/>
              </a:ext>
            </a:extLst>
          </p:cNvPr>
          <p:cNvSpPr>
            <a:spLocks noGrp="1"/>
          </p:cNvSpPr>
          <p:nvPr>
            <p:ph type="body" idx="1"/>
          </p:nvPr>
        </p:nvSpPr>
        <p:spPr>
          <a:xfrm>
            <a:off x="3931551" y="3486982"/>
            <a:ext cx="5794814" cy="1102482"/>
          </a:xfrm>
          <a:custGeom>
            <a:avLst/>
            <a:gdLst>
              <a:gd name="connsiteX0" fmla="*/ 5336700 w 5794814"/>
              <a:gd name="connsiteY0" fmla="*/ 0 h 1102482"/>
              <a:gd name="connsiteX1" fmla="*/ 5794814 w 5794814"/>
              <a:gd name="connsiteY1" fmla="*/ 0 h 1102482"/>
              <a:gd name="connsiteX2" fmla="*/ 5794814 w 5794814"/>
              <a:gd name="connsiteY2" fmla="*/ 1102482 h 1102482"/>
              <a:gd name="connsiteX3" fmla="*/ 0 w 5794814"/>
              <a:gd name="connsiteY3" fmla="*/ 1102482 h 1102482"/>
              <a:gd name="connsiteX4" fmla="*/ 0 w 5794814"/>
              <a:gd name="connsiteY4" fmla="*/ 448497 h 1102482"/>
              <a:gd name="connsiteX5" fmla="*/ 8700 w 5794814"/>
              <a:gd name="connsiteY5" fmla="*/ 448497 h 1102482"/>
              <a:gd name="connsiteX6" fmla="*/ 8700 w 5794814"/>
              <a:gd name="connsiteY6" fmla="*/ 447818 h 1102482"/>
              <a:gd name="connsiteX7" fmla="*/ 8700 w 5794814"/>
              <a:gd name="connsiteY7" fmla="*/ 9297 h 1102482"/>
              <a:gd name="connsiteX8" fmla="*/ 5336700 w 5794814"/>
              <a:gd name="connsiteY8" fmla="*/ 9297 h 1102482"/>
              <a:gd name="connsiteX9" fmla="*/ 5336700 w 5794814"/>
              <a:gd name="connsiteY9" fmla="*/ 8618 h 110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94814" h="1102482">
                <a:moveTo>
                  <a:pt x="5336700" y="0"/>
                </a:moveTo>
                <a:lnTo>
                  <a:pt x="5794814" y="0"/>
                </a:lnTo>
                <a:lnTo>
                  <a:pt x="5794814" y="1102482"/>
                </a:lnTo>
                <a:lnTo>
                  <a:pt x="0" y="1102482"/>
                </a:lnTo>
                <a:lnTo>
                  <a:pt x="0" y="448497"/>
                </a:lnTo>
                <a:lnTo>
                  <a:pt x="8700" y="448497"/>
                </a:lnTo>
                <a:lnTo>
                  <a:pt x="8700" y="447818"/>
                </a:lnTo>
                <a:lnTo>
                  <a:pt x="8700" y="9297"/>
                </a:lnTo>
                <a:lnTo>
                  <a:pt x="5336700" y="9297"/>
                </a:lnTo>
                <a:lnTo>
                  <a:pt x="5336700" y="8618"/>
                </a:lnTo>
                <a:close/>
              </a:path>
            </a:pathLst>
          </a:custGeom>
          <a:solidFill>
            <a:schemeClr val="bg1">
              <a:alpha val="45000"/>
            </a:schemeClr>
          </a:solidFill>
        </p:spPr>
        <p:txBody>
          <a:bodyPr wrap="square" lIns="432000" tIns="187200" rIns="453600" bIns="187200">
            <a:noAutofit/>
          </a:bodyPr>
          <a:lstStyle>
            <a:lvl1pPr marL="0" indent="0">
              <a:buNone/>
              <a:defRPr sz="900" b="1" spc="250" baseline="0">
                <a:solidFill>
                  <a:schemeClr val="tx1"/>
                </a:solidFill>
                <a:latin typeface="Meiryo UI" panose="020B0604030504040204" pitchFamily="34" charset="-128"/>
                <a:ea typeface="Meiryo UI" panose="020B0604030504040204"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dirty="0"/>
              <a:t>マスター テキストの書式設定</a:t>
            </a:r>
          </a:p>
        </p:txBody>
      </p:sp>
      <p:sp>
        <p:nvSpPr>
          <p:cNvPr id="91" name="Section Number Placeholder">
            <a:extLst>
              <a:ext uri="{FF2B5EF4-FFF2-40B4-BE49-F238E27FC236}">
                <a16:creationId xmlns:a16="http://schemas.microsoft.com/office/drawing/2014/main" id="{36003A69-F09F-4B1F-9E7D-43B5741CEDA5}"/>
              </a:ext>
            </a:extLst>
          </p:cNvPr>
          <p:cNvSpPr>
            <a:spLocks noGrp="1"/>
          </p:cNvSpPr>
          <p:nvPr>
            <p:ph type="body" sz="quarter" idx="13" hasCustomPrompt="1"/>
          </p:nvPr>
        </p:nvSpPr>
        <p:spPr>
          <a:xfrm>
            <a:off x="2466000" y="2282146"/>
            <a:ext cx="1468437" cy="2306638"/>
          </a:xfrm>
          <a:custGeom>
            <a:avLst/>
            <a:gdLst>
              <a:gd name="connsiteX0" fmla="*/ 0 w 1468437"/>
              <a:gd name="connsiteY0" fmla="*/ 0 h 2306638"/>
              <a:gd name="connsiteX1" fmla="*/ 1468437 w 1468437"/>
              <a:gd name="connsiteY1" fmla="*/ 0 h 2306638"/>
              <a:gd name="connsiteX2" fmla="*/ 1468437 w 1468437"/>
              <a:gd name="connsiteY2" fmla="*/ 625975 h 2306638"/>
              <a:gd name="connsiteX3" fmla="*/ 1467012 w 1468437"/>
              <a:gd name="connsiteY3" fmla="*/ 625975 h 2306638"/>
              <a:gd name="connsiteX4" fmla="*/ 1467012 w 1468437"/>
              <a:gd name="connsiteY4" fmla="*/ 627333 h 2306638"/>
              <a:gd name="connsiteX5" fmla="*/ 1463451 w 1468437"/>
              <a:gd name="connsiteY5" fmla="*/ 627333 h 2306638"/>
              <a:gd name="connsiteX6" fmla="*/ 1463451 w 1468437"/>
              <a:gd name="connsiteY6" fmla="*/ 1653333 h 2306638"/>
              <a:gd name="connsiteX7" fmla="*/ 1467012 w 1468437"/>
              <a:gd name="connsiteY7" fmla="*/ 1653333 h 2306638"/>
              <a:gd name="connsiteX8" fmla="*/ 1468437 w 1468437"/>
              <a:gd name="connsiteY8" fmla="*/ 1653333 h 2306638"/>
              <a:gd name="connsiteX9" fmla="*/ 1468437 w 1468437"/>
              <a:gd name="connsiteY9" fmla="*/ 2306638 h 2306638"/>
              <a:gd name="connsiteX10" fmla="*/ 0 w 1468437"/>
              <a:gd name="connsiteY10" fmla="*/ 2306638 h 230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8437" h="2306638">
                <a:moveTo>
                  <a:pt x="0" y="0"/>
                </a:moveTo>
                <a:lnTo>
                  <a:pt x="1468437" y="0"/>
                </a:lnTo>
                <a:lnTo>
                  <a:pt x="1468437" y="625975"/>
                </a:lnTo>
                <a:lnTo>
                  <a:pt x="1467012" y="625975"/>
                </a:lnTo>
                <a:lnTo>
                  <a:pt x="1467012" y="627333"/>
                </a:lnTo>
                <a:lnTo>
                  <a:pt x="1463451" y="627333"/>
                </a:lnTo>
                <a:lnTo>
                  <a:pt x="1463451" y="1653333"/>
                </a:lnTo>
                <a:lnTo>
                  <a:pt x="1467012" y="1653333"/>
                </a:lnTo>
                <a:lnTo>
                  <a:pt x="1468437" y="1653333"/>
                </a:lnTo>
                <a:lnTo>
                  <a:pt x="1468437" y="2306638"/>
                </a:lnTo>
                <a:lnTo>
                  <a:pt x="0" y="2306638"/>
                </a:lnTo>
                <a:close/>
              </a:path>
            </a:pathLst>
          </a:custGeom>
          <a:solidFill>
            <a:schemeClr val="bg1">
              <a:alpha val="45000"/>
            </a:schemeClr>
          </a:solidFill>
        </p:spPr>
        <p:txBody>
          <a:bodyPr wrap="square" lIns="0" tIns="0" rIns="0" bIns="61200" anchor="ctr">
            <a:noAutofit/>
          </a:bodyPr>
          <a:lstStyle>
            <a:lvl1pPr marL="0" indent="0" algn="ctr">
              <a:buNone/>
              <a:defRPr sz="6800" b="1">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a:p>
        </p:txBody>
      </p:sp>
      <p:sp>
        <p:nvSpPr>
          <p:cNvPr id="3" name="Footer Placeholder">
            <a:extLst>
              <a:ext uri="{FF2B5EF4-FFF2-40B4-BE49-F238E27FC236}">
                <a16:creationId xmlns:a16="http://schemas.microsoft.com/office/drawing/2014/main" id="{74CCC3BC-57AD-428F-8B59-6C9B8D38A2AB}"/>
              </a:ext>
            </a:extLst>
          </p:cNvPr>
          <p:cNvSpPr>
            <a:spLocks noGrp="1"/>
          </p:cNvSpPr>
          <p:nvPr>
            <p:ph type="ftr" sz="quarter" idx="20"/>
          </p:nvPr>
        </p:nvSpPr>
        <p:spPr/>
        <p:txBody>
          <a:bodyPr vert="horz" lIns="0" tIns="0" rIns="0" bIns="0" rtlCol="0" anchor="ctr"/>
          <a:lstStyle>
            <a:lvl1pPr>
              <a:defRPr lang="ja-JP" altLang="en-US" dirty="0">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7" name="Slide Number Placeholder">
            <a:extLst>
              <a:ext uri="{FF2B5EF4-FFF2-40B4-BE49-F238E27FC236}">
                <a16:creationId xmlns:a16="http://schemas.microsoft.com/office/drawing/2014/main" id="{4F9579D6-25CD-4BB7-AD2F-64BE4E2FFBAE}"/>
              </a:ext>
            </a:extLst>
          </p:cNvPr>
          <p:cNvSpPr>
            <a:spLocks noGrp="1"/>
          </p:cNvSpPr>
          <p:nvPr>
            <p:ph type="sldNum" sz="quarter" idx="21"/>
          </p:nvPr>
        </p:nvSpPr>
        <p:spPr/>
        <p:txBody>
          <a:bodyPr vert="horz" lIns="0" tIns="0" rIns="0" bIns="0" rtlCol="0" anchor="ctr"/>
          <a:lstStyle>
            <a:lvl1pPr>
              <a:defRPr lang="en-US" altLang="ja-JP" smtClean="0">
                <a:solidFill>
                  <a:srgbClr val="000000"/>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grpSp>
        <p:nvGrpSpPr>
          <p:cNvPr id="4" name="Group 18">
            <a:extLst>
              <a:ext uri="{FF2B5EF4-FFF2-40B4-BE49-F238E27FC236}">
                <a16:creationId xmlns:a16="http://schemas.microsoft.com/office/drawing/2014/main" id="{CC16B7C4-53E7-5CED-2E71-86F0B74446B6}"/>
              </a:ext>
            </a:extLst>
          </p:cNvPr>
          <p:cNvGrpSpPr/>
          <p:nvPr userDrawn="1"/>
        </p:nvGrpSpPr>
        <p:grpSpPr>
          <a:xfrm>
            <a:off x="12527745" y="1706598"/>
            <a:ext cx="2425636" cy="4834602"/>
            <a:chOff x="12216680" y="2015317"/>
            <a:chExt cx="2425636" cy="4834602"/>
          </a:xfrm>
        </p:grpSpPr>
        <p:sp>
          <p:nvSpPr>
            <p:cNvPr id="5" name="Rectangle 19">
              <a:extLst>
                <a:ext uri="{FF2B5EF4-FFF2-40B4-BE49-F238E27FC236}">
                  <a16:creationId xmlns:a16="http://schemas.microsoft.com/office/drawing/2014/main" id="{1A3AF5B6-DB43-6C26-C9ED-17944339AA19}"/>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0">
              <a:extLst>
                <a:ext uri="{FF2B5EF4-FFF2-40B4-BE49-F238E27FC236}">
                  <a16:creationId xmlns:a16="http://schemas.microsoft.com/office/drawing/2014/main" id="{272F550C-319E-8C8B-E6AE-C8DFF8311C38}"/>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 name="Rectangle 21">
              <a:extLst>
                <a:ext uri="{FF2B5EF4-FFF2-40B4-BE49-F238E27FC236}">
                  <a16:creationId xmlns:a16="http://schemas.microsoft.com/office/drawing/2014/main" id="{E4EBCF98-A3CE-6FED-A02C-435278FF7306}"/>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2">
              <a:extLst>
                <a:ext uri="{FF2B5EF4-FFF2-40B4-BE49-F238E27FC236}">
                  <a16:creationId xmlns:a16="http://schemas.microsoft.com/office/drawing/2014/main" id="{6713D9D3-8771-2D06-CC62-A20A9778D2FE}"/>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Rectangle 23">
              <a:extLst>
                <a:ext uri="{FF2B5EF4-FFF2-40B4-BE49-F238E27FC236}">
                  <a16:creationId xmlns:a16="http://schemas.microsoft.com/office/drawing/2014/main" id="{2F6458C0-C9B3-2ACD-1277-50FDA5C491E8}"/>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 name="TextBox 24">
              <a:extLst>
                <a:ext uri="{FF2B5EF4-FFF2-40B4-BE49-F238E27FC236}">
                  <a16:creationId xmlns:a16="http://schemas.microsoft.com/office/drawing/2014/main" id="{E1582E9D-3A06-4256-6547-0649FF2E7640}"/>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3" name="TextBox 25">
              <a:extLst>
                <a:ext uri="{FF2B5EF4-FFF2-40B4-BE49-F238E27FC236}">
                  <a16:creationId xmlns:a16="http://schemas.microsoft.com/office/drawing/2014/main" id="{43051AA5-A635-161A-B06A-92D912FFD1F6}"/>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4" name="TextBox 26">
              <a:extLst>
                <a:ext uri="{FF2B5EF4-FFF2-40B4-BE49-F238E27FC236}">
                  <a16:creationId xmlns:a16="http://schemas.microsoft.com/office/drawing/2014/main" id="{71E7D787-0363-C58A-A5E0-9A67EDE361F3}"/>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5" name="TextBox 27">
              <a:extLst>
                <a:ext uri="{FF2B5EF4-FFF2-40B4-BE49-F238E27FC236}">
                  <a16:creationId xmlns:a16="http://schemas.microsoft.com/office/drawing/2014/main" id="{C2335046-5988-FFF1-12FC-B40D10899D21}"/>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6" name="TextBox 28">
              <a:extLst>
                <a:ext uri="{FF2B5EF4-FFF2-40B4-BE49-F238E27FC236}">
                  <a16:creationId xmlns:a16="http://schemas.microsoft.com/office/drawing/2014/main" id="{FBC44F47-5DB1-38DF-250A-A18F66786D39}"/>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7" name="TextBox 29">
              <a:extLst>
                <a:ext uri="{FF2B5EF4-FFF2-40B4-BE49-F238E27FC236}">
                  <a16:creationId xmlns:a16="http://schemas.microsoft.com/office/drawing/2014/main" id="{2618681C-1F2E-E437-60FB-95812C3F9EC8}"/>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8" name="TextBox 30">
              <a:extLst>
                <a:ext uri="{FF2B5EF4-FFF2-40B4-BE49-F238E27FC236}">
                  <a16:creationId xmlns:a16="http://schemas.microsoft.com/office/drawing/2014/main" id="{CE4D4F6B-1842-C28A-28F3-7EC7DBA583F3}"/>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9" name="Rectangle 31">
              <a:extLst>
                <a:ext uri="{FF2B5EF4-FFF2-40B4-BE49-F238E27FC236}">
                  <a16:creationId xmlns:a16="http://schemas.microsoft.com/office/drawing/2014/main" id="{9D96F41D-2101-4970-08BD-336DD316B174}"/>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2">
              <a:extLst>
                <a:ext uri="{FF2B5EF4-FFF2-40B4-BE49-F238E27FC236}">
                  <a16:creationId xmlns:a16="http://schemas.microsoft.com/office/drawing/2014/main" id="{DB50C0EC-EA7E-58D8-FD5F-F740CF4B573B}"/>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3">
              <a:extLst>
                <a:ext uri="{FF2B5EF4-FFF2-40B4-BE49-F238E27FC236}">
                  <a16:creationId xmlns:a16="http://schemas.microsoft.com/office/drawing/2014/main" id="{58338965-63EF-6BD5-C148-D98CB9A27602}"/>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4">
              <a:extLst>
                <a:ext uri="{FF2B5EF4-FFF2-40B4-BE49-F238E27FC236}">
                  <a16:creationId xmlns:a16="http://schemas.microsoft.com/office/drawing/2014/main" id="{B27158FF-8135-3B58-EF8B-8F4B76FC9FF5}"/>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5">
              <a:extLst>
                <a:ext uri="{FF2B5EF4-FFF2-40B4-BE49-F238E27FC236}">
                  <a16:creationId xmlns:a16="http://schemas.microsoft.com/office/drawing/2014/main" id="{72147A7E-5D44-31EE-B157-D3CFFF2B68BC}"/>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6">
              <a:extLst>
                <a:ext uri="{FF2B5EF4-FFF2-40B4-BE49-F238E27FC236}">
                  <a16:creationId xmlns:a16="http://schemas.microsoft.com/office/drawing/2014/main" id="{92FC087E-AEE1-B549-FA07-1D5961E038FC}"/>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7">
              <a:extLst>
                <a:ext uri="{FF2B5EF4-FFF2-40B4-BE49-F238E27FC236}">
                  <a16:creationId xmlns:a16="http://schemas.microsoft.com/office/drawing/2014/main" id="{EDA7273A-6A2C-2A3E-B92B-9F1C8D2A58ED}"/>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8">
              <a:extLst>
                <a:ext uri="{FF2B5EF4-FFF2-40B4-BE49-F238E27FC236}">
                  <a16:creationId xmlns:a16="http://schemas.microsoft.com/office/drawing/2014/main" id="{C0FE4BF2-B259-5A0F-5821-8A934BD758A2}"/>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39">
              <a:extLst>
                <a:ext uri="{FF2B5EF4-FFF2-40B4-BE49-F238E27FC236}">
                  <a16:creationId xmlns:a16="http://schemas.microsoft.com/office/drawing/2014/main" id="{BE91255F-1BD6-B541-9BFA-F6D9133DF333}"/>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0">
              <a:extLst>
                <a:ext uri="{FF2B5EF4-FFF2-40B4-BE49-F238E27FC236}">
                  <a16:creationId xmlns:a16="http://schemas.microsoft.com/office/drawing/2014/main" id="{765BCA83-D153-BFF7-F6E1-C2A0ED62EE5A}"/>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1">
              <a:extLst>
                <a:ext uri="{FF2B5EF4-FFF2-40B4-BE49-F238E27FC236}">
                  <a16:creationId xmlns:a16="http://schemas.microsoft.com/office/drawing/2014/main" id="{B5018AA9-530B-4AA4-0248-21773DB16F2E}"/>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2">
              <a:extLst>
                <a:ext uri="{FF2B5EF4-FFF2-40B4-BE49-F238E27FC236}">
                  <a16:creationId xmlns:a16="http://schemas.microsoft.com/office/drawing/2014/main" id="{037B9FF0-4D88-7E0A-6FE7-042F0BB9B3C0}"/>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3">
              <a:extLst>
                <a:ext uri="{FF2B5EF4-FFF2-40B4-BE49-F238E27FC236}">
                  <a16:creationId xmlns:a16="http://schemas.microsoft.com/office/drawing/2014/main" id="{B66F6461-4944-1624-950C-8708A89BC68B}"/>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Rectangle 44">
              <a:extLst>
                <a:ext uri="{FF2B5EF4-FFF2-40B4-BE49-F238E27FC236}">
                  <a16:creationId xmlns:a16="http://schemas.microsoft.com/office/drawing/2014/main" id="{4D3331A4-0870-6C64-D43A-2A2CD4226B91}"/>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 name="TextBox 45">
              <a:extLst>
                <a:ext uri="{FF2B5EF4-FFF2-40B4-BE49-F238E27FC236}">
                  <a16:creationId xmlns:a16="http://schemas.microsoft.com/office/drawing/2014/main" id="{D439D8DD-3F12-A738-A6C9-5C360BD9D3BE}"/>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4" name="TextBox 46">
              <a:extLst>
                <a:ext uri="{FF2B5EF4-FFF2-40B4-BE49-F238E27FC236}">
                  <a16:creationId xmlns:a16="http://schemas.microsoft.com/office/drawing/2014/main" id="{C880D5AD-CB3F-83D7-5712-1FA989D8A955}"/>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5" name="TextBox 47">
              <a:extLst>
                <a:ext uri="{FF2B5EF4-FFF2-40B4-BE49-F238E27FC236}">
                  <a16:creationId xmlns:a16="http://schemas.microsoft.com/office/drawing/2014/main" id="{5E2ECE78-2F2B-7352-8853-51B6BB8CC32F}"/>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6" name="TextBox 48">
              <a:extLst>
                <a:ext uri="{FF2B5EF4-FFF2-40B4-BE49-F238E27FC236}">
                  <a16:creationId xmlns:a16="http://schemas.microsoft.com/office/drawing/2014/main" id="{206FF64C-7324-EEC0-0897-62051DA7D9BD}"/>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7" name="TextBox 49">
              <a:extLst>
                <a:ext uri="{FF2B5EF4-FFF2-40B4-BE49-F238E27FC236}">
                  <a16:creationId xmlns:a16="http://schemas.microsoft.com/office/drawing/2014/main" id="{D16FBDCB-ADF0-A021-EC12-AFD8B5F814E1}"/>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8" name="TextBox 50">
              <a:extLst>
                <a:ext uri="{FF2B5EF4-FFF2-40B4-BE49-F238E27FC236}">
                  <a16:creationId xmlns:a16="http://schemas.microsoft.com/office/drawing/2014/main" id="{AFFAF37A-5B18-96A7-CF68-72F9770D1411}"/>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9" name="TextBox 51">
              <a:extLst>
                <a:ext uri="{FF2B5EF4-FFF2-40B4-BE49-F238E27FC236}">
                  <a16:creationId xmlns:a16="http://schemas.microsoft.com/office/drawing/2014/main" id="{37ACB700-673B-64EE-D44A-C24F0ACC5FD1}"/>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40" name="Rectangle 52">
              <a:extLst>
                <a:ext uri="{FF2B5EF4-FFF2-40B4-BE49-F238E27FC236}">
                  <a16:creationId xmlns:a16="http://schemas.microsoft.com/office/drawing/2014/main" id="{CC3F7317-0B9F-F3DB-D4DE-99579FC99A0C}"/>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3">
              <a:extLst>
                <a:ext uri="{FF2B5EF4-FFF2-40B4-BE49-F238E27FC236}">
                  <a16:creationId xmlns:a16="http://schemas.microsoft.com/office/drawing/2014/main" id="{81FC2836-78A2-C075-1C5B-12C0DB6D07D7}"/>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4">
              <a:extLst>
                <a:ext uri="{FF2B5EF4-FFF2-40B4-BE49-F238E27FC236}">
                  <a16:creationId xmlns:a16="http://schemas.microsoft.com/office/drawing/2014/main" id="{D163AC51-7646-498F-F692-59946AC47AF3}"/>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5">
              <a:extLst>
                <a:ext uri="{FF2B5EF4-FFF2-40B4-BE49-F238E27FC236}">
                  <a16:creationId xmlns:a16="http://schemas.microsoft.com/office/drawing/2014/main" id="{07EA3522-1074-EE7E-7A2C-BD0375D3EC15}"/>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Rectangle 56">
              <a:extLst>
                <a:ext uri="{FF2B5EF4-FFF2-40B4-BE49-F238E27FC236}">
                  <a16:creationId xmlns:a16="http://schemas.microsoft.com/office/drawing/2014/main" id="{189E14AB-123F-7918-487E-1D208E5BD610}"/>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 name="TextBox 57">
              <a:extLst>
                <a:ext uri="{FF2B5EF4-FFF2-40B4-BE49-F238E27FC236}">
                  <a16:creationId xmlns:a16="http://schemas.microsoft.com/office/drawing/2014/main" id="{2EBF6636-ADB4-E7C7-BF64-3FE19B9F1629}"/>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6" name="TextBox 58">
              <a:extLst>
                <a:ext uri="{FF2B5EF4-FFF2-40B4-BE49-F238E27FC236}">
                  <a16:creationId xmlns:a16="http://schemas.microsoft.com/office/drawing/2014/main" id="{04A77802-838D-EAF4-BB6A-E1E146047ABB}"/>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7" name="TextBox 59">
              <a:extLst>
                <a:ext uri="{FF2B5EF4-FFF2-40B4-BE49-F238E27FC236}">
                  <a16:creationId xmlns:a16="http://schemas.microsoft.com/office/drawing/2014/main" id="{2717F6EE-C91F-F6D3-3577-0EE9E3239051}"/>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8" name="TextBox 60">
              <a:extLst>
                <a:ext uri="{FF2B5EF4-FFF2-40B4-BE49-F238E27FC236}">
                  <a16:creationId xmlns:a16="http://schemas.microsoft.com/office/drawing/2014/main" id="{9364E014-FF55-7F45-15E3-F05034A3087A}"/>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9" name="TextBox 61">
              <a:extLst>
                <a:ext uri="{FF2B5EF4-FFF2-40B4-BE49-F238E27FC236}">
                  <a16:creationId xmlns:a16="http://schemas.microsoft.com/office/drawing/2014/main" id="{347C7343-AE98-275C-9706-66A5AFF1562E}"/>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50" name="TextBox 62">
              <a:extLst>
                <a:ext uri="{FF2B5EF4-FFF2-40B4-BE49-F238E27FC236}">
                  <a16:creationId xmlns:a16="http://schemas.microsoft.com/office/drawing/2014/main" id="{827C2CC4-2C1C-1792-B6E6-D82216BA4B91}"/>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1" name="TextBox 63">
              <a:extLst>
                <a:ext uri="{FF2B5EF4-FFF2-40B4-BE49-F238E27FC236}">
                  <a16:creationId xmlns:a16="http://schemas.microsoft.com/office/drawing/2014/main" id="{610D9967-6FE5-B804-A020-A265D96226AE}"/>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2" name="TextBox 64">
              <a:extLst>
                <a:ext uri="{FF2B5EF4-FFF2-40B4-BE49-F238E27FC236}">
                  <a16:creationId xmlns:a16="http://schemas.microsoft.com/office/drawing/2014/main" id="{681C0978-8D3D-1AAF-C58A-F12CF7711C9B}"/>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3" name="TextBox 65">
              <a:extLst>
                <a:ext uri="{FF2B5EF4-FFF2-40B4-BE49-F238E27FC236}">
                  <a16:creationId xmlns:a16="http://schemas.microsoft.com/office/drawing/2014/main" id="{00C37959-7C5C-5A8F-4C83-C58172B57D38}"/>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4" name="TextBox 66">
              <a:extLst>
                <a:ext uri="{FF2B5EF4-FFF2-40B4-BE49-F238E27FC236}">
                  <a16:creationId xmlns:a16="http://schemas.microsoft.com/office/drawing/2014/main" id="{0BE2DA1E-314F-D0D2-21AB-86518388D718}"/>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5" name="TextBox 67">
              <a:extLst>
                <a:ext uri="{FF2B5EF4-FFF2-40B4-BE49-F238E27FC236}">
                  <a16:creationId xmlns:a16="http://schemas.microsoft.com/office/drawing/2014/main" id="{7ABE0F03-3F81-A54A-FFC1-5D03462ABC9E}"/>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6" name="TextBox 68">
              <a:extLst>
                <a:ext uri="{FF2B5EF4-FFF2-40B4-BE49-F238E27FC236}">
                  <a16:creationId xmlns:a16="http://schemas.microsoft.com/office/drawing/2014/main" id="{69E831D2-76A3-00F6-BB61-37793D84C510}"/>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7" name="TextBox 69">
              <a:extLst>
                <a:ext uri="{FF2B5EF4-FFF2-40B4-BE49-F238E27FC236}">
                  <a16:creationId xmlns:a16="http://schemas.microsoft.com/office/drawing/2014/main" id="{D6CC263E-79C2-955A-58A6-DE1A0B962FCA}"/>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8" name="TextBox 70">
              <a:extLst>
                <a:ext uri="{FF2B5EF4-FFF2-40B4-BE49-F238E27FC236}">
                  <a16:creationId xmlns:a16="http://schemas.microsoft.com/office/drawing/2014/main" id="{3B1B116E-AB9C-04EF-0413-0665D4CE46B4}"/>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59" name="TextBox 71">
              <a:extLst>
                <a:ext uri="{FF2B5EF4-FFF2-40B4-BE49-F238E27FC236}">
                  <a16:creationId xmlns:a16="http://schemas.microsoft.com/office/drawing/2014/main" id="{0CA0805D-DF68-E4AC-2C10-DC0ECD5C51AC}"/>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60" name="Rectangle 72">
              <a:extLst>
                <a:ext uri="{FF2B5EF4-FFF2-40B4-BE49-F238E27FC236}">
                  <a16:creationId xmlns:a16="http://schemas.microsoft.com/office/drawing/2014/main" id="{81B1EDEB-15EC-F5F6-97D6-782A36311286}"/>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1" name="Rectangle 73">
              <a:extLst>
                <a:ext uri="{FF2B5EF4-FFF2-40B4-BE49-F238E27FC236}">
                  <a16:creationId xmlns:a16="http://schemas.microsoft.com/office/drawing/2014/main" id="{23E1F6C4-BB96-9018-9FE8-918354E43034}"/>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4">
              <a:extLst>
                <a:ext uri="{FF2B5EF4-FFF2-40B4-BE49-F238E27FC236}">
                  <a16:creationId xmlns:a16="http://schemas.microsoft.com/office/drawing/2014/main" id="{C873B590-4476-B5A9-4598-1B43767B171B}"/>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5">
              <a:extLst>
                <a:ext uri="{FF2B5EF4-FFF2-40B4-BE49-F238E27FC236}">
                  <a16:creationId xmlns:a16="http://schemas.microsoft.com/office/drawing/2014/main" id="{02F78F2F-7768-8EAF-60D8-7D6ACEF4AE12}"/>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6">
              <a:extLst>
                <a:ext uri="{FF2B5EF4-FFF2-40B4-BE49-F238E27FC236}">
                  <a16:creationId xmlns:a16="http://schemas.microsoft.com/office/drawing/2014/main" id="{DF471C9F-D435-E932-2A5A-E077FB51E648}"/>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7">
              <a:extLst>
                <a:ext uri="{FF2B5EF4-FFF2-40B4-BE49-F238E27FC236}">
                  <a16:creationId xmlns:a16="http://schemas.microsoft.com/office/drawing/2014/main" id="{F5E0B1A0-F3C2-62BD-77E3-B375462894D0}"/>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8">
              <a:extLst>
                <a:ext uri="{FF2B5EF4-FFF2-40B4-BE49-F238E27FC236}">
                  <a16:creationId xmlns:a16="http://schemas.microsoft.com/office/drawing/2014/main" id="{271F7882-AA01-BEDE-7A28-D72C412803D7}"/>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7" name="Rectangle 79">
              <a:extLst>
                <a:ext uri="{FF2B5EF4-FFF2-40B4-BE49-F238E27FC236}">
                  <a16:creationId xmlns:a16="http://schemas.microsoft.com/office/drawing/2014/main" id="{D475E6E6-E566-406C-1A7F-DC0B4D39FED8}"/>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80">
              <a:extLst>
                <a:ext uri="{FF2B5EF4-FFF2-40B4-BE49-F238E27FC236}">
                  <a16:creationId xmlns:a16="http://schemas.microsoft.com/office/drawing/2014/main" id="{FEB2D09E-2D95-0C39-9E3A-C60183CA7E3F}"/>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9" name="Rectangle 81">
              <a:extLst>
                <a:ext uri="{FF2B5EF4-FFF2-40B4-BE49-F238E27FC236}">
                  <a16:creationId xmlns:a16="http://schemas.microsoft.com/office/drawing/2014/main" id="{7F637E23-2136-B641-790C-B98B4E0FA869}"/>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82">
              <a:extLst>
                <a:ext uri="{FF2B5EF4-FFF2-40B4-BE49-F238E27FC236}">
                  <a16:creationId xmlns:a16="http://schemas.microsoft.com/office/drawing/2014/main" id="{7E67527F-5B9F-9D41-9A51-F5E54801E451}"/>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3">
              <a:extLst>
                <a:ext uri="{FF2B5EF4-FFF2-40B4-BE49-F238E27FC236}">
                  <a16:creationId xmlns:a16="http://schemas.microsoft.com/office/drawing/2014/main" id="{A0176C5C-BA5D-8631-A30D-FE91FA22B259}"/>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4">
              <a:extLst>
                <a:ext uri="{FF2B5EF4-FFF2-40B4-BE49-F238E27FC236}">
                  <a16:creationId xmlns:a16="http://schemas.microsoft.com/office/drawing/2014/main" id="{0C46B6E2-04BC-0736-C284-A0BEC92538A5}"/>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3" name="Rectangle 85">
              <a:extLst>
                <a:ext uri="{FF2B5EF4-FFF2-40B4-BE49-F238E27FC236}">
                  <a16:creationId xmlns:a16="http://schemas.microsoft.com/office/drawing/2014/main" id="{3EC4C9D3-1FDE-2C6A-F634-2FDE024F81CC}"/>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4" name="Rectangle 86">
              <a:extLst>
                <a:ext uri="{FF2B5EF4-FFF2-40B4-BE49-F238E27FC236}">
                  <a16:creationId xmlns:a16="http://schemas.microsoft.com/office/drawing/2014/main" id="{D949F9F1-7783-DFE4-3270-F7F3D3C3216F}"/>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7">
              <a:extLst>
                <a:ext uri="{FF2B5EF4-FFF2-40B4-BE49-F238E27FC236}">
                  <a16:creationId xmlns:a16="http://schemas.microsoft.com/office/drawing/2014/main" id="{200085CA-AC72-50AB-8DE6-2D6950644773}"/>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8">
              <a:extLst>
                <a:ext uri="{FF2B5EF4-FFF2-40B4-BE49-F238E27FC236}">
                  <a16:creationId xmlns:a16="http://schemas.microsoft.com/office/drawing/2014/main" id="{6348D95A-8D14-F08F-2468-08872D297C1F}"/>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89">
              <a:extLst>
                <a:ext uri="{FF2B5EF4-FFF2-40B4-BE49-F238E27FC236}">
                  <a16:creationId xmlns:a16="http://schemas.microsoft.com/office/drawing/2014/main" id="{5689B713-F3CA-F43A-AB22-FB7528CF066D}"/>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90">
              <a:extLst>
                <a:ext uri="{FF2B5EF4-FFF2-40B4-BE49-F238E27FC236}">
                  <a16:creationId xmlns:a16="http://schemas.microsoft.com/office/drawing/2014/main" id="{AF4535B9-6344-56A4-2E15-90DC8CB7A4D4}"/>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91">
              <a:extLst>
                <a:ext uri="{FF2B5EF4-FFF2-40B4-BE49-F238E27FC236}">
                  <a16:creationId xmlns:a16="http://schemas.microsoft.com/office/drawing/2014/main" id="{BF036FFD-3EBB-46DC-8061-0D418C391976}"/>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92">
              <a:extLst>
                <a:ext uri="{FF2B5EF4-FFF2-40B4-BE49-F238E27FC236}">
                  <a16:creationId xmlns:a16="http://schemas.microsoft.com/office/drawing/2014/main" id="{3F99742F-FAC9-BA0C-8ADE-3DA8201D810D}"/>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3">
              <a:extLst>
                <a:ext uri="{FF2B5EF4-FFF2-40B4-BE49-F238E27FC236}">
                  <a16:creationId xmlns:a16="http://schemas.microsoft.com/office/drawing/2014/main" id="{BB5640CD-BF16-8861-BDF1-E31F259A28DE}"/>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4">
              <a:extLst>
                <a:ext uri="{FF2B5EF4-FFF2-40B4-BE49-F238E27FC236}">
                  <a16:creationId xmlns:a16="http://schemas.microsoft.com/office/drawing/2014/main" id="{89278E37-5951-9409-6E8E-9B1AC139C1B5}"/>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5">
              <a:extLst>
                <a:ext uri="{FF2B5EF4-FFF2-40B4-BE49-F238E27FC236}">
                  <a16:creationId xmlns:a16="http://schemas.microsoft.com/office/drawing/2014/main" id="{F58BE4A7-093D-B22B-CC3C-F8B03DD96CB2}"/>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6">
              <a:extLst>
                <a:ext uri="{FF2B5EF4-FFF2-40B4-BE49-F238E27FC236}">
                  <a16:creationId xmlns:a16="http://schemas.microsoft.com/office/drawing/2014/main" id="{A30DA6E0-9E04-B4E5-7DCD-79EA789FBED0}"/>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7">
              <a:extLst>
                <a:ext uri="{FF2B5EF4-FFF2-40B4-BE49-F238E27FC236}">
                  <a16:creationId xmlns:a16="http://schemas.microsoft.com/office/drawing/2014/main" id="{9A2A9460-9019-130D-B0E4-AEC3B99F12A9}"/>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8">
              <a:extLst>
                <a:ext uri="{FF2B5EF4-FFF2-40B4-BE49-F238E27FC236}">
                  <a16:creationId xmlns:a16="http://schemas.microsoft.com/office/drawing/2014/main" id="{E0A3DB5E-FA89-11BC-9B70-91CFA60311BA}"/>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99">
              <a:extLst>
                <a:ext uri="{FF2B5EF4-FFF2-40B4-BE49-F238E27FC236}">
                  <a16:creationId xmlns:a16="http://schemas.microsoft.com/office/drawing/2014/main" id="{9C48C60F-24F6-60F7-F2B2-6FF3F877513D}"/>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8" name="Rectangle 100">
              <a:extLst>
                <a:ext uri="{FF2B5EF4-FFF2-40B4-BE49-F238E27FC236}">
                  <a16:creationId xmlns:a16="http://schemas.microsoft.com/office/drawing/2014/main" id="{D3C40CBE-80E0-0783-BF51-8A3C9FFCEFD6}"/>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9" name="Rectangle 101">
              <a:extLst>
                <a:ext uri="{FF2B5EF4-FFF2-40B4-BE49-F238E27FC236}">
                  <a16:creationId xmlns:a16="http://schemas.microsoft.com/office/drawing/2014/main" id="{4DEB816F-7E80-943D-DAD6-B8AADA27D92A}"/>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0" name="Rectangle 102">
              <a:extLst>
                <a:ext uri="{FF2B5EF4-FFF2-40B4-BE49-F238E27FC236}">
                  <a16:creationId xmlns:a16="http://schemas.microsoft.com/office/drawing/2014/main" id="{B8A1DDC4-0485-2426-EDC0-74849E78FC30}"/>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2" name="Rectangle 103">
              <a:extLst>
                <a:ext uri="{FF2B5EF4-FFF2-40B4-BE49-F238E27FC236}">
                  <a16:creationId xmlns:a16="http://schemas.microsoft.com/office/drawing/2014/main" id="{1FCAF0E6-A3CB-C642-B635-C544E39345D2}"/>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104">
              <a:extLst>
                <a:ext uri="{FF2B5EF4-FFF2-40B4-BE49-F238E27FC236}">
                  <a16:creationId xmlns:a16="http://schemas.microsoft.com/office/drawing/2014/main" id="{6FAF757B-3C6B-ABDF-C026-BE97047A031D}"/>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5">
              <a:extLst>
                <a:ext uri="{FF2B5EF4-FFF2-40B4-BE49-F238E27FC236}">
                  <a16:creationId xmlns:a16="http://schemas.microsoft.com/office/drawing/2014/main" id="{5C58AE63-B769-7A40-E265-B9489DD1EFE0}"/>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6">
              <a:extLst>
                <a:ext uri="{FF2B5EF4-FFF2-40B4-BE49-F238E27FC236}">
                  <a16:creationId xmlns:a16="http://schemas.microsoft.com/office/drawing/2014/main" id="{0CFB8BFF-4A6D-D642-446A-76AE8A8B5FF0}"/>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07">
              <a:extLst>
                <a:ext uri="{FF2B5EF4-FFF2-40B4-BE49-F238E27FC236}">
                  <a16:creationId xmlns:a16="http://schemas.microsoft.com/office/drawing/2014/main" id="{A8FFF528-631D-5EF1-6D77-C68A5E70AF7E}"/>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08">
              <a:extLst>
                <a:ext uri="{FF2B5EF4-FFF2-40B4-BE49-F238E27FC236}">
                  <a16:creationId xmlns:a16="http://schemas.microsoft.com/office/drawing/2014/main" id="{E320310E-49FE-4BA8-7986-08DD3109EDB7}"/>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0" name="Rectangle 109">
              <a:extLst>
                <a:ext uri="{FF2B5EF4-FFF2-40B4-BE49-F238E27FC236}">
                  <a16:creationId xmlns:a16="http://schemas.microsoft.com/office/drawing/2014/main" id="{C900C73B-D15E-EBAB-9D43-0FE386AAB0F5}"/>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2" name="Rectangle 110">
              <a:extLst>
                <a:ext uri="{FF2B5EF4-FFF2-40B4-BE49-F238E27FC236}">
                  <a16:creationId xmlns:a16="http://schemas.microsoft.com/office/drawing/2014/main" id="{70B178DE-DADF-87BD-B649-6A469EBCDF6A}"/>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3" name="Rectangle 111">
              <a:extLst>
                <a:ext uri="{FF2B5EF4-FFF2-40B4-BE49-F238E27FC236}">
                  <a16:creationId xmlns:a16="http://schemas.microsoft.com/office/drawing/2014/main" id="{088ED1EB-D8F8-EB58-0DCA-9EA58934A76D}"/>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4" name="TextBox 112">
              <a:extLst>
                <a:ext uri="{FF2B5EF4-FFF2-40B4-BE49-F238E27FC236}">
                  <a16:creationId xmlns:a16="http://schemas.microsoft.com/office/drawing/2014/main" id="{4168A4E8-C539-7166-38AB-BC1E31988D67}"/>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05" name="TextBox 113">
              <a:extLst>
                <a:ext uri="{FF2B5EF4-FFF2-40B4-BE49-F238E27FC236}">
                  <a16:creationId xmlns:a16="http://schemas.microsoft.com/office/drawing/2014/main" id="{04290BB8-2D50-B25E-D7F1-CD85E4586865}"/>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6" name="TextBox 114">
              <a:extLst>
                <a:ext uri="{FF2B5EF4-FFF2-40B4-BE49-F238E27FC236}">
                  <a16:creationId xmlns:a16="http://schemas.microsoft.com/office/drawing/2014/main" id="{DA31E72A-EB4B-812B-B7FC-1E48F6027D83}"/>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3410019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サブセクション見出し">
    <p:spTree>
      <p:nvGrpSpPr>
        <p:cNvPr id="1" name=""/>
        <p:cNvGrpSpPr/>
        <p:nvPr/>
      </p:nvGrpSpPr>
      <p:grpSpPr>
        <a:xfrm>
          <a:off x="0" y="0"/>
          <a:ext cx="0" cy="0"/>
          <a:chOff x="0" y="0"/>
          <a:chExt cx="0" cy="0"/>
        </a:xfrm>
      </p:grpSpPr>
      <p:sp>
        <p:nvSpPr>
          <p:cNvPr id="100" name="Slide Number Divider">
            <a:extLst>
              <a:ext uri="{FF2B5EF4-FFF2-40B4-BE49-F238E27FC236}">
                <a16:creationId xmlns:a16="http://schemas.microsoft.com/office/drawing/2014/main" id="{07D078B6-A871-4DBD-8F58-8CB3D5789ACF}"/>
              </a:ext>
            </a:extLst>
          </p:cNvPr>
          <p:cNvSpPr/>
          <p:nvPr userDrawn="1"/>
        </p:nvSpPr>
        <p:spPr>
          <a:xfrm>
            <a:off x="11606802" y="6588000"/>
            <a:ext cx="10800" cy="27053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54" name="Copyright">
            <a:extLst>
              <a:ext uri="{FF2B5EF4-FFF2-40B4-BE49-F238E27FC236}">
                <a16:creationId xmlns:a16="http://schemas.microsoft.com/office/drawing/2014/main" id="{EE66D8B3-B25B-4276-9144-B8588E47E7DC}"/>
              </a:ext>
            </a:extLst>
          </p:cNvPr>
          <p:cNvSpPr txBox="1"/>
          <p:nvPr userDrawn="1"/>
        </p:nvSpPr>
        <p:spPr>
          <a:xfrm>
            <a:off x="180975" y="6645600"/>
            <a:ext cx="1292225" cy="105222"/>
          </a:xfrm>
          <a:prstGeom prst="rect">
            <a:avLst/>
          </a:prstGeom>
          <a:noFill/>
        </p:spPr>
        <p:txBody>
          <a:bodyPr wrap="square" lIns="0" tIns="0" rIns="0" bIns="0" rtlCol="0">
            <a:spAutoFit/>
          </a:bodyPr>
          <a:lstStyle/>
          <a:p>
            <a:pPr>
              <a:lnSpc>
                <a:spcPct val="130000"/>
              </a:lnSpc>
            </a:pPr>
            <a:r>
              <a:rPr kumimoji="1" lang="en-US" altLang="ja-JP" sz="600" dirty="0">
                <a:solidFill>
                  <a:srgbClr val="666666"/>
                </a:solidFill>
                <a:latin typeface="Meiryo UI" panose="020B0604030504040204" pitchFamily="34" charset="-128"/>
                <a:ea typeface="Meiryo UI" panose="020B0604030504040204" pitchFamily="34" charset="-128"/>
              </a:rPr>
              <a:t>©Mitsubishi</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Electric</a:t>
            </a:r>
            <a:r>
              <a:rPr kumimoji="1" lang="ja-JP" altLang="en-US" sz="600" dirty="0">
                <a:solidFill>
                  <a:srgbClr val="666666"/>
                </a:solidFill>
                <a:latin typeface="Meiryo UI" panose="020B0604030504040204" pitchFamily="34" charset="-128"/>
                <a:ea typeface="Meiryo UI" panose="020B0604030504040204" pitchFamily="34" charset="-128"/>
              </a:rPr>
              <a:t> </a:t>
            </a:r>
            <a:r>
              <a:rPr kumimoji="1" lang="en-US" altLang="ja-JP" sz="600" dirty="0">
                <a:solidFill>
                  <a:srgbClr val="666666"/>
                </a:solidFill>
                <a:latin typeface="Meiryo UI" panose="020B0604030504040204" pitchFamily="34" charset="-128"/>
                <a:ea typeface="Meiryo UI" panose="020B0604030504040204" pitchFamily="34" charset="-128"/>
              </a:rPr>
              <a:t>Corporation</a:t>
            </a:r>
            <a:endParaRPr kumimoji="1" lang="ja-JP" altLang="en-US" sz="600" dirty="0">
              <a:solidFill>
                <a:srgbClr val="666666"/>
              </a:solidFill>
              <a:latin typeface="Meiryo UI" panose="020B0604030504040204" pitchFamily="34" charset="-128"/>
              <a:ea typeface="Meiryo UI" panose="020B0604030504040204" pitchFamily="34" charset="-128"/>
            </a:endParaRPr>
          </a:p>
        </p:txBody>
      </p:sp>
      <p:sp>
        <p:nvSpPr>
          <p:cNvPr id="106" name="Section Title">
            <a:extLst>
              <a:ext uri="{FF2B5EF4-FFF2-40B4-BE49-F238E27FC236}">
                <a16:creationId xmlns:a16="http://schemas.microsoft.com/office/drawing/2014/main" id="{C573BABD-9EDB-40AF-AAEC-0BB6002B511C}"/>
              </a:ext>
            </a:extLst>
          </p:cNvPr>
          <p:cNvSpPr>
            <a:spLocks noGrp="1"/>
          </p:cNvSpPr>
          <p:nvPr>
            <p:ph type="title"/>
          </p:nvPr>
        </p:nvSpPr>
        <p:spPr>
          <a:xfrm>
            <a:off x="5151083" y="3164553"/>
            <a:ext cx="4575763" cy="537924"/>
          </a:xfrm>
        </p:spPr>
        <p:txBody>
          <a:bodyPr lIns="536400" tIns="0" rIns="0" bIns="0" anchor="t"/>
          <a:lstStyle>
            <a:lvl1pPr>
              <a:defRPr sz="2500" spc="650" baseline="0">
                <a:solidFill>
                  <a:schemeClr val="tx1"/>
                </a:solidFill>
                <a:latin typeface="Meiryo UI" panose="020B0604030504040204" pitchFamily="34" charset="-128"/>
                <a:ea typeface="Meiryo UI" panose="020B0604030504040204" pitchFamily="34" charset="-128"/>
              </a:defRPr>
            </a:lvl1pPr>
          </a:lstStyle>
          <a:p>
            <a:r>
              <a:rPr lang="ja-JP" altLang="en-US" dirty="0"/>
              <a:t>マスター タイトルの書式設定</a:t>
            </a:r>
            <a:endParaRPr lang="en-US" dirty="0"/>
          </a:p>
        </p:txBody>
      </p:sp>
      <p:sp>
        <p:nvSpPr>
          <p:cNvPr id="104" name="Section Subtitle">
            <a:extLst>
              <a:ext uri="{FF2B5EF4-FFF2-40B4-BE49-F238E27FC236}">
                <a16:creationId xmlns:a16="http://schemas.microsoft.com/office/drawing/2014/main" id="{6731605F-20B3-4777-97C7-6C19BC75E605}"/>
              </a:ext>
            </a:extLst>
          </p:cNvPr>
          <p:cNvSpPr>
            <a:spLocks noGrp="1"/>
          </p:cNvSpPr>
          <p:nvPr>
            <p:ph type="body" idx="17"/>
          </p:nvPr>
        </p:nvSpPr>
        <p:spPr>
          <a:xfrm>
            <a:off x="5151082" y="2799296"/>
            <a:ext cx="4575764" cy="363600"/>
          </a:xfrm>
        </p:spPr>
        <p:txBody>
          <a:bodyPr lIns="565200" tIns="0" rIns="0" bIns="79200" anchor="b">
            <a:normAutofit/>
          </a:bodyPr>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1050" b="1" spc="300" baseline="0">
                <a:solidFill>
                  <a:srgbClr val="E60012"/>
                </a:solidFill>
                <a:latin typeface="Meiryo UI" panose="020B0604030504040204" pitchFamily="34" charset="-128"/>
                <a:ea typeface="Meiryo UI" panose="020B0604030504040204"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ja-JP" altLang="en-US" dirty="0"/>
              <a:t>マスター テキストの書式設定</a:t>
            </a:r>
          </a:p>
        </p:txBody>
      </p:sp>
      <p:sp>
        <p:nvSpPr>
          <p:cNvPr id="67" name="Section Number Placeholder">
            <a:extLst>
              <a:ext uri="{FF2B5EF4-FFF2-40B4-BE49-F238E27FC236}">
                <a16:creationId xmlns:a16="http://schemas.microsoft.com/office/drawing/2014/main" id="{86A3DECA-A830-4DBD-BADC-EC9AF0590626}"/>
              </a:ext>
            </a:extLst>
          </p:cNvPr>
          <p:cNvSpPr>
            <a:spLocks noGrp="1"/>
          </p:cNvSpPr>
          <p:nvPr>
            <p:ph type="body" sz="quarter" idx="18" hasCustomPrompt="1"/>
          </p:nvPr>
        </p:nvSpPr>
        <p:spPr>
          <a:xfrm>
            <a:off x="3569115" y="2799296"/>
            <a:ext cx="1581968" cy="903181"/>
          </a:xfrm>
          <a:noFill/>
        </p:spPr>
        <p:txBody>
          <a:bodyPr lIns="0" tIns="0" rIns="0" bIns="61200" anchor="ctr">
            <a:noAutofit/>
          </a:bodyPr>
          <a:lstStyle>
            <a:lvl1pPr marL="0" indent="0" algn="ctr">
              <a:buNone/>
              <a:defRPr sz="3600" b="1">
                <a:solidFill>
                  <a:schemeClr val="tx1"/>
                </a:solidFill>
                <a:latin typeface="Meiryo UI" panose="020B0604030504040204" pitchFamily="34" charset="-128"/>
                <a:ea typeface="Meiryo UI" panose="020B0604030504040204" pitchFamily="34" charset="-128"/>
              </a:defRPr>
            </a:lvl1pPr>
          </a:lstStyle>
          <a:p>
            <a:pPr lvl="0"/>
            <a:r>
              <a:rPr kumimoji="1" lang="en-US" altLang="ja-JP"/>
              <a:t>#</a:t>
            </a:r>
            <a:endParaRPr kumimoji="1" lang="ja-JP" altLang="en-US"/>
          </a:p>
        </p:txBody>
      </p:sp>
      <p:sp>
        <p:nvSpPr>
          <p:cNvPr id="4" name="Date Placeholder">
            <a:extLst>
              <a:ext uri="{FF2B5EF4-FFF2-40B4-BE49-F238E27FC236}">
                <a16:creationId xmlns:a16="http://schemas.microsoft.com/office/drawing/2014/main" id="{21F134BB-5EFC-4CE8-8443-BD64E833B038}"/>
              </a:ext>
            </a:extLst>
          </p:cNvPr>
          <p:cNvSpPr>
            <a:spLocks noGrp="1"/>
          </p:cNvSpPr>
          <p:nvPr>
            <p:ph type="dt" sz="half" idx="14"/>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8" name="Footer Placeholder">
            <a:extLst>
              <a:ext uri="{FF2B5EF4-FFF2-40B4-BE49-F238E27FC236}">
                <a16:creationId xmlns:a16="http://schemas.microsoft.com/office/drawing/2014/main" id="{A42754D0-7C59-4629-9B28-C9B494220662}"/>
              </a:ext>
            </a:extLst>
          </p:cNvPr>
          <p:cNvSpPr>
            <a:spLocks noGrp="1"/>
          </p:cNvSpPr>
          <p:nvPr>
            <p:ph type="ftr" sz="quarter" idx="15"/>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9" name="Slide Number Placeholder">
            <a:extLst>
              <a:ext uri="{FF2B5EF4-FFF2-40B4-BE49-F238E27FC236}">
                <a16:creationId xmlns:a16="http://schemas.microsoft.com/office/drawing/2014/main" id="{F7D548B2-EBAE-4A41-8F54-B5EA65E54E8D}"/>
              </a:ext>
            </a:extLst>
          </p:cNvPr>
          <p:cNvSpPr>
            <a:spLocks noGrp="1"/>
          </p:cNvSpPr>
          <p:nvPr>
            <p:ph type="sldNum" sz="quarter" idx="16"/>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pic>
        <p:nvPicPr>
          <p:cNvPr id="2" name="Picture 1">
            <a:extLst>
              <a:ext uri="{FF2B5EF4-FFF2-40B4-BE49-F238E27FC236}">
                <a16:creationId xmlns:a16="http://schemas.microsoft.com/office/drawing/2014/main" id="{541895C0-4074-A0B9-4A98-8FB47B14B3A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4538" y="95250"/>
            <a:ext cx="2826962" cy="481371"/>
          </a:xfrm>
          <a:prstGeom prst="rect">
            <a:avLst/>
          </a:prstGeom>
        </p:spPr>
      </p:pic>
      <p:grpSp>
        <p:nvGrpSpPr>
          <p:cNvPr id="3" name="Group 18">
            <a:extLst>
              <a:ext uri="{FF2B5EF4-FFF2-40B4-BE49-F238E27FC236}">
                <a16:creationId xmlns:a16="http://schemas.microsoft.com/office/drawing/2014/main" id="{3D3C8F59-84F4-FB15-4FB6-2E95CAA1B87E}"/>
              </a:ext>
            </a:extLst>
          </p:cNvPr>
          <p:cNvGrpSpPr/>
          <p:nvPr userDrawn="1"/>
        </p:nvGrpSpPr>
        <p:grpSpPr>
          <a:xfrm>
            <a:off x="12527745" y="1706598"/>
            <a:ext cx="2425636" cy="4834602"/>
            <a:chOff x="12216680" y="2015317"/>
            <a:chExt cx="2425636" cy="4834602"/>
          </a:xfrm>
        </p:grpSpPr>
        <p:sp>
          <p:nvSpPr>
            <p:cNvPr id="5" name="Rectangle 19">
              <a:extLst>
                <a:ext uri="{FF2B5EF4-FFF2-40B4-BE49-F238E27FC236}">
                  <a16:creationId xmlns:a16="http://schemas.microsoft.com/office/drawing/2014/main" id="{0BF1AE6A-13D2-1EE2-0042-0640F458C1C4}"/>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0">
              <a:extLst>
                <a:ext uri="{FF2B5EF4-FFF2-40B4-BE49-F238E27FC236}">
                  <a16:creationId xmlns:a16="http://schemas.microsoft.com/office/drawing/2014/main" id="{6B86CE04-D84A-CC67-6BE1-9987630655A5}"/>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 name="Rectangle 21">
              <a:extLst>
                <a:ext uri="{FF2B5EF4-FFF2-40B4-BE49-F238E27FC236}">
                  <a16:creationId xmlns:a16="http://schemas.microsoft.com/office/drawing/2014/main" id="{B1060907-2247-6BD1-E444-2C8DB0980D27}"/>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2">
              <a:extLst>
                <a:ext uri="{FF2B5EF4-FFF2-40B4-BE49-F238E27FC236}">
                  <a16:creationId xmlns:a16="http://schemas.microsoft.com/office/drawing/2014/main" id="{4207AD7C-20EA-A2E0-598C-B169700158BC}"/>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Rectangle 23">
              <a:extLst>
                <a:ext uri="{FF2B5EF4-FFF2-40B4-BE49-F238E27FC236}">
                  <a16:creationId xmlns:a16="http://schemas.microsoft.com/office/drawing/2014/main" id="{7697F241-2F1F-C10A-541C-ADC5F45352C5}"/>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 name="TextBox 24">
              <a:extLst>
                <a:ext uri="{FF2B5EF4-FFF2-40B4-BE49-F238E27FC236}">
                  <a16:creationId xmlns:a16="http://schemas.microsoft.com/office/drawing/2014/main" id="{A8BEF0F2-EA4F-5797-5900-B1AC730B3486}"/>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3" name="TextBox 25">
              <a:extLst>
                <a:ext uri="{FF2B5EF4-FFF2-40B4-BE49-F238E27FC236}">
                  <a16:creationId xmlns:a16="http://schemas.microsoft.com/office/drawing/2014/main" id="{3D6BA780-B371-AB3C-0586-907A62EB9AFD}"/>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4" name="TextBox 26">
              <a:extLst>
                <a:ext uri="{FF2B5EF4-FFF2-40B4-BE49-F238E27FC236}">
                  <a16:creationId xmlns:a16="http://schemas.microsoft.com/office/drawing/2014/main" id="{DB304949-0803-EEBE-F729-8C5BFEAA9465}"/>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5" name="TextBox 27">
              <a:extLst>
                <a:ext uri="{FF2B5EF4-FFF2-40B4-BE49-F238E27FC236}">
                  <a16:creationId xmlns:a16="http://schemas.microsoft.com/office/drawing/2014/main" id="{B903FAA2-3F9E-F0DB-59BE-4A5D57E3773B}"/>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6" name="TextBox 28">
              <a:extLst>
                <a:ext uri="{FF2B5EF4-FFF2-40B4-BE49-F238E27FC236}">
                  <a16:creationId xmlns:a16="http://schemas.microsoft.com/office/drawing/2014/main" id="{C559858A-955C-41A7-C9A2-FB4A396657E2}"/>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7" name="TextBox 29">
              <a:extLst>
                <a:ext uri="{FF2B5EF4-FFF2-40B4-BE49-F238E27FC236}">
                  <a16:creationId xmlns:a16="http://schemas.microsoft.com/office/drawing/2014/main" id="{7669CE4C-2396-934E-3408-8FCB1911052A}"/>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8" name="TextBox 30">
              <a:extLst>
                <a:ext uri="{FF2B5EF4-FFF2-40B4-BE49-F238E27FC236}">
                  <a16:creationId xmlns:a16="http://schemas.microsoft.com/office/drawing/2014/main" id="{224F8390-4788-1FDA-6082-05E09012C998}"/>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9" name="Rectangle 31">
              <a:extLst>
                <a:ext uri="{FF2B5EF4-FFF2-40B4-BE49-F238E27FC236}">
                  <a16:creationId xmlns:a16="http://schemas.microsoft.com/office/drawing/2014/main" id="{D8DD7794-EDA1-90F5-91C3-96D9DA5DBBBE}"/>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2">
              <a:extLst>
                <a:ext uri="{FF2B5EF4-FFF2-40B4-BE49-F238E27FC236}">
                  <a16:creationId xmlns:a16="http://schemas.microsoft.com/office/drawing/2014/main" id="{C8B14C5B-5D31-C323-B545-4EF6485EA354}"/>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3">
              <a:extLst>
                <a:ext uri="{FF2B5EF4-FFF2-40B4-BE49-F238E27FC236}">
                  <a16:creationId xmlns:a16="http://schemas.microsoft.com/office/drawing/2014/main" id="{57937A7E-B40A-9555-0DBA-D9DA00C7DBDC}"/>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4">
              <a:extLst>
                <a:ext uri="{FF2B5EF4-FFF2-40B4-BE49-F238E27FC236}">
                  <a16:creationId xmlns:a16="http://schemas.microsoft.com/office/drawing/2014/main" id="{B8DA31F7-FFA6-0443-2A0C-2A24DEAB60CE}"/>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5">
              <a:extLst>
                <a:ext uri="{FF2B5EF4-FFF2-40B4-BE49-F238E27FC236}">
                  <a16:creationId xmlns:a16="http://schemas.microsoft.com/office/drawing/2014/main" id="{9B2DFB34-8398-242A-92E5-695B36537663}"/>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6">
              <a:extLst>
                <a:ext uri="{FF2B5EF4-FFF2-40B4-BE49-F238E27FC236}">
                  <a16:creationId xmlns:a16="http://schemas.microsoft.com/office/drawing/2014/main" id="{EB4F2816-C25D-1000-41FE-1814EEF40B8A}"/>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7">
              <a:extLst>
                <a:ext uri="{FF2B5EF4-FFF2-40B4-BE49-F238E27FC236}">
                  <a16:creationId xmlns:a16="http://schemas.microsoft.com/office/drawing/2014/main" id="{D9A2A8D2-AAE1-009E-1DEB-4E81DA3900D0}"/>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8">
              <a:extLst>
                <a:ext uri="{FF2B5EF4-FFF2-40B4-BE49-F238E27FC236}">
                  <a16:creationId xmlns:a16="http://schemas.microsoft.com/office/drawing/2014/main" id="{88EFF813-BEF2-78D6-DF9A-5E00B953C432}"/>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39">
              <a:extLst>
                <a:ext uri="{FF2B5EF4-FFF2-40B4-BE49-F238E27FC236}">
                  <a16:creationId xmlns:a16="http://schemas.microsoft.com/office/drawing/2014/main" id="{1BA7C66B-AABD-B8B4-065E-0453B59F5C37}"/>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0">
              <a:extLst>
                <a:ext uri="{FF2B5EF4-FFF2-40B4-BE49-F238E27FC236}">
                  <a16:creationId xmlns:a16="http://schemas.microsoft.com/office/drawing/2014/main" id="{BCB48D72-D372-D3D9-5552-51A18501FAD6}"/>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1">
              <a:extLst>
                <a:ext uri="{FF2B5EF4-FFF2-40B4-BE49-F238E27FC236}">
                  <a16:creationId xmlns:a16="http://schemas.microsoft.com/office/drawing/2014/main" id="{33259614-E96F-905E-77D7-E83C6B9BE4E2}"/>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2">
              <a:extLst>
                <a:ext uri="{FF2B5EF4-FFF2-40B4-BE49-F238E27FC236}">
                  <a16:creationId xmlns:a16="http://schemas.microsoft.com/office/drawing/2014/main" id="{95D90654-2C72-8AD8-3D85-1693BC850DFA}"/>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3">
              <a:extLst>
                <a:ext uri="{FF2B5EF4-FFF2-40B4-BE49-F238E27FC236}">
                  <a16:creationId xmlns:a16="http://schemas.microsoft.com/office/drawing/2014/main" id="{CD412977-8382-524B-7C00-3DE6506B6F8B}"/>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Rectangle 44">
              <a:extLst>
                <a:ext uri="{FF2B5EF4-FFF2-40B4-BE49-F238E27FC236}">
                  <a16:creationId xmlns:a16="http://schemas.microsoft.com/office/drawing/2014/main" id="{66BAAAE4-24CC-B270-6CAF-C4BCE309E601}"/>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 name="TextBox 45">
              <a:extLst>
                <a:ext uri="{FF2B5EF4-FFF2-40B4-BE49-F238E27FC236}">
                  <a16:creationId xmlns:a16="http://schemas.microsoft.com/office/drawing/2014/main" id="{4AF9ABF1-94CB-D3F6-89A1-3AAF589A3392}"/>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4" name="TextBox 46">
              <a:extLst>
                <a:ext uri="{FF2B5EF4-FFF2-40B4-BE49-F238E27FC236}">
                  <a16:creationId xmlns:a16="http://schemas.microsoft.com/office/drawing/2014/main" id="{F5D1E4EF-085A-E504-EE7D-44E0E4D0BA06}"/>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5" name="TextBox 47">
              <a:extLst>
                <a:ext uri="{FF2B5EF4-FFF2-40B4-BE49-F238E27FC236}">
                  <a16:creationId xmlns:a16="http://schemas.microsoft.com/office/drawing/2014/main" id="{B5F4A4B9-96CF-328A-A794-DA77FD206DFC}"/>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6" name="TextBox 48">
              <a:extLst>
                <a:ext uri="{FF2B5EF4-FFF2-40B4-BE49-F238E27FC236}">
                  <a16:creationId xmlns:a16="http://schemas.microsoft.com/office/drawing/2014/main" id="{23D52EC0-88DB-7235-A977-DFDA15F1CB55}"/>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7" name="TextBox 49">
              <a:extLst>
                <a:ext uri="{FF2B5EF4-FFF2-40B4-BE49-F238E27FC236}">
                  <a16:creationId xmlns:a16="http://schemas.microsoft.com/office/drawing/2014/main" id="{D895753E-35DF-2DF3-BB33-6D74422A5402}"/>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8" name="TextBox 50">
              <a:extLst>
                <a:ext uri="{FF2B5EF4-FFF2-40B4-BE49-F238E27FC236}">
                  <a16:creationId xmlns:a16="http://schemas.microsoft.com/office/drawing/2014/main" id="{B947AD8E-7C75-9210-69FC-AC9B799888FE}"/>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9" name="TextBox 51">
              <a:extLst>
                <a:ext uri="{FF2B5EF4-FFF2-40B4-BE49-F238E27FC236}">
                  <a16:creationId xmlns:a16="http://schemas.microsoft.com/office/drawing/2014/main" id="{81C85D88-F710-9F7F-A343-EDF3DD593D6E}"/>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40" name="Rectangle 52">
              <a:extLst>
                <a:ext uri="{FF2B5EF4-FFF2-40B4-BE49-F238E27FC236}">
                  <a16:creationId xmlns:a16="http://schemas.microsoft.com/office/drawing/2014/main" id="{87BF3830-22A4-51AB-C594-F0A9AEB4D0CF}"/>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3">
              <a:extLst>
                <a:ext uri="{FF2B5EF4-FFF2-40B4-BE49-F238E27FC236}">
                  <a16:creationId xmlns:a16="http://schemas.microsoft.com/office/drawing/2014/main" id="{225A6357-41B5-6328-737E-8CF6F76715CC}"/>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4">
              <a:extLst>
                <a:ext uri="{FF2B5EF4-FFF2-40B4-BE49-F238E27FC236}">
                  <a16:creationId xmlns:a16="http://schemas.microsoft.com/office/drawing/2014/main" id="{6E72D7A9-4CB5-5D6E-20D5-0E5F76FD08B8}"/>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5">
              <a:extLst>
                <a:ext uri="{FF2B5EF4-FFF2-40B4-BE49-F238E27FC236}">
                  <a16:creationId xmlns:a16="http://schemas.microsoft.com/office/drawing/2014/main" id="{CF195974-1189-2E36-3487-4DE985E00EA7}"/>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Rectangle 56">
              <a:extLst>
                <a:ext uri="{FF2B5EF4-FFF2-40B4-BE49-F238E27FC236}">
                  <a16:creationId xmlns:a16="http://schemas.microsoft.com/office/drawing/2014/main" id="{29579197-32E9-F5FA-FBD4-4EB5F2A8CBB7}"/>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 name="TextBox 57">
              <a:extLst>
                <a:ext uri="{FF2B5EF4-FFF2-40B4-BE49-F238E27FC236}">
                  <a16:creationId xmlns:a16="http://schemas.microsoft.com/office/drawing/2014/main" id="{E86722CA-E19B-8FBF-21B6-A9AFDE804EC2}"/>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6" name="TextBox 58">
              <a:extLst>
                <a:ext uri="{FF2B5EF4-FFF2-40B4-BE49-F238E27FC236}">
                  <a16:creationId xmlns:a16="http://schemas.microsoft.com/office/drawing/2014/main" id="{63E7392A-82A3-3A9F-F3A4-CC6553E494E8}"/>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7" name="TextBox 59">
              <a:extLst>
                <a:ext uri="{FF2B5EF4-FFF2-40B4-BE49-F238E27FC236}">
                  <a16:creationId xmlns:a16="http://schemas.microsoft.com/office/drawing/2014/main" id="{CF47E9F8-1C1F-BF1E-93D8-723EE3869EA8}"/>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8" name="TextBox 60">
              <a:extLst>
                <a:ext uri="{FF2B5EF4-FFF2-40B4-BE49-F238E27FC236}">
                  <a16:creationId xmlns:a16="http://schemas.microsoft.com/office/drawing/2014/main" id="{00FC7C28-A259-6916-233F-C8083450D876}"/>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9" name="TextBox 61">
              <a:extLst>
                <a:ext uri="{FF2B5EF4-FFF2-40B4-BE49-F238E27FC236}">
                  <a16:creationId xmlns:a16="http://schemas.microsoft.com/office/drawing/2014/main" id="{B29186D3-8898-19D8-08A7-2591166318B2}"/>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50" name="TextBox 62">
              <a:extLst>
                <a:ext uri="{FF2B5EF4-FFF2-40B4-BE49-F238E27FC236}">
                  <a16:creationId xmlns:a16="http://schemas.microsoft.com/office/drawing/2014/main" id="{B78E858E-9217-F3F2-4C94-CA9703978FA7}"/>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1" name="TextBox 63">
              <a:extLst>
                <a:ext uri="{FF2B5EF4-FFF2-40B4-BE49-F238E27FC236}">
                  <a16:creationId xmlns:a16="http://schemas.microsoft.com/office/drawing/2014/main" id="{450349B4-2796-B1AD-7BC8-31E7BD7238E3}"/>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2" name="TextBox 64">
              <a:extLst>
                <a:ext uri="{FF2B5EF4-FFF2-40B4-BE49-F238E27FC236}">
                  <a16:creationId xmlns:a16="http://schemas.microsoft.com/office/drawing/2014/main" id="{9C8D5592-F927-730A-300B-CAF0BC2990E5}"/>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3" name="TextBox 65">
              <a:extLst>
                <a:ext uri="{FF2B5EF4-FFF2-40B4-BE49-F238E27FC236}">
                  <a16:creationId xmlns:a16="http://schemas.microsoft.com/office/drawing/2014/main" id="{42C9C405-7C15-7269-C05A-E2894BCD02AB}"/>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5" name="TextBox 66">
              <a:extLst>
                <a:ext uri="{FF2B5EF4-FFF2-40B4-BE49-F238E27FC236}">
                  <a16:creationId xmlns:a16="http://schemas.microsoft.com/office/drawing/2014/main" id="{1D4F06D2-4D88-E9DE-1948-976B22EB7CE6}"/>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6" name="TextBox 67">
              <a:extLst>
                <a:ext uri="{FF2B5EF4-FFF2-40B4-BE49-F238E27FC236}">
                  <a16:creationId xmlns:a16="http://schemas.microsoft.com/office/drawing/2014/main" id="{BD8C7F0D-E2B2-03B7-E90D-844545E5B2CB}"/>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7" name="TextBox 68">
              <a:extLst>
                <a:ext uri="{FF2B5EF4-FFF2-40B4-BE49-F238E27FC236}">
                  <a16:creationId xmlns:a16="http://schemas.microsoft.com/office/drawing/2014/main" id="{2B76D3BE-EA65-3560-B1B3-9A7DEAC28F01}"/>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8" name="TextBox 69">
              <a:extLst>
                <a:ext uri="{FF2B5EF4-FFF2-40B4-BE49-F238E27FC236}">
                  <a16:creationId xmlns:a16="http://schemas.microsoft.com/office/drawing/2014/main" id="{2F5E97F5-43C8-619C-6918-F34E4F8CA704}"/>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9" name="TextBox 70">
              <a:extLst>
                <a:ext uri="{FF2B5EF4-FFF2-40B4-BE49-F238E27FC236}">
                  <a16:creationId xmlns:a16="http://schemas.microsoft.com/office/drawing/2014/main" id="{02DFB48B-E612-9EC8-0049-71D06A5B412A}"/>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60" name="TextBox 71">
              <a:extLst>
                <a:ext uri="{FF2B5EF4-FFF2-40B4-BE49-F238E27FC236}">
                  <a16:creationId xmlns:a16="http://schemas.microsoft.com/office/drawing/2014/main" id="{A637497E-9506-E726-ABBD-68F24FA6128E}"/>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61" name="Rectangle 72">
              <a:extLst>
                <a:ext uri="{FF2B5EF4-FFF2-40B4-BE49-F238E27FC236}">
                  <a16:creationId xmlns:a16="http://schemas.microsoft.com/office/drawing/2014/main" id="{B025E343-F574-1303-A3E7-491034366161}"/>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3">
              <a:extLst>
                <a:ext uri="{FF2B5EF4-FFF2-40B4-BE49-F238E27FC236}">
                  <a16:creationId xmlns:a16="http://schemas.microsoft.com/office/drawing/2014/main" id="{E2354189-C651-E247-85BB-A276F9D11489}"/>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4">
              <a:extLst>
                <a:ext uri="{FF2B5EF4-FFF2-40B4-BE49-F238E27FC236}">
                  <a16:creationId xmlns:a16="http://schemas.microsoft.com/office/drawing/2014/main" id="{0068882B-764D-CE2D-D67D-73A91299CD72}"/>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5">
              <a:extLst>
                <a:ext uri="{FF2B5EF4-FFF2-40B4-BE49-F238E27FC236}">
                  <a16:creationId xmlns:a16="http://schemas.microsoft.com/office/drawing/2014/main" id="{12DA2870-24B0-CA3D-1657-2061E54DDFF8}"/>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6">
              <a:extLst>
                <a:ext uri="{FF2B5EF4-FFF2-40B4-BE49-F238E27FC236}">
                  <a16:creationId xmlns:a16="http://schemas.microsoft.com/office/drawing/2014/main" id="{79228BBA-C497-39EF-4E53-FA8BDC9469C9}"/>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7">
              <a:extLst>
                <a:ext uri="{FF2B5EF4-FFF2-40B4-BE49-F238E27FC236}">
                  <a16:creationId xmlns:a16="http://schemas.microsoft.com/office/drawing/2014/main" id="{170A1DD3-E8FE-7734-2117-D8CB7CB7B154}"/>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78">
              <a:extLst>
                <a:ext uri="{FF2B5EF4-FFF2-40B4-BE49-F238E27FC236}">
                  <a16:creationId xmlns:a16="http://schemas.microsoft.com/office/drawing/2014/main" id="{50D55BDA-1349-8D36-36B2-0E3CB982A349}"/>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9" name="Rectangle 79">
              <a:extLst>
                <a:ext uri="{FF2B5EF4-FFF2-40B4-BE49-F238E27FC236}">
                  <a16:creationId xmlns:a16="http://schemas.microsoft.com/office/drawing/2014/main" id="{C9B98589-D3F7-F132-7B1D-BDBAC19EE952}"/>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80">
              <a:extLst>
                <a:ext uri="{FF2B5EF4-FFF2-40B4-BE49-F238E27FC236}">
                  <a16:creationId xmlns:a16="http://schemas.microsoft.com/office/drawing/2014/main" id="{6DDD8991-F2BE-FAFB-E37A-2A386D525A3C}"/>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1">
              <a:extLst>
                <a:ext uri="{FF2B5EF4-FFF2-40B4-BE49-F238E27FC236}">
                  <a16:creationId xmlns:a16="http://schemas.microsoft.com/office/drawing/2014/main" id="{5106DC42-D7FD-94B9-C083-C42DF7A36EBC}"/>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2">
              <a:extLst>
                <a:ext uri="{FF2B5EF4-FFF2-40B4-BE49-F238E27FC236}">
                  <a16:creationId xmlns:a16="http://schemas.microsoft.com/office/drawing/2014/main" id="{4BE1B757-C845-0A29-794C-D505DD8142A6}"/>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3" name="Rectangle 83">
              <a:extLst>
                <a:ext uri="{FF2B5EF4-FFF2-40B4-BE49-F238E27FC236}">
                  <a16:creationId xmlns:a16="http://schemas.microsoft.com/office/drawing/2014/main" id="{E2658E9D-05EA-7482-01DF-68FC0A65B8F9}"/>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4" name="Rectangle 84">
              <a:extLst>
                <a:ext uri="{FF2B5EF4-FFF2-40B4-BE49-F238E27FC236}">
                  <a16:creationId xmlns:a16="http://schemas.microsoft.com/office/drawing/2014/main" id="{BCF2E77B-8E0B-BB71-7666-EAAFF3FA8C68}"/>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5">
              <a:extLst>
                <a:ext uri="{FF2B5EF4-FFF2-40B4-BE49-F238E27FC236}">
                  <a16:creationId xmlns:a16="http://schemas.microsoft.com/office/drawing/2014/main" id="{D7D3FFF1-8B0B-5723-F989-835A5BE0E48B}"/>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6">
              <a:extLst>
                <a:ext uri="{FF2B5EF4-FFF2-40B4-BE49-F238E27FC236}">
                  <a16:creationId xmlns:a16="http://schemas.microsoft.com/office/drawing/2014/main" id="{EF0C5B68-46E4-A669-B627-6E6CB21CD362}"/>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87">
              <a:extLst>
                <a:ext uri="{FF2B5EF4-FFF2-40B4-BE49-F238E27FC236}">
                  <a16:creationId xmlns:a16="http://schemas.microsoft.com/office/drawing/2014/main" id="{ECAEC59F-B137-CADB-0CFC-6501B775E873}"/>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88">
              <a:extLst>
                <a:ext uri="{FF2B5EF4-FFF2-40B4-BE49-F238E27FC236}">
                  <a16:creationId xmlns:a16="http://schemas.microsoft.com/office/drawing/2014/main" id="{6576D6DA-846E-3DD0-861F-CD1AE160BB6F}"/>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89">
              <a:extLst>
                <a:ext uri="{FF2B5EF4-FFF2-40B4-BE49-F238E27FC236}">
                  <a16:creationId xmlns:a16="http://schemas.microsoft.com/office/drawing/2014/main" id="{8BBC0B95-3440-46DF-609C-0E854344B409}"/>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90">
              <a:extLst>
                <a:ext uri="{FF2B5EF4-FFF2-40B4-BE49-F238E27FC236}">
                  <a16:creationId xmlns:a16="http://schemas.microsoft.com/office/drawing/2014/main" id="{075B486B-204B-61A8-ED1E-8FF797A5C510}"/>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1">
              <a:extLst>
                <a:ext uri="{FF2B5EF4-FFF2-40B4-BE49-F238E27FC236}">
                  <a16:creationId xmlns:a16="http://schemas.microsoft.com/office/drawing/2014/main" id="{1D8E2D41-E6B9-F8BB-8FD3-0B565799BE43}"/>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2">
              <a:extLst>
                <a:ext uri="{FF2B5EF4-FFF2-40B4-BE49-F238E27FC236}">
                  <a16:creationId xmlns:a16="http://schemas.microsoft.com/office/drawing/2014/main" id="{A278AF79-E8EA-B5B8-967F-9264365DABFC}"/>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3">
              <a:extLst>
                <a:ext uri="{FF2B5EF4-FFF2-40B4-BE49-F238E27FC236}">
                  <a16:creationId xmlns:a16="http://schemas.microsoft.com/office/drawing/2014/main" id="{FE59D317-9027-5AAD-E346-34370903A408}"/>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4">
              <a:extLst>
                <a:ext uri="{FF2B5EF4-FFF2-40B4-BE49-F238E27FC236}">
                  <a16:creationId xmlns:a16="http://schemas.microsoft.com/office/drawing/2014/main" id="{4F8BCE90-5AFE-ED59-DBC6-8044246086BA}"/>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5">
              <a:extLst>
                <a:ext uri="{FF2B5EF4-FFF2-40B4-BE49-F238E27FC236}">
                  <a16:creationId xmlns:a16="http://schemas.microsoft.com/office/drawing/2014/main" id="{5A540C94-224C-89BE-D0F4-DCBB302558B7}"/>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6">
              <a:extLst>
                <a:ext uri="{FF2B5EF4-FFF2-40B4-BE49-F238E27FC236}">
                  <a16:creationId xmlns:a16="http://schemas.microsoft.com/office/drawing/2014/main" id="{EC3E639E-68B3-CC55-E381-6DDC22BCB094}"/>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97">
              <a:extLst>
                <a:ext uri="{FF2B5EF4-FFF2-40B4-BE49-F238E27FC236}">
                  <a16:creationId xmlns:a16="http://schemas.microsoft.com/office/drawing/2014/main" id="{1975FBD1-04F8-D406-E9D0-F29A27F0865C}"/>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8" name="Rectangle 98">
              <a:extLst>
                <a:ext uri="{FF2B5EF4-FFF2-40B4-BE49-F238E27FC236}">
                  <a16:creationId xmlns:a16="http://schemas.microsoft.com/office/drawing/2014/main" id="{731CCEFA-B952-1912-6C77-52C8DA8910D9}"/>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9" name="Rectangle 99">
              <a:extLst>
                <a:ext uri="{FF2B5EF4-FFF2-40B4-BE49-F238E27FC236}">
                  <a16:creationId xmlns:a16="http://schemas.microsoft.com/office/drawing/2014/main" id="{8134F6F8-84A0-33FA-2850-DBE95BA6D06C}"/>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0" name="Rectangle 100">
              <a:extLst>
                <a:ext uri="{FF2B5EF4-FFF2-40B4-BE49-F238E27FC236}">
                  <a16:creationId xmlns:a16="http://schemas.microsoft.com/office/drawing/2014/main" id="{F3EE695F-6B04-F380-A88D-3B9668F3349D}"/>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1" name="Rectangle 101">
              <a:extLst>
                <a:ext uri="{FF2B5EF4-FFF2-40B4-BE49-F238E27FC236}">
                  <a16:creationId xmlns:a16="http://schemas.microsoft.com/office/drawing/2014/main" id="{7D262D95-A531-0770-455D-9F3511AE11AA}"/>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2" name="Rectangle 102">
              <a:extLst>
                <a:ext uri="{FF2B5EF4-FFF2-40B4-BE49-F238E27FC236}">
                  <a16:creationId xmlns:a16="http://schemas.microsoft.com/office/drawing/2014/main" id="{1F5CAE7B-9156-CD81-F222-60EA1173C6A4}"/>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103">
              <a:extLst>
                <a:ext uri="{FF2B5EF4-FFF2-40B4-BE49-F238E27FC236}">
                  <a16:creationId xmlns:a16="http://schemas.microsoft.com/office/drawing/2014/main" id="{4B8E0FC9-7C4C-A9C4-AC36-E89354C99350}"/>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4" name="Rectangle 104">
              <a:extLst>
                <a:ext uri="{FF2B5EF4-FFF2-40B4-BE49-F238E27FC236}">
                  <a16:creationId xmlns:a16="http://schemas.microsoft.com/office/drawing/2014/main" id="{D9A178F1-B4BE-DBB6-A88D-193B4B20894A}"/>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5">
              <a:extLst>
                <a:ext uri="{FF2B5EF4-FFF2-40B4-BE49-F238E27FC236}">
                  <a16:creationId xmlns:a16="http://schemas.microsoft.com/office/drawing/2014/main" id="{B6109618-C631-13C3-C0CD-0E058E0CA5A7}"/>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6">
              <a:extLst>
                <a:ext uri="{FF2B5EF4-FFF2-40B4-BE49-F238E27FC236}">
                  <a16:creationId xmlns:a16="http://schemas.microsoft.com/office/drawing/2014/main" id="{FFC37788-DB9C-30D6-DDE9-9AC9BFE3BD5C}"/>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07">
              <a:extLst>
                <a:ext uri="{FF2B5EF4-FFF2-40B4-BE49-F238E27FC236}">
                  <a16:creationId xmlns:a16="http://schemas.microsoft.com/office/drawing/2014/main" id="{26341595-5114-1308-9262-876044DA317D}"/>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08">
              <a:extLst>
                <a:ext uri="{FF2B5EF4-FFF2-40B4-BE49-F238E27FC236}">
                  <a16:creationId xmlns:a16="http://schemas.microsoft.com/office/drawing/2014/main" id="{F254D5D7-D5FB-159B-E522-9D4D48964359}"/>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9" name="Rectangle 109">
              <a:extLst>
                <a:ext uri="{FF2B5EF4-FFF2-40B4-BE49-F238E27FC236}">
                  <a16:creationId xmlns:a16="http://schemas.microsoft.com/office/drawing/2014/main" id="{EB39E5B8-4560-DDBC-B37B-6657ACB92F34}"/>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1" name="Rectangle 110">
              <a:extLst>
                <a:ext uri="{FF2B5EF4-FFF2-40B4-BE49-F238E27FC236}">
                  <a16:creationId xmlns:a16="http://schemas.microsoft.com/office/drawing/2014/main" id="{2990021F-98DE-2C94-3EB8-DC03D4130A50}"/>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2" name="Rectangle 111">
              <a:extLst>
                <a:ext uri="{FF2B5EF4-FFF2-40B4-BE49-F238E27FC236}">
                  <a16:creationId xmlns:a16="http://schemas.microsoft.com/office/drawing/2014/main" id="{6B608767-203C-9C59-6600-50F1D1E1E16E}"/>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3" name="TextBox 112">
              <a:extLst>
                <a:ext uri="{FF2B5EF4-FFF2-40B4-BE49-F238E27FC236}">
                  <a16:creationId xmlns:a16="http://schemas.microsoft.com/office/drawing/2014/main" id="{B12CFAB1-EE55-EB57-EEBC-F6474914276A}"/>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05" name="TextBox 113">
              <a:extLst>
                <a:ext uri="{FF2B5EF4-FFF2-40B4-BE49-F238E27FC236}">
                  <a16:creationId xmlns:a16="http://schemas.microsoft.com/office/drawing/2014/main" id="{033677AB-844C-D113-E06B-1A6CB56B2B7C}"/>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7" name="TextBox 114">
              <a:extLst>
                <a:ext uri="{FF2B5EF4-FFF2-40B4-BE49-F238E27FC236}">
                  <a16:creationId xmlns:a16="http://schemas.microsoft.com/office/drawing/2014/main" id="{5B0A739C-DA78-64B3-E12F-CCF6071360E9}"/>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2608131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サブセクション見出し 画像あり">
    <p:bg>
      <p:bgPr>
        <a:solidFill>
          <a:schemeClr val="bg1"/>
        </a:solidFill>
        <a:effectLst/>
      </p:bgPr>
    </p:bg>
    <p:spTree>
      <p:nvGrpSpPr>
        <p:cNvPr id="1" name=""/>
        <p:cNvGrpSpPr/>
        <p:nvPr/>
      </p:nvGrpSpPr>
      <p:grpSpPr>
        <a:xfrm>
          <a:off x="0" y="0"/>
          <a:ext cx="0" cy="0"/>
          <a:chOff x="0" y="0"/>
          <a:chExt cx="0" cy="0"/>
        </a:xfrm>
      </p:grpSpPr>
      <p:sp>
        <p:nvSpPr>
          <p:cNvPr id="74" name="Picture Placeholder 73">
            <a:extLst>
              <a:ext uri="{FF2B5EF4-FFF2-40B4-BE49-F238E27FC236}">
                <a16:creationId xmlns:a16="http://schemas.microsoft.com/office/drawing/2014/main" id="{E3E5B31F-474E-3B39-1712-58B93C18D05C}"/>
              </a:ext>
            </a:extLst>
          </p:cNvPr>
          <p:cNvSpPr>
            <a:spLocks noGrp="1"/>
          </p:cNvSpPr>
          <p:nvPr>
            <p:ph type="pic" sz="quarter" idx="19"/>
          </p:nvPr>
        </p:nvSpPr>
        <p:spPr>
          <a:xfrm>
            <a:off x="12" y="6"/>
            <a:ext cx="12191989" cy="6857994"/>
          </a:xfrm>
          <a:custGeom>
            <a:avLst/>
            <a:gdLst>
              <a:gd name="connsiteX0" fmla="*/ 10102128 w 12191989"/>
              <a:gd name="connsiteY0" fmla="*/ 526030 h 6857994"/>
              <a:gd name="connsiteX1" fmla="*/ 10102067 w 12191989"/>
              <a:gd name="connsiteY1" fmla="*/ 526157 h 6857994"/>
              <a:gd name="connsiteX2" fmla="*/ 10102067 w 12191989"/>
              <a:gd name="connsiteY2" fmla="*/ 526069 h 6857994"/>
              <a:gd name="connsiteX3" fmla="*/ 10230602 w 12191989"/>
              <a:gd name="connsiteY3" fmla="*/ 526030 h 6857994"/>
              <a:gd name="connsiteX4" fmla="*/ 10230541 w 12191989"/>
              <a:gd name="connsiteY4" fmla="*/ 526157 h 6857994"/>
              <a:gd name="connsiteX5" fmla="*/ 10230541 w 12191989"/>
              <a:gd name="connsiteY5" fmla="*/ 526069 h 6857994"/>
              <a:gd name="connsiteX6" fmla="*/ 9520726 w 12191989"/>
              <a:gd name="connsiteY6" fmla="*/ 526030 h 6857994"/>
              <a:gd name="connsiteX7" fmla="*/ 9520663 w 12191989"/>
              <a:gd name="connsiteY7" fmla="*/ 526158 h 6857994"/>
              <a:gd name="connsiteX8" fmla="*/ 9520663 w 12191989"/>
              <a:gd name="connsiteY8" fmla="*/ 526070 h 6857994"/>
              <a:gd name="connsiteX9" fmla="*/ 9935527 w 12191989"/>
              <a:gd name="connsiteY9" fmla="*/ 525952 h 6857994"/>
              <a:gd name="connsiteX10" fmla="*/ 9935428 w 12191989"/>
              <a:gd name="connsiteY10" fmla="*/ 526157 h 6857994"/>
              <a:gd name="connsiteX11" fmla="*/ 9935341 w 12191989"/>
              <a:gd name="connsiteY11" fmla="*/ 526069 h 6857994"/>
              <a:gd name="connsiteX12" fmla="*/ 10035081 w 12191989"/>
              <a:gd name="connsiteY12" fmla="*/ 516986 h 6857994"/>
              <a:gd name="connsiteX13" fmla="*/ 10054645 w 12191989"/>
              <a:gd name="connsiteY13" fmla="*/ 530348 h 6857994"/>
              <a:gd name="connsiteX14" fmla="*/ 10035342 w 12191989"/>
              <a:gd name="connsiteY14" fmla="*/ 543361 h 6857994"/>
              <a:gd name="connsiteX15" fmla="*/ 10027395 w 12191989"/>
              <a:gd name="connsiteY15" fmla="*/ 542488 h 6857994"/>
              <a:gd name="connsiteX16" fmla="*/ 9532105 w 12191989"/>
              <a:gd name="connsiteY16" fmla="*/ 513319 h 6857994"/>
              <a:gd name="connsiteX17" fmla="*/ 9535249 w 12191989"/>
              <a:gd name="connsiteY17" fmla="*/ 516899 h 6857994"/>
              <a:gd name="connsiteX18" fmla="*/ 9520726 w 12191989"/>
              <a:gd name="connsiteY18" fmla="*/ 526030 h 6857994"/>
              <a:gd name="connsiteX19" fmla="*/ 9524768 w 12191989"/>
              <a:gd name="connsiteY19" fmla="*/ 517860 h 6857994"/>
              <a:gd name="connsiteX20" fmla="*/ 9532105 w 12191989"/>
              <a:gd name="connsiteY20" fmla="*/ 513319 h 6857994"/>
              <a:gd name="connsiteX21" fmla="*/ 10113421 w 12191989"/>
              <a:gd name="connsiteY21" fmla="*/ 513318 h 6857994"/>
              <a:gd name="connsiteX22" fmla="*/ 10116653 w 12191989"/>
              <a:gd name="connsiteY22" fmla="*/ 516899 h 6857994"/>
              <a:gd name="connsiteX23" fmla="*/ 10102128 w 12191989"/>
              <a:gd name="connsiteY23" fmla="*/ 526030 h 6857994"/>
              <a:gd name="connsiteX24" fmla="*/ 10106084 w 12191989"/>
              <a:gd name="connsiteY24" fmla="*/ 517860 h 6857994"/>
              <a:gd name="connsiteX25" fmla="*/ 10113421 w 12191989"/>
              <a:gd name="connsiteY25" fmla="*/ 513318 h 6857994"/>
              <a:gd name="connsiteX26" fmla="*/ 9946783 w 12191989"/>
              <a:gd name="connsiteY26" fmla="*/ 513318 h 6857994"/>
              <a:gd name="connsiteX27" fmla="*/ 9949927 w 12191989"/>
              <a:gd name="connsiteY27" fmla="*/ 516899 h 6857994"/>
              <a:gd name="connsiteX28" fmla="*/ 9935527 w 12191989"/>
              <a:gd name="connsiteY28" fmla="*/ 525952 h 6857994"/>
              <a:gd name="connsiteX29" fmla="*/ 9939446 w 12191989"/>
              <a:gd name="connsiteY29" fmla="*/ 517860 h 6857994"/>
              <a:gd name="connsiteX30" fmla="*/ 9946783 w 12191989"/>
              <a:gd name="connsiteY30" fmla="*/ 513318 h 6857994"/>
              <a:gd name="connsiteX31" fmla="*/ 10241895 w 12191989"/>
              <a:gd name="connsiteY31" fmla="*/ 513318 h 6857994"/>
              <a:gd name="connsiteX32" fmla="*/ 10245126 w 12191989"/>
              <a:gd name="connsiteY32" fmla="*/ 516898 h 6857994"/>
              <a:gd name="connsiteX33" fmla="*/ 10230602 w 12191989"/>
              <a:gd name="connsiteY33" fmla="*/ 526030 h 6857994"/>
              <a:gd name="connsiteX34" fmla="*/ 10234558 w 12191989"/>
              <a:gd name="connsiteY34" fmla="*/ 517859 h 6857994"/>
              <a:gd name="connsiteX35" fmla="*/ 10241895 w 12191989"/>
              <a:gd name="connsiteY35" fmla="*/ 513318 h 6857994"/>
              <a:gd name="connsiteX36" fmla="*/ 9709311 w 12191989"/>
              <a:gd name="connsiteY36" fmla="*/ 512707 h 6857994"/>
              <a:gd name="connsiteX37" fmla="*/ 9714290 w 12191989"/>
              <a:gd name="connsiteY37" fmla="*/ 515502 h 6857994"/>
              <a:gd name="connsiteX38" fmla="*/ 9715076 w 12191989"/>
              <a:gd name="connsiteY38" fmla="*/ 521790 h 6857994"/>
              <a:gd name="connsiteX39" fmla="*/ 9710534 w 12191989"/>
              <a:gd name="connsiteY39" fmla="*/ 535677 h 6857994"/>
              <a:gd name="connsiteX40" fmla="*/ 9710621 w 12191989"/>
              <a:gd name="connsiteY40" fmla="*/ 535764 h 6857994"/>
              <a:gd name="connsiteX41" fmla="*/ 9699355 w 12191989"/>
              <a:gd name="connsiteY41" fmla="*/ 543625 h 6857994"/>
              <a:gd name="connsiteX42" fmla="*/ 9694464 w 12191989"/>
              <a:gd name="connsiteY42" fmla="*/ 540655 h 6857994"/>
              <a:gd name="connsiteX43" fmla="*/ 9693590 w 12191989"/>
              <a:gd name="connsiteY43" fmla="*/ 534454 h 6857994"/>
              <a:gd name="connsiteX44" fmla="*/ 9698045 w 12191989"/>
              <a:gd name="connsiteY44" fmla="*/ 520480 h 6857994"/>
              <a:gd name="connsiteX45" fmla="*/ 9709311 w 12191989"/>
              <a:gd name="connsiteY45" fmla="*/ 512707 h 6857994"/>
              <a:gd name="connsiteX46" fmla="*/ 9355421 w 12191989"/>
              <a:gd name="connsiteY46" fmla="*/ 512445 h 6857994"/>
              <a:gd name="connsiteX47" fmla="*/ 9360836 w 12191989"/>
              <a:gd name="connsiteY47" fmla="*/ 513931 h 6857994"/>
              <a:gd name="connsiteX48" fmla="*/ 9359352 w 12191989"/>
              <a:gd name="connsiteY48" fmla="*/ 518909 h 6857994"/>
              <a:gd name="connsiteX49" fmla="*/ 9351054 w 12191989"/>
              <a:gd name="connsiteY49" fmla="*/ 530001 h 6857994"/>
              <a:gd name="connsiteX50" fmla="*/ 9340399 w 12191989"/>
              <a:gd name="connsiteY50" fmla="*/ 539258 h 6857994"/>
              <a:gd name="connsiteX51" fmla="*/ 9338740 w 12191989"/>
              <a:gd name="connsiteY51" fmla="*/ 536376 h 6857994"/>
              <a:gd name="connsiteX52" fmla="*/ 9343892 w 12191989"/>
              <a:gd name="connsiteY52" fmla="*/ 521528 h 6857994"/>
              <a:gd name="connsiteX53" fmla="*/ 9355421 w 12191989"/>
              <a:gd name="connsiteY53" fmla="*/ 512445 h 6857994"/>
              <a:gd name="connsiteX54" fmla="*/ 9475073 w 12191989"/>
              <a:gd name="connsiteY54" fmla="*/ 512445 h 6857994"/>
              <a:gd name="connsiteX55" fmla="*/ 9480313 w 12191989"/>
              <a:gd name="connsiteY55" fmla="*/ 513668 h 6857994"/>
              <a:gd name="connsiteX56" fmla="*/ 9478829 w 12191989"/>
              <a:gd name="connsiteY56" fmla="*/ 518908 h 6857994"/>
              <a:gd name="connsiteX57" fmla="*/ 9478741 w 12191989"/>
              <a:gd name="connsiteY57" fmla="*/ 518908 h 6857994"/>
              <a:gd name="connsiteX58" fmla="*/ 9470356 w 12191989"/>
              <a:gd name="connsiteY58" fmla="*/ 530088 h 6857994"/>
              <a:gd name="connsiteX59" fmla="*/ 9460313 w 12191989"/>
              <a:gd name="connsiteY59" fmla="*/ 538210 h 6857994"/>
              <a:gd name="connsiteX60" fmla="*/ 9459090 w 12191989"/>
              <a:gd name="connsiteY60" fmla="*/ 535328 h 6857994"/>
              <a:gd name="connsiteX61" fmla="*/ 9464068 w 12191989"/>
              <a:gd name="connsiteY61" fmla="*/ 521092 h 6857994"/>
              <a:gd name="connsiteX62" fmla="*/ 9475073 w 12191989"/>
              <a:gd name="connsiteY62" fmla="*/ 512445 h 6857994"/>
              <a:gd name="connsiteX63" fmla="*/ 9488872 w 12191989"/>
              <a:gd name="connsiteY63" fmla="*/ 502227 h 6857994"/>
              <a:gd name="connsiteX64" fmla="*/ 9477343 w 12191989"/>
              <a:gd name="connsiteY64" fmla="*/ 502489 h 6857994"/>
              <a:gd name="connsiteX65" fmla="*/ 9453587 w 12191989"/>
              <a:gd name="connsiteY65" fmla="*/ 514803 h 6857994"/>
              <a:gd name="connsiteX66" fmla="*/ 9441535 w 12191989"/>
              <a:gd name="connsiteY66" fmla="*/ 539782 h 6857994"/>
              <a:gd name="connsiteX67" fmla="*/ 9443631 w 12191989"/>
              <a:gd name="connsiteY67" fmla="*/ 548777 h 6857994"/>
              <a:gd name="connsiteX68" fmla="*/ 9451666 w 12191989"/>
              <a:gd name="connsiteY68" fmla="*/ 552620 h 6857994"/>
              <a:gd name="connsiteX69" fmla="*/ 9475247 w 12191989"/>
              <a:gd name="connsiteY69" fmla="*/ 532096 h 6857994"/>
              <a:gd name="connsiteX70" fmla="*/ 9477343 w 12191989"/>
              <a:gd name="connsiteY70" fmla="*/ 532096 h 6857994"/>
              <a:gd name="connsiteX71" fmla="*/ 9473675 w 12191989"/>
              <a:gd name="connsiteY71" fmla="*/ 543712 h 6857994"/>
              <a:gd name="connsiteX72" fmla="*/ 9468086 w 12191989"/>
              <a:gd name="connsiteY72" fmla="*/ 556114 h 6857994"/>
              <a:gd name="connsiteX73" fmla="*/ 9458129 w 12191989"/>
              <a:gd name="connsiteY73" fmla="*/ 561879 h 6857994"/>
              <a:gd name="connsiteX74" fmla="*/ 9437430 w 12191989"/>
              <a:gd name="connsiteY74" fmla="*/ 555764 h 6857994"/>
              <a:gd name="connsiteX75" fmla="*/ 9438740 w 12191989"/>
              <a:gd name="connsiteY75" fmla="*/ 570524 h 6857994"/>
              <a:gd name="connsiteX76" fmla="*/ 9454548 w 12191989"/>
              <a:gd name="connsiteY76" fmla="*/ 571922 h 6857994"/>
              <a:gd name="connsiteX77" fmla="*/ 9487650 w 12191989"/>
              <a:gd name="connsiteY77" fmla="*/ 549826 h 6857994"/>
              <a:gd name="connsiteX78" fmla="*/ 9500925 w 12191989"/>
              <a:gd name="connsiteY78" fmla="*/ 502227 h 6857994"/>
              <a:gd name="connsiteX79" fmla="*/ 9489047 w 12191989"/>
              <a:gd name="connsiteY79" fmla="*/ 502227 h 6857994"/>
              <a:gd name="connsiteX80" fmla="*/ 9538916 w 12191989"/>
              <a:gd name="connsiteY80" fmla="*/ 502227 h 6857994"/>
              <a:gd name="connsiteX81" fmla="*/ 9513938 w 12191989"/>
              <a:gd name="connsiteY81" fmla="*/ 512794 h 6857994"/>
              <a:gd name="connsiteX82" fmla="*/ 9501187 w 12191989"/>
              <a:gd name="connsiteY82" fmla="*/ 537424 h 6857994"/>
              <a:gd name="connsiteX83" fmla="*/ 9506340 w 12191989"/>
              <a:gd name="connsiteY83" fmla="*/ 550175 h 6857994"/>
              <a:gd name="connsiteX84" fmla="*/ 9519965 w 12191989"/>
              <a:gd name="connsiteY84" fmla="*/ 554106 h 6857994"/>
              <a:gd name="connsiteX85" fmla="*/ 9545729 w 12191989"/>
              <a:gd name="connsiteY85" fmla="*/ 548690 h 6857994"/>
              <a:gd name="connsiteX86" fmla="*/ 9549397 w 12191989"/>
              <a:gd name="connsiteY86" fmla="*/ 536376 h 6857994"/>
              <a:gd name="connsiteX87" fmla="*/ 9526602 w 12191989"/>
              <a:gd name="connsiteY87" fmla="*/ 543625 h 6857994"/>
              <a:gd name="connsiteX88" fmla="*/ 9526602 w 12191989"/>
              <a:gd name="connsiteY88" fmla="*/ 543537 h 6857994"/>
              <a:gd name="connsiteX89" fmla="*/ 9518567 w 12191989"/>
              <a:gd name="connsiteY89" fmla="*/ 536026 h 6857994"/>
              <a:gd name="connsiteX90" fmla="*/ 9538916 w 12191989"/>
              <a:gd name="connsiteY90" fmla="*/ 530088 h 6857994"/>
              <a:gd name="connsiteX91" fmla="*/ 9550969 w 12191989"/>
              <a:gd name="connsiteY91" fmla="*/ 513319 h 6857994"/>
              <a:gd name="connsiteX92" fmla="*/ 9547650 w 12191989"/>
              <a:gd name="connsiteY92" fmla="*/ 504934 h 6857994"/>
              <a:gd name="connsiteX93" fmla="*/ 9538916 w 12191989"/>
              <a:gd name="connsiteY93" fmla="*/ 502227 h 6857994"/>
              <a:gd name="connsiteX94" fmla="*/ 9953595 w 12191989"/>
              <a:gd name="connsiteY94" fmla="*/ 502226 h 6857994"/>
              <a:gd name="connsiteX95" fmla="*/ 9928617 w 12191989"/>
              <a:gd name="connsiteY95" fmla="*/ 512794 h 6857994"/>
              <a:gd name="connsiteX96" fmla="*/ 9915865 w 12191989"/>
              <a:gd name="connsiteY96" fmla="*/ 537423 h 6857994"/>
              <a:gd name="connsiteX97" fmla="*/ 9921018 w 12191989"/>
              <a:gd name="connsiteY97" fmla="*/ 550174 h 6857994"/>
              <a:gd name="connsiteX98" fmla="*/ 9934643 w 12191989"/>
              <a:gd name="connsiteY98" fmla="*/ 554105 h 6857994"/>
              <a:gd name="connsiteX99" fmla="*/ 9960495 w 12191989"/>
              <a:gd name="connsiteY99" fmla="*/ 548690 h 6857994"/>
              <a:gd name="connsiteX100" fmla="*/ 9964075 w 12191989"/>
              <a:gd name="connsiteY100" fmla="*/ 536375 h 6857994"/>
              <a:gd name="connsiteX101" fmla="*/ 9941280 w 12191989"/>
              <a:gd name="connsiteY101" fmla="*/ 543624 h 6857994"/>
              <a:gd name="connsiteX102" fmla="*/ 9941280 w 12191989"/>
              <a:gd name="connsiteY102" fmla="*/ 543536 h 6857994"/>
              <a:gd name="connsiteX103" fmla="*/ 9933158 w 12191989"/>
              <a:gd name="connsiteY103" fmla="*/ 536026 h 6857994"/>
              <a:gd name="connsiteX104" fmla="*/ 9953595 w 12191989"/>
              <a:gd name="connsiteY104" fmla="*/ 530087 h 6857994"/>
              <a:gd name="connsiteX105" fmla="*/ 9965648 w 12191989"/>
              <a:gd name="connsiteY105" fmla="*/ 513318 h 6857994"/>
              <a:gd name="connsiteX106" fmla="*/ 9962329 w 12191989"/>
              <a:gd name="connsiteY106" fmla="*/ 504934 h 6857994"/>
              <a:gd name="connsiteX107" fmla="*/ 9953595 w 12191989"/>
              <a:gd name="connsiteY107" fmla="*/ 502226 h 6857994"/>
              <a:gd name="connsiteX108" fmla="*/ 10120408 w 12191989"/>
              <a:gd name="connsiteY108" fmla="*/ 502226 h 6857994"/>
              <a:gd name="connsiteX109" fmla="*/ 10095254 w 12191989"/>
              <a:gd name="connsiteY109" fmla="*/ 512794 h 6857994"/>
              <a:gd name="connsiteX110" fmla="*/ 10082591 w 12191989"/>
              <a:gd name="connsiteY110" fmla="*/ 537423 h 6857994"/>
              <a:gd name="connsiteX111" fmla="*/ 10087744 w 12191989"/>
              <a:gd name="connsiteY111" fmla="*/ 550174 h 6857994"/>
              <a:gd name="connsiteX112" fmla="*/ 10101281 w 12191989"/>
              <a:gd name="connsiteY112" fmla="*/ 554105 h 6857994"/>
              <a:gd name="connsiteX113" fmla="*/ 10127045 w 12191989"/>
              <a:gd name="connsiteY113" fmla="*/ 548690 h 6857994"/>
              <a:gd name="connsiteX114" fmla="*/ 10130714 w 12191989"/>
              <a:gd name="connsiteY114" fmla="*/ 536375 h 6857994"/>
              <a:gd name="connsiteX115" fmla="*/ 10107919 w 12191989"/>
              <a:gd name="connsiteY115" fmla="*/ 543624 h 6857994"/>
              <a:gd name="connsiteX116" fmla="*/ 10108006 w 12191989"/>
              <a:gd name="connsiteY116" fmla="*/ 543536 h 6857994"/>
              <a:gd name="connsiteX117" fmla="*/ 10099971 w 12191989"/>
              <a:gd name="connsiteY117" fmla="*/ 536026 h 6857994"/>
              <a:gd name="connsiteX118" fmla="*/ 10120321 w 12191989"/>
              <a:gd name="connsiteY118" fmla="*/ 530087 h 6857994"/>
              <a:gd name="connsiteX119" fmla="*/ 10132374 w 12191989"/>
              <a:gd name="connsiteY119" fmla="*/ 513318 h 6857994"/>
              <a:gd name="connsiteX120" fmla="*/ 10129054 w 12191989"/>
              <a:gd name="connsiteY120" fmla="*/ 504934 h 6857994"/>
              <a:gd name="connsiteX121" fmla="*/ 10120408 w 12191989"/>
              <a:gd name="connsiteY121" fmla="*/ 502226 h 6857994"/>
              <a:gd name="connsiteX122" fmla="*/ 10248882 w 12191989"/>
              <a:gd name="connsiteY122" fmla="*/ 502226 h 6857994"/>
              <a:gd name="connsiteX123" fmla="*/ 10223903 w 12191989"/>
              <a:gd name="connsiteY123" fmla="*/ 512793 h 6857994"/>
              <a:gd name="connsiteX124" fmla="*/ 10211152 w 12191989"/>
              <a:gd name="connsiteY124" fmla="*/ 537423 h 6857994"/>
              <a:gd name="connsiteX125" fmla="*/ 10216305 w 12191989"/>
              <a:gd name="connsiteY125" fmla="*/ 550174 h 6857994"/>
              <a:gd name="connsiteX126" fmla="*/ 10229842 w 12191989"/>
              <a:gd name="connsiteY126" fmla="*/ 554105 h 6857994"/>
              <a:gd name="connsiteX127" fmla="*/ 10255606 w 12191989"/>
              <a:gd name="connsiteY127" fmla="*/ 548689 h 6857994"/>
              <a:gd name="connsiteX128" fmla="*/ 10259188 w 12191989"/>
              <a:gd name="connsiteY128" fmla="*/ 536375 h 6857994"/>
              <a:gd name="connsiteX129" fmla="*/ 10236392 w 12191989"/>
              <a:gd name="connsiteY129" fmla="*/ 543624 h 6857994"/>
              <a:gd name="connsiteX130" fmla="*/ 10236480 w 12191989"/>
              <a:gd name="connsiteY130" fmla="*/ 543536 h 6857994"/>
              <a:gd name="connsiteX131" fmla="*/ 10228445 w 12191989"/>
              <a:gd name="connsiteY131" fmla="*/ 536025 h 6857994"/>
              <a:gd name="connsiteX132" fmla="*/ 10248794 w 12191989"/>
              <a:gd name="connsiteY132" fmla="*/ 530087 h 6857994"/>
              <a:gd name="connsiteX133" fmla="*/ 10260935 w 12191989"/>
              <a:gd name="connsiteY133" fmla="*/ 513318 h 6857994"/>
              <a:gd name="connsiteX134" fmla="*/ 10257615 w 12191989"/>
              <a:gd name="connsiteY134" fmla="*/ 504933 h 6857994"/>
              <a:gd name="connsiteX135" fmla="*/ 10248882 w 12191989"/>
              <a:gd name="connsiteY135" fmla="*/ 502226 h 6857994"/>
              <a:gd name="connsiteX136" fmla="*/ 10313162 w 12191989"/>
              <a:gd name="connsiteY136" fmla="*/ 502225 h 6857994"/>
              <a:gd name="connsiteX137" fmla="*/ 10298663 w 12191989"/>
              <a:gd name="connsiteY137" fmla="*/ 510085 h 6857994"/>
              <a:gd name="connsiteX138" fmla="*/ 10288445 w 12191989"/>
              <a:gd name="connsiteY138" fmla="*/ 524322 h 6857994"/>
              <a:gd name="connsiteX139" fmla="*/ 10287310 w 12191989"/>
              <a:gd name="connsiteY139" fmla="*/ 524322 h 6857994"/>
              <a:gd name="connsiteX140" fmla="*/ 10294646 w 12191989"/>
              <a:gd name="connsiteY140" fmla="*/ 502488 h 6857994"/>
              <a:gd name="connsiteX141" fmla="*/ 10277616 w 12191989"/>
              <a:gd name="connsiteY141" fmla="*/ 502488 h 6857994"/>
              <a:gd name="connsiteX142" fmla="*/ 10262943 w 12191989"/>
              <a:gd name="connsiteY142" fmla="*/ 553055 h 6857994"/>
              <a:gd name="connsiteX143" fmla="*/ 10280148 w 12191989"/>
              <a:gd name="connsiteY143" fmla="*/ 553055 h 6857994"/>
              <a:gd name="connsiteX144" fmla="*/ 10284602 w 12191989"/>
              <a:gd name="connsiteY144" fmla="*/ 537597 h 6857994"/>
              <a:gd name="connsiteX145" fmla="*/ 10293598 w 12191989"/>
              <a:gd name="connsiteY145" fmla="*/ 525370 h 6857994"/>
              <a:gd name="connsiteX146" fmla="*/ 10306088 w 12191989"/>
              <a:gd name="connsiteY146" fmla="*/ 517423 h 6857994"/>
              <a:gd name="connsiteX147" fmla="*/ 10311327 w 12191989"/>
              <a:gd name="connsiteY147" fmla="*/ 518558 h 6857994"/>
              <a:gd name="connsiteX148" fmla="*/ 10317179 w 12191989"/>
              <a:gd name="connsiteY148" fmla="*/ 503273 h 6857994"/>
              <a:gd name="connsiteX149" fmla="*/ 10317354 w 12191989"/>
              <a:gd name="connsiteY149" fmla="*/ 503273 h 6857994"/>
              <a:gd name="connsiteX150" fmla="*/ 10313162 w 12191989"/>
              <a:gd name="connsiteY150" fmla="*/ 502225 h 6857994"/>
              <a:gd name="connsiteX151" fmla="*/ 9783810 w 12191989"/>
              <a:gd name="connsiteY151" fmla="*/ 502140 h 6857994"/>
              <a:gd name="connsiteX152" fmla="*/ 9769400 w 12191989"/>
              <a:gd name="connsiteY152" fmla="*/ 510000 h 6857994"/>
              <a:gd name="connsiteX153" fmla="*/ 9759181 w 12191989"/>
              <a:gd name="connsiteY153" fmla="*/ 524236 h 6857994"/>
              <a:gd name="connsiteX154" fmla="*/ 9758133 w 12191989"/>
              <a:gd name="connsiteY154" fmla="*/ 524236 h 6857994"/>
              <a:gd name="connsiteX155" fmla="*/ 9765644 w 12191989"/>
              <a:gd name="connsiteY155" fmla="*/ 502314 h 6857994"/>
              <a:gd name="connsiteX156" fmla="*/ 9748614 w 12191989"/>
              <a:gd name="connsiteY156" fmla="*/ 502314 h 6857994"/>
              <a:gd name="connsiteX157" fmla="*/ 9733766 w 12191989"/>
              <a:gd name="connsiteY157" fmla="*/ 552969 h 6857994"/>
              <a:gd name="connsiteX158" fmla="*/ 9751059 w 12191989"/>
              <a:gd name="connsiteY158" fmla="*/ 552969 h 6857994"/>
              <a:gd name="connsiteX159" fmla="*/ 9755513 w 12191989"/>
              <a:gd name="connsiteY159" fmla="*/ 537424 h 6857994"/>
              <a:gd name="connsiteX160" fmla="*/ 9764509 w 12191989"/>
              <a:gd name="connsiteY160" fmla="*/ 525197 h 6857994"/>
              <a:gd name="connsiteX161" fmla="*/ 9776998 w 12191989"/>
              <a:gd name="connsiteY161" fmla="*/ 517249 h 6857994"/>
              <a:gd name="connsiteX162" fmla="*/ 9782588 w 12191989"/>
              <a:gd name="connsiteY162" fmla="*/ 518384 h 6857994"/>
              <a:gd name="connsiteX163" fmla="*/ 9787479 w 12191989"/>
              <a:gd name="connsiteY163" fmla="*/ 502751 h 6857994"/>
              <a:gd name="connsiteX164" fmla="*/ 9787479 w 12191989"/>
              <a:gd name="connsiteY164" fmla="*/ 502663 h 6857994"/>
              <a:gd name="connsiteX165" fmla="*/ 9783810 w 12191989"/>
              <a:gd name="connsiteY165" fmla="*/ 502140 h 6857994"/>
              <a:gd name="connsiteX166" fmla="*/ 9381535 w 12191989"/>
              <a:gd name="connsiteY166" fmla="*/ 502140 h 6857994"/>
              <a:gd name="connsiteX167" fmla="*/ 9369657 w 12191989"/>
              <a:gd name="connsiteY167" fmla="*/ 502227 h 6857994"/>
              <a:gd name="connsiteX168" fmla="*/ 9356906 w 12191989"/>
              <a:gd name="connsiteY168" fmla="*/ 502402 h 6857994"/>
              <a:gd name="connsiteX169" fmla="*/ 9333237 w 12191989"/>
              <a:gd name="connsiteY169" fmla="*/ 515677 h 6857994"/>
              <a:gd name="connsiteX170" fmla="*/ 9321097 w 12191989"/>
              <a:gd name="connsiteY170" fmla="*/ 541092 h 6857994"/>
              <a:gd name="connsiteX171" fmla="*/ 9323193 w 12191989"/>
              <a:gd name="connsiteY171" fmla="*/ 550088 h 6857994"/>
              <a:gd name="connsiteX172" fmla="*/ 9330879 w 12191989"/>
              <a:gd name="connsiteY172" fmla="*/ 554106 h 6857994"/>
              <a:gd name="connsiteX173" fmla="*/ 9345290 w 12191989"/>
              <a:gd name="connsiteY173" fmla="*/ 546245 h 6857994"/>
              <a:gd name="connsiteX174" fmla="*/ 9355509 w 12191989"/>
              <a:gd name="connsiteY174" fmla="*/ 532009 h 6857994"/>
              <a:gd name="connsiteX175" fmla="*/ 9356644 w 12191989"/>
              <a:gd name="connsiteY175" fmla="*/ 532009 h 6857994"/>
              <a:gd name="connsiteX176" fmla="*/ 9349570 w 12191989"/>
              <a:gd name="connsiteY176" fmla="*/ 552970 h 6857994"/>
              <a:gd name="connsiteX177" fmla="*/ 9366688 w 12191989"/>
              <a:gd name="connsiteY177" fmla="*/ 552970 h 6857994"/>
              <a:gd name="connsiteX178" fmla="*/ 9381535 w 12191989"/>
              <a:gd name="connsiteY178" fmla="*/ 502140 h 6857994"/>
              <a:gd name="connsiteX179" fmla="*/ 9713853 w 12191989"/>
              <a:gd name="connsiteY179" fmla="*/ 502139 h 6857994"/>
              <a:gd name="connsiteX180" fmla="*/ 9688700 w 12191989"/>
              <a:gd name="connsiteY180" fmla="*/ 512707 h 6857994"/>
              <a:gd name="connsiteX181" fmla="*/ 9676036 w 12191989"/>
              <a:gd name="connsiteY181" fmla="*/ 537424 h 6857994"/>
              <a:gd name="connsiteX182" fmla="*/ 9681189 w 12191989"/>
              <a:gd name="connsiteY182" fmla="*/ 550087 h 6857994"/>
              <a:gd name="connsiteX183" fmla="*/ 9694726 w 12191989"/>
              <a:gd name="connsiteY183" fmla="*/ 554017 h 6857994"/>
              <a:gd name="connsiteX184" fmla="*/ 9719792 w 12191989"/>
              <a:gd name="connsiteY184" fmla="*/ 543187 h 6857994"/>
              <a:gd name="connsiteX185" fmla="*/ 9732543 w 12191989"/>
              <a:gd name="connsiteY185" fmla="*/ 518472 h 6857994"/>
              <a:gd name="connsiteX186" fmla="*/ 9727390 w 12191989"/>
              <a:gd name="connsiteY186" fmla="*/ 505982 h 6857994"/>
              <a:gd name="connsiteX187" fmla="*/ 9727390 w 12191989"/>
              <a:gd name="connsiteY187" fmla="*/ 506069 h 6857994"/>
              <a:gd name="connsiteX188" fmla="*/ 9713853 w 12191989"/>
              <a:gd name="connsiteY188" fmla="*/ 502139 h 6857994"/>
              <a:gd name="connsiteX189" fmla="*/ 9429744 w 12191989"/>
              <a:gd name="connsiteY189" fmla="*/ 502050 h 6857994"/>
              <a:gd name="connsiteX190" fmla="*/ 9415246 w 12191989"/>
              <a:gd name="connsiteY190" fmla="*/ 509911 h 6857994"/>
              <a:gd name="connsiteX191" fmla="*/ 9405027 w 12191989"/>
              <a:gd name="connsiteY191" fmla="*/ 524146 h 6857994"/>
              <a:gd name="connsiteX192" fmla="*/ 9403892 w 12191989"/>
              <a:gd name="connsiteY192" fmla="*/ 524146 h 6857994"/>
              <a:gd name="connsiteX193" fmla="*/ 9411316 w 12191989"/>
              <a:gd name="connsiteY193" fmla="*/ 502137 h 6857994"/>
              <a:gd name="connsiteX194" fmla="*/ 9394198 w 12191989"/>
              <a:gd name="connsiteY194" fmla="*/ 502137 h 6857994"/>
              <a:gd name="connsiteX195" fmla="*/ 9379438 w 12191989"/>
              <a:gd name="connsiteY195" fmla="*/ 552881 h 6857994"/>
              <a:gd name="connsiteX196" fmla="*/ 9396643 w 12191989"/>
              <a:gd name="connsiteY196" fmla="*/ 552881 h 6857994"/>
              <a:gd name="connsiteX197" fmla="*/ 9401185 w 12191989"/>
              <a:gd name="connsiteY197" fmla="*/ 537422 h 6857994"/>
              <a:gd name="connsiteX198" fmla="*/ 9408783 w 12191989"/>
              <a:gd name="connsiteY198" fmla="*/ 526854 h 6857994"/>
              <a:gd name="connsiteX199" fmla="*/ 9418390 w 12191989"/>
              <a:gd name="connsiteY199" fmla="*/ 517684 h 6857994"/>
              <a:gd name="connsiteX200" fmla="*/ 9419176 w 12191989"/>
              <a:gd name="connsiteY200" fmla="*/ 519081 h 6857994"/>
              <a:gd name="connsiteX201" fmla="*/ 9409482 w 12191989"/>
              <a:gd name="connsiteY201" fmla="*/ 552968 h 6857994"/>
              <a:gd name="connsiteX202" fmla="*/ 9426600 w 12191989"/>
              <a:gd name="connsiteY202" fmla="*/ 552968 h 6857994"/>
              <a:gd name="connsiteX203" fmla="*/ 9426862 w 12191989"/>
              <a:gd name="connsiteY203" fmla="*/ 552881 h 6857994"/>
              <a:gd name="connsiteX204" fmla="*/ 9437605 w 12191989"/>
              <a:gd name="connsiteY204" fmla="*/ 515063 h 6857994"/>
              <a:gd name="connsiteX205" fmla="*/ 9436557 w 12191989"/>
              <a:gd name="connsiteY205" fmla="*/ 504932 h 6857994"/>
              <a:gd name="connsiteX206" fmla="*/ 9429744 w 12191989"/>
              <a:gd name="connsiteY206" fmla="*/ 502050 h 6857994"/>
              <a:gd name="connsiteX207" fmla="*/ 9589485 w 12191989"/>
              <a:gd name="connsiteY207" fmla="*/ 501965 h 6857994"/>
              <a:gd name="connsiteX208" fmla="*/ 9574550 w 12191989"/>
              <a:gd name="connsiteY208" fmla="*/ 505022 h 6857994"/>
              <a:gd name="connsiteX209" fmla="*/ 9565816 w 12191989"/>
              <a:gd name="connsiteY209" fmla="*/ 517249 h 6857994"/>
              <a:gd name="connsiteX210" fmla="*/ 9568611 w 12191989"/>
              <a:gd name="connsiteY210" fmla="*/ 526157 h 6857994"/>
              <a:gd name="connsiteX211" fmla="*/ 9574637 w 12191989"/>
              <a:gd name="connsiteY211" fmla="*/ 532794 h 6857994"/>
              <a:gd name="connsiteX212" fmla="*/ 9577607 w 12191989"/>
              <a:gd name="connsiteY212" fmla="*/ 539258 h 6857994"/>
              <a:gd name="connsiteX213" fmla="*/ 9575685 w 12191989"/>
              <a:gd name="connsiteY213" fmla="*/ 542576 h 6857994"/>
              <a:gd name="connsiteX214" fmla="*/ 9571842 w 12191989"/>
              <a:gd name="connsiteY214" fmla="*/ 543973 h 6857994"/>
              <a:gd name="connsiteX215" fmla="*/ 9556907 w 12191989"/>
              <a:gd name="connsiteY215" fmla="*/ 539520 h 6857994"/>
              <a:gd name="connsiteX216" fmla="*/ 9553589 w 12191989"/>
              <a:gd name="connsiteY216" fmla="*/ 551223 h 6857994"/>
              <a:gd name="connsiteX217" fmla="*/ 9570881 w 12191989"/>
              <a:gd name="connsiteY217" fmla="*/ 553930 h 6857994"/>
              <a:gd name="connsiteX218" fmla="*/ 9586340 w 12191989"/>
              <a:gd name="connsiteY218" fmla="*/ 550437 h 6857994"/>
              <a:gd name="connsiteX219" fmla="*/ 9594986 w 12191989"/>
              <a:gd name="connsiteY219" fmla="*/ 537423 h 6857994"/>
              <a:gd name="connsiteX220" fmla="*/ 9592017 w 12191989"/>
              <a:gd name="connsiteY220" fmla="*/ 528428 h 6857994"/>
              <a:gd name="connsiteX221" fmla="*/ 9585379 w 12191989"/>
              <a:gd name="connsiteY221" fmla="*/ 522053 h 6857994"/>
              <a:gd name="connsiteX222" fmla="*/ 9582148 w 12191989"/>
              <a:gd name="connsiteY222" fmla="*/ 516463 h 6857994"/>
              <a:gd name="connsiteX223" fmla="*/ 9589309 w 12191989"/>
              <a:gd name="connsiteY223" fmla="*/ 512009 h 6857994"/>
              <a:gd name="connsiteX224" fmla="*/ 9599965 w 12191989"/>
              <a:gd name="connsiteY224" fmla="*/ 514017 h 6857994"/>
              <a:gd name="connsiteX225" fmla="*/ 9603021 w 12191989"/>
              <a:gd name="connsiteY225" fmla="*/ 503449 h 6857994"/>
              <a:gd name="connsiteX226" fmla="*/ 9602847 w 12191989"/>
              <a:gd name="connsiteY226" fmla="*/ 503449 h 6857994"/>
              <a:gd name="connsiteX227" fmla="*/ 9589485 w 12191989"/>
              <a:gd name="connsiteY227" fmla="*/ 501965 h 6857994"/>
              <a:gd name="connsiteX228" fmla="*/ 9849577 w 12191989"/>
              <a:gd name="connsiteY228" fmla="*/ 492969 h 6857994"/>
              <a:gd name="connsiteX229" fmla="*/ 9831672 w 12191989"/>
              <a:gd name="connsiteY229" fmla="*/ 495415 h 6857994"/>
              <a:gd name="connsiteX230" fmla="*/ 9821629 w 12191989"/>
              <a:gd name="connsiteY230" fmla="*/ 528078 h 6857994"/>
              <a:gd name="connsiteX231" fmla="*/ 9818135 w 12191989"/>
              <a:gd name="connsiteY231" fmla="*/ 543538 h 6857994"/>
              <a:gd name="connsiteX232" fmla="*/ 9821191 w 12191989"/>
              <a:gd name="connsiteY232" fmla="*/ 551660 h 6857994"/>
              <a:gd name="connsiteX233" fmla="*/ 9829838 w 12191989"/>
              <a:gd name="connsiteY233" fmla="*/ 554105 h 6857994"/>
              <a:gd name="connsiteX234" fmla="*/ 9842677 w 12191989"/>
              <a:gd name="connsiteY234" fmla="*/ 551922 h 6857994"/>
              <a:gd name="connsiteX235" fmla="*/ 9845821 w 12191989"/>
              <a:gd name="connsiteY235" fmla="*/ 541092 h 6857994"/>
              <a:gd name="connsiteX236" fmla="*/ 9840318 w 12191989"/>
              <a:gd name="connsiteY236" fmla="*/ 543100 h 6857994"/>
              <a:gd name="connsiteX237" fmla="*/ 9836912 w 12191989"/>
              <a:gd name="connsiteY237" fmla="*/ 538297 h 6857994"/>
              <a:gd name="connsiteX238" fmla="*/ 9839707 w 12191989"/>
              <a:gd name="connsiteY238" fmla="*/ 525546 h 6857994"/>
              <a:gd name="connsiteX239" fmla="*/ 9843725 w 12191989"/>
              <a:gd name="connsiteY239" fmla="*/ 513144 h 6857994"/>
              <a:gd name="connsiteX240" fmla="*/ 9852022 w 12191989"/>
              <a:gd name="connsiteY240" fmla="*/ 513144 h 6857994"/>
              <a:gd name="connsiteX241" fmla="*/ 9854904 w 12191989"/>
              <a:gd name="connsiteY241" fmla="*/ 503274 h 6857994"/>
              <a:gd name="connsiteX242" fmla="*/ 9854817 w 12191989"/>
              <a:gd name="connsiteY242" fmla="*/ 503274 h 6857994"/>
              <a:gd name="connsiteX243" fmla="*/ 9846520 w 12191989"/>
              <a:gd name="connsiteY243" fmla="*/ 503274 h 6857994"/>
              <a:gd name="connsiteX244" fmla="*/ 10170191 w 12191989"/>
              <a:gd name="connsiteY244" fmla="*/ 492969 h 6857994"/>
              <a:gd name="connsiteX245" fmla="*/ 10152286 w 12191989"/>
              <a:gd name="connsiteY245" fmla="*/ 495414 h 6857994"/>
              <a:gd name="connsiteX246" fmla="*/ 10142330 w 12191989"/>
              <a:gd name="connsiteY246" fmla="*/ 528078 h 6857994"/>
              <a:gd name="connsiteX247" fmla="*/ 10138749 w 12191989"/>
              <a:gd name="connsiteY247" fmla="*/ 543537 h 6857994"/>
              <a:gd name="connsiteX248" fmla="*/ 10141805 w 12191989"/>
              <a:gd name="connsiteY248" fmla="*/ 551659 h 6857994"/>
              <a:gd name="connsiteX249" fmla="*/ 10150365 w 12191989"/>
              <a:gd name="connsiteY249" fmla="*/ 554105 h 6857994"/>
              <a:gd name="connsiteX250" fmla="*/ 10163378 w 12191989"/>
              <a:gd name="connsiteY250" fmla="*/ 551922 h 6857994"/>
              <a:gd name="connsiteX251" fmla="*/ 10166522 w 12191989"/>
              <a:gd name="connsiteY251" fmla="*/ 541092 h 6857994"/>
              <a:gd name="connsiteX252" fmla="*/ 10161019 w 12191989"/>
              <a:gd name="connsiteY252" fmla="*/ 543100 h 6857994"/>
              <a:gd name="connsiteX253" fmla="*/ 10157526 w 12191989"/>
              <a:gd name="connsiteY253" fmla="*/ 538297 h 6857994"/>
              <a:gd name="connsiteX254" fmla="*/ 10160409 w 12191989"/>
              <a:gd name="connsiteY254" fmla="*/ 525545 h 6857994"/>
              <a:gd name="connsiteX255" fmla="*/ 10164426 w 12191989"/>
              <a:gd name="connsiteY255" fmla="*/ 512270 h 6857994"/>
              <a:gd name="connsiteX256" fmla="*/ 10172723 w 12191989"/>
              <a:gd name="connsiteY256" fmla="*/ 512270 h 6857994"/>
              <a:gd name="connsiteX257" fmla="*/ 10175605 w 12191989"/>
              <a:gd name="connsiteY257" fmla="*/ 502401 h 6857994"/>
              <a:gd name="connsiteX258" fmla="*/ 10167308 w 12191989"/>
              <a:gd name="connsiteY258" fmla="*/ 502401 h 6857994"/>
              <a:gd name="connsiteX259" fmla="*/ 10206872 w 12191989"/>
              <a:gd name="connsiteY259" fmla="*/ 492969 h 6857994"/>
              <a:gd name="connsiteX260" fmla="*/ 10188706 w 12191989"/>
              <a:gd name="connsiteY260" fmla="*/ 495414 h 6857994"/>
              <a:gd name="connsiteX261" fmla="*/ 10178662 w 12191989"/>
              <a:gd name="connsiteY261" fmla="*/ 528078 h 6857994"/>
              <a:gd name="connsiteX262" fmla="*/ 10175169 w 12191989"/>
              <a:gd name="connsiteY262" fmla="*/ 543537 h 6857994"/>
              <a:gd name="connsiteX263" fmla="*/ 10178138 w 12191989"/>
              <a:gd name="connsiteY263" fmla="*/ 551659 h 6857994"/>
              <a:gd name="connsiteX264" fmla="*/ 10186784 w 12191989"/>
              <a:gd name="connsiteY264" fmla="*/ 554105 h 6857994"/>
              <a:gd name="connsiteX265" fmla="*/ 10200059 w 12191989"/>
              <a:gd name="connsiteY265" fmla="*/ 551922 h 6857994"/>
              <a:gd name="connsiteX266" fmla="*/ 10203204 w 12191989"/>
              <a:gd name="connsiteY266" fmla="*/ 541092 h 6857994"/>
              <a:gd name="connsiteX267" fmla="*/ 10197614 w 12191989"/>
              <a:gd name="connsiteY267" fmla="*/ 543100 h 6857994"/>
              <a:gd name="connsiteX268" fmla="*/ 10193946 w 12191989"/>
              <a:gd name="connsiteY268" fmla="*/ 538297 h 6857994"/>
              <a:gd name="connsiteX269" fmla="*/ 10196915 w 12191989"/>
              <a:gd name="connsiteY269" fmla="*/ 525545 h 6857994"/>
              <a:gd name="connsiteX270" fmla="*/ 10201370 w 12191989"/>
              <a:gd name="connsiteY270" fmla="*/ 512270 h 6857994"/>
              <a:gd name="connsiteX271" fmla="*/ 10209579 w 12191989"/>
              <a:gd name="connsiteY271" fmla="*/ 512270 h 6857994"/>
              <a:gd name="connsiteX272" fmla="*/ 10212549 w 12191989"/>
              <a:gd name="connsiteY272" fmla="*/ 502401 h 6857994"/>
              <a:gd name="connsiteX273" fmla="*/ 10212462 w 12191989"/>
              <a:gd name="connsiteY273" fmla="*/ 502401 h 6857994"/>
              <a:gd name="connsiteX274" fmla="*/ 10204077 w 12191989"/>
              <a:gd name="connsiteY274" fmla="*/ 502401 h 6857994"/>
              <a:gd name="connsiteX275" fmla="*/ 9280048 w 12191989"/>
              <a:gd name="connsiteY275" fmla="*/ 482137 h 6857994"/>
              <a:gd name="connsiteX276" fmla="*/ 9259524 w 12191989"/>
              <a:gd name="connsiteY276" fmla="*/ 553055 h 6857994"/>
              <a:gd name="connsiteX277" fmla="*/ 9276729 w 12191989"/>
              <a:gd name="connsiteY277" fmla="*/ 553055 h 6857994"/>
              <a:gd name="connsiteX278" fmla="*/ 9281271 w 12191989"/>
              <a:gd name="connsiteY278" fmla="*/ 537509 h 6857994"/>
              <a:gd name="connsiteX279" fmla="*/ 9288956 w 12191989"/>
              <a:gd name="connsiteY279" fmla="*/ 526941 h 6857994"/>
              <a:gd name="connsiteX280" fmla="*/ 9298564 w 12191989"/>
              <a:gd name="connsiteY280" fmla="*/ 517771 h 6857994"/>
              <a:gd name="connsiteX281" fmla="*/ 9299350 w 12191989"/>
              <a:gd name="connsiteY281" fmla="*/ 519168 h 6857994"/>
              <a:gd name="connsiteX282" fmla="*/ 9289655 w 12191989"/>
              <a:gd name="connsiteY282" fmla="*/ 552968 h 6857994"/>
              <a:gd name="connsiteX283" fmla="*/ 9289830 w 12191989"/>
              <a:gd name="connsiteY283" fmla="*/ 552968 h 6857994"/>
              <a:gd name="connsiteX284" fmla="*/ 9306861 w 12191989"/>
              <a:gd name="connsiteY284" fmla="*/ 552968 h 6857994"/>
              <a:gd name="connsiteX285" fmla="*/ 9317603 w 12191989"/>
              <a:gd name="connsiteY285" fmla="*/ 515238 h 6857994"/>
              <a:gd name="connsiteX286" fmla="*/ 9316468 w 12191989"/>
              <a:gd name="connsiteY286" fmla="*/ 505107 h 6857994"/>
              <a:gd name="connsiteX287" fmla="*/ 9309656 w 12191989"/>
              <a:gd name="connsiteY287" fmla="*/ 502225 h 6857994"/>
              <a:gd name="connsiteX288" fmla="*/ 9295158 w 12191989"/>
              <a:gd name="connsiteY288" fmla="*/ 510085 h 6857994"/>
              <a:gd name="connsiteX289" fmla="*/ 9284939 w 12191989"/>
              <a:gd name="connsiteY289" fmla="*/ 524321 h 6857994"/>
              <a:gd name="connsiteX290" fmla="*/ 9283804 w 12191989"/>
              <a:gd name="connsiteY290" fmla="*/ 524321 h 6857994"/>
              <a:gd name="connsiteX291" fmla="*/ 9297079 w 12191989"/>
              <a:gd name="connsiteY291" fmla="*/ 482137 h 6857994"/>
              <a:gd name="connsiteX292" fmla="*/ 9874467 w 12191989"/>
              <a:gd name="connsiteY292" fmla="*/ 481963 h 6857994"/>
              <a:gd name="connsiteX293" fmla="*/ 9853943 w 12191989"/>
              <a:gd name="connsiteY293" fmla="*/ 552881 h 6857994"/>
              <a:gd name="connsiteX294" fmla="*/ 9871236 w 12191989"/>
              <a:gd name="connsiteY294" fmla="*/ 552881 h 6857994"/>
              <a:gd name="connsiteX295" fmla="*/ 9875690 w 12191989"/>
              <a:gd name="connsiteY295" fmla="*/ 537423 h 6857994"/>
              <a:gd name="connsiteX296" fmla="*/ 9883288 w 12191989"/>
              <a:gd name="connsiteY296" fmla="*/ 526854 h 6857994"/>
              <a:gd name="connsiteX297" fmla="*/ 9892983 w 12191989"/>
              <a:gd name="connsiteY297" fmla="*/ 517684 h 6857994"/>
              <a:gd name="connsiteX298" fmla="*/ 9893769 w 12191989"/>
              <a:gd name="connsiteY298" fmla="*/ 519081 h 6857994"/>
              <a:gd name="connsiteX299" fmla="*/ 9885441 w 12191989"/>
              <a:gd name="connsiteY299" fmla="*/ 548423 h 6857994"/>
              <a:gd name="connsiteX300" fmla="*/ 9884100 w 12191989"/>
              <a:gd name="connsiteY300" fmla="*/ 552881 h 6857994"/>
              <a:gd name="connsiteX301" fmla="*/ 9884074 w 12191989"/>
              <a:gd name="connsiteY301" fmla="*/ 552881 h 6857994"/>
              <a:gd name="connsiteX302" fmla="*/ 9884074 w 12191989"/>
              <a:gd name="connsiteY302" fmla="*/ 552968 h 6857994"/>
              <a:gd name="connsiteX303" fmla="*/ 9884100 w 12191989"/>
              <a:gd name="connsiteY303" fmla="*/ 552881 h 6857994"/>
              <a:gd name="connsiteX304" fmla="*/ 9901192 w 12191989"/>
              <a:gd name="connsiteY304" fmla="*/ 552881 h 6857994"/>
              <a:gd name="connsiteX305" fmla="*/ 9911935 w 12191989"/>
              <a:gd name="connsiteY305" fmla="*/ 515151 h 6857994"/>
              <a:gd name="connsiteX306" fmla="*/ 9910887 w 12191989"/>
              <a:gd name="connsiteY306" fmla="*/ 505020 h 6857994"/>
              <a:gd name="connsiteX307" fmla="*/ 9904075 w 12191989"/>
              <a:gd name="connsiteY307" fmla="*/ 502138 h 6857994"/>
              <a:gd name="connsiteX308" fmla="*/ 9889576 w 12191989"/>
              <a:gd name="connsiteY308" fmla="*/ 509911 h 6857994"/>
              <a:gd name="connsiteX309" fmla="*/ 9879358 w 12191989"/>
              <a:gd name="connsiteY309" fmla="*/ 524147 h 6857994"/>
              <a:gd name="connsiteX310" fmla="*/ 9878222 w 12191989"/>
              <a:gd name="connsiteY310" fmla="*/ 524147 h 6857994"/>
              <a:gd name="connsiteX311" fmla="*/ 9891498 w 12191989"/>
              <a:gd name="connsiteY311" fmla="*/ 481963 h 6857994"/>
              <a:gd name="connsiteX312" fmla="*/ 9677871 w 12191989"/>
              <a:gd name="connsiteY312" fmla="*/ 481003 h 6857994"/>
              <a:gd name="connsiteX313" fmla="*/ 9659879 w 12191989"/>
              <a:gd name="connsiteY313" fmla="*/ 487029 h 6857994"/>
              <a:gd name="connsiteX314" fmla="*/ 9648875 w 12191989"/>
              <a:gd name="connsiteY314" fmla="*/ 503187 h 6857994"/>
              <a:gd name="connsiteX315" fmla="*/ 9631145 w 12191989"/>
              <a:gd name="connsiteY315" fmla="*/ 564235 h 6857994"/>
              <a:gd name="connsiteX316" fmla="*/ 9648438 w 12191989"/>
              <a:gd name="connsiteY316" fmla="*/ 564235 h 6857994"/>
              <a:gd name="connsiteX317" fmla="*/ 9663285 w 12191989"/>
              <a:gd name="connsiteY317" fmla="*/ 513143 h 6857994"/>
              <a:gd name="connsiteX318" fmla="*/ 9675775 w 12191989"/>
              <a:gd name="connsiteY318" fmla="*/ 513143 h 6857994"/>
              <a:gd name="connsiteX319" fmla="*/ 9678744 w 12191989"/>
              <a:gd name="connsiteY319" fmla="*/ 503187 h 6857994"/>
              <a:gd name="connsiteX320" fmla="*/ 9665993 w 12191989"/>
              <a:gd name="connsiteY320" fmla="*/ 503187 h 6857994"/>
              <a:gd name="connsiteX321" fmla="*/ 9668875 w 12191989"/>
              <a:gd name="connsiteY321" fmla="*/ 494715 h 6857994"/>
              <a:gd name="connsiteX322" fmla="*/ 9676211 w 12191989"/>
              <a:gd name="connsiteY322" fmla="*/ 490959 h 6857994"/>
              <a:gd name="connsiteX323" fmla="*/ 9687041 w 12191989"/>
              <a:gd name="connsiteY323" fmla="*/ 493842 h 6857994"/>
              <a:gd name="connsiteX324" fmla="*/ 9690011 w 12191989"/>
              <a:gd name="connsiteY324" fmla="*/ 483275 h 6857994"/>
              <a:gd name="connsiteX325" fmla="*/ 9690098 w 12191989"/>
              <a:gd name="connsiteY325" fmla="*/ 483187 h 6857994"/>
              <a:gd name="connsiteX326" fmla="*/ 9677871 w 12191989"/>
              <a:gd name="connsiteY326" fmla="*/ 481003 h 6857994"/>
              <a:gd name="connsiteX327" fmla="*/ 10052286 w 12191989"/>
              <a:gd name="connsiteY327" fmla="*/ 480392 h 6857994"/>
              <a:gd name="connsiteX328" fmla="*/ 10063640 w 12191989"/>
              <a:gd name="connsiteY328" fmla="*/ 487466 h 6857994"/>
              <a:gd name="connsiteX329" fmla="*/ 10046435 w 12191989"/>
              <a:gd name="connsiteY329" fmla="*/ 503711 h 6857994"/>
              <a:gd name="connsiteX330" fmla="*/ 10039360 w 12191989"/>
              <a:gd name="connsiteY330" fmla="*/ 503711 h 6857994"/>
              <a:gd name="connsiteX331" fmla="*/ 10046260 w 12191989"/>
              <a:gd name="connsiteY331" fmla="*/ 481264 h 6857994"/>
              <a:gd name="connsiteX332" fmla="*/ 10052286 w 12191989"/>
              <a:gd name="connsiteY332" fmla="*/ 480392 h 6857994"/>
              <a:gd name="connsiteX333" fmla="*/ 10027919 w 12191989"/>
              <a:gd name="connsiteY333" fmla="*/ 469299 h 6857994"/>
              <a:gd name="connsiteX334" fmla="*/ 10003028 w 12191989"/>
              <a:gd name="connsiteY334" fmla="*/ 553754 h 6857994"/>
              <a:gd name="connsiteX335" fmla="*/ 10003202 w 12191989"/>
              <a:gd name="connsiteY335" fmla="*/ 553754 h 6857994"/>
              <a:gd name="connsiteX336" fmla="*/ 10044775 w 12191989"/>
              <a:gd name="connsiteY336" fmla="*/ 553754 h 6857994"/>
              <a:gd name="connsiteX337" fmla="*/ 10075518 w 12191989"/>
              <a:gd name="connsiteY337" fmla="*/ 529824 h 6857994"/>
              <a:gd name="connsiteX338" fmla="*/ 10057789 w 12191989"/>
              <a:gd name="connsiteY338" fmla="*/ 510260 h 6857994"/>
              <a:gd name="connsiteX339" fmla="*/ 10057789 w 12191989"/>
              <a:gd name="connsiteY339" fmla="*/ 509999 h 6857994"/>
              <a:gd name="connsiteX340" fmla="*/ 10084164 w 12191989"/>
              <a:gd name="connsiteY340" fmla="*/ 485457 h 6857994"/>
              <a:gd name="connsiteX341" fmla="*/ 10054906 w 12191989"/>
              <a:gd name="connsiteY341" fmla="*/ 469299 h 6857994"/>
              <a:gd name="connsiteX342" fmla="*/ 9243891 w 12191989"/>
              <a:gd name="connsiteY342" fmla="*/ 469038 h 6857994"/>
              <a:gd name="connsiteX343" fmla="*/ 9177078 w 12191989"/>
              <a:gd name="connsiteY343" fmla="*/ 525719 h 6857994"/>
              <a:gd name="connsiteX344" fmla="*/ 9177165 w 12191989"/>
              <a:gd name="connsiteY344" fmla="*/ 525719 h 6857994"/>
              <a:gd name="connsiteX345" fmla="*/ 9210440 w 12191989"/>
              <a:gd name="connsiteY345" fmla="*/ 557510 h 6857994"/>
              <a:gd name="connsiteX346" fmla="*/ 9246598 w 12191989"/>
              <a:gd name="connsiteY346" fmla="*/ 552968 h 6857994"/>
              <a:gd name="connsiteX347" fmla="*/ 9250441 w 12191989"/>
              <a:gd name="connsiteY347" fmla="*/ 540480 h 6857994"/>
              <a:gd name="connsiteX348" fmla="*/ 9248519 w 12191989"/>
              <a:gd name="connsiteY348" fmla="*/ 541003 h 6857994"/>
              <a:gd name="connsiteX349" fmla="*/ 9221445 w 12191989"/>
              <a:gd name="connsiteY349" fmla="*/ 546156 h 6857994"/>
              <a:gd name="connsiteX350" fmla="*/ 9200571 w 12191989"/>
              <a:gd name="connsiteY350" fmla="*/ 522924 h 6857994"/>
              <a:gd name="connsiteX351" fmla="*/ 9240746 w 12191989"/>
              <a:gd name="connsiteY351" fmla="*/ 480304 h 6857994"/>
              <a:gd name="connsiteX352" fmla="*/ 9266249 w 12191989"/>
              <a:gd name="connsiteY352" fmla="*/ 485719 h 6857994"/>
              <a:gd name="connsiteX353" fmla="*/ 9270267 w 12191989"/>
              <a:gd name="connsiteY353" fmla="*/ 472269 h 6857994"/>
              <a:gd name="connsiteX354" fmla="*/ 9243891 w 12191989"/>
              <a:gd name="connsiteY354" fmla="*/ 469038 h 6857994"/>
              <a:gd name="connsiteX355" fmla="*/ 11000594 w 12191989"/>
              <a:gd name="connsiteY355" fmla="*/ 392706 h 6857994"/>
              <a:gd name="connsiteX356" fmla="*/ 11006359 w 12191989"/>
              <a:gd name="connsiteY356" fmla="*/ 392968 h 6857994"/>
              <a:gd name="connsiteX357" fmla="*/ 10989764 w 12191989"/>
              <a:gd name="connsiteY357" fmla="*/ 412707 h 6857994"/>
              <a:gd name="connsiteX358" fmla="*/ 10978934 w 12191989"/>
              <a:gd name="connsiteY358" fmla="*/ 403536 h 6857994"/>
              <a:gd name="connsiteX359" fmla="*/ 11000594 w 12191989"/>
              <a:gd name="connsiteY359" fmla="*/ 392706 h 6857994"/>
              <a:gd name="connsiteX360" fmla="*/ 11259287 w 12191989"/>
              <a:gd name="connsiteY360" fmla="*/ 368252 h 6857994"/>
              <a:gd name="connsiteX361" fmla="*/ 11276318 w 12191989"/>
              <a:gd name="connsiteY361" fmla="*/ 388776 h 6857994"/>
              <a:gd name="connsiteX362" fmla="*/ 11259550 w 12191989"/>
              <a:gd name="connsiteY362" fmla="*/ 409039 h 6857994"/>
              <a:gd name="connsiteX363" fmla="*/ 11243480 w 12191989"/>
              <a:gd name="connsiteY363" fmla="*/ 388776 h 6857994"/>
              <a:gd name="connsiteX364" fmla="*/ 11259287 w 12191989"/>
              <a:gd name="connsiteY364" fmla="*/ 368252 h 6857994"/>
              <a:gd name="connsiteX365" fmla="*/ 11958421 w 12191989"/>
              <a:gd name="connsiteY365" fmla="*/ 368166 h 6857994"/>
              <a:gd name="connsiteX366" fmla="*/ 11975627 w 12191989"/>
              <a:gd name="connsiteY366" fmla="*/ 389737 h 6857994"/>
              <a:gd name="connsiteX367" fmla="*/ 11958858 w 12191989"/>
              <a:gd name="connsiteY367" fmla="*/ 411135 h 6857994"/>
              <a:gd name="connsiteX368" fmla="*/ 11942613 w 12191989"/>
              <a:gd name="connsiteY368" fmla="*/ 389476 h 6857994"/>
              <a:gd name="connsiteX369" fmla="*/ 11958421 w 12191989"/>
              <a:gd name="connsiteY369" fmla="*/ 368166 h 6857994"/>
              <a:gd name="connsiteX370" fmla="*/ 10775787 w 12191989"/>
              <a:gd name="connsiteY370" fmla="*/ 367031 h 6857994"/>
              <a:gd name="connsiteX371" fmla="*/ 10793081 w 12191989"/>
              <a:gd name="connsiteY371" fmla="*/ 389563 h 6857994"/>
              <a:gd name="connsiteX372" fmla="*/ 10775787 w 12191989"/>
              <a:gd name="connsiteY372" fmla="*/ 411922 h 6857994"/>
              <a:gd name="connsiteX373" fmla="*/ 10758582 w 12191989"/>
              <a:gd name="connsiteY373" fmla="*/ 389563 h 6857994"/>
              <a:gd name="connsiteX374" fmla="*/ 10775787 w 12191989"/>
              <a:gd name="connsiteY374" fmla="*/ 367031 h 6857994"/>
              <a:gd name="connsiteX375" fmla="*/ 11778332 w 12191989"/>
              <a:gd name="connsiteY375" fmla="*/ 367030 h 6857994"/>
              <a:gd name="connsiteX376" fmla="*/ 11795625 w 12191989"/>
              <a:gd name="connsiteY376" fmla="*/ 389562 h 6857994"/>
              <a:gd name="connsiteX377" fmla="*/ 11778332 w 12191989"/>
              <a:gd name="connsiteY377" fmla="*/ 411920 h 6857994"/>
              <a:gd name="connsiteX378" fmla="*/ 11761127 w 12191989"/>
              <a:gd name="connsiteY378" fmla="*/ 389562 h 6857994"/>
              <a:gd name="connsiteX379" fmla="*/ 11778332 w 12191989"/>
              <a:gd name="connsiteY379" fmla="*/ 367030 h 6857994"/>
              <a:gd name="connsiteX380" fmla="*/ 11521387 w 12191989"/>
              <a:gd name="connsiteY380" fmla="*/ 366331 h 6857994"/>
              <a:gd name="connsiteX381" fmla="*/ 11535623 w 12191989"/>
              <a:gd name="connsiteY381" fmla="*/ 381965 h 6857994"/>
              <a:gd name="connsiteX382" fmla="*/ 11505492 w 12191989"/>
              <a:gd name="connsiteY382" fmla="*/ 381965 h 6857994"/>
              <a:gd name="connsiteX383" fmla="*/ 11521387 w 12191989"/>
              <a:gd name="connsiteY383" fmla="*/ 366331 h 6857994"/>
              <a:gd name="connsiteX384" fmla="*/ 11096665 w 12191989"/>
              <a:gd name="connsiteY384" fmla="*/ 353232 h 6857994"/>
              <a:gd name="connsiteX385" fmla="*/ 11096665 w 12191989"/>
              <a:gd name="connsiteY385" fmla="*/ 426070 h 6857994"/>
              <a:gd name="connsiteX386" fmla="*/ 11118936 w 12191989"/>
              <a:gd name="connsiteY386" fmla="*/ 426070 h 6857994"/>
              <a:gd name="connsiteX387" fmla="*/ 11118936 w 12191989"/>
              <a:gd name="connsiteY387" fmla="*/ 353232 h 6857994"/>
              <a:gd name="connsiteX388" fmla="*/ 10599977 w 12191989"/>
              <a:gd name="connsiteY388" fmla="*/ 353232 h 6857994"/>
              <a:gd name="connsiteX389" fmla="*/ 10599977 w 12191989"/>
              <a:gd name="connsiteY389" fmla="*/ 400045 h 6857994"/>
              <a:gd name="connsiteX390" fmla="*/ 10625916 w 12191989"/>
              <a:gd name="connsiteY390" fmla="*/ 427905 h 6857994"/>
              <a:gd name="connsiteX391" fmla="*/ 10652117 w 12191989"/>
              <a:gd name="connsiteY391" fmla="*/ 413669 h 6857994"/>
              <a:gd name="connsiteX392" fmla="*/ 10652293 w 12191989"/>
              <a:gd name="connsiteY392" fmla="*/ 413756 h 6857994"/>
              <a:gd name="connsiteX393" fmla="*/ 10652555 w 12191989"/>
              <a:gd name="connsiteY393" fmla="*/ 413756 h 6857994"/>
              <a:gd name="connsiteX394" fmla="*/ 10653078 w 12191989"/>
              <a:gd name="connsiteY394" fmla="*/ 426159 h 6857994"/>
              <a:gd name="connsiteX395" fmla="*/ 10673603 w 12191989"/>
              <a:gd name="connsiteY395" fmla="*/ 426159 h 6857994"/>
              <a:gd name="connsiteX396" fmla="*/ 10672904 w 12191989"/>
              <a:gd name="connsiteY396" fmla="*/ 404586 h 6857994"/>
              <a:gd name="connsiteX397" fmla="*/ 10672904 w 12191989"/>
              <a:gd name="connsiteY397" fmla="*/ 353319 h 6857994"/>
              <a:gd name="connsiteX398" fmla="*/ 10650633 w 12191989"/>
              <a:gd name="connsiteY398" fmla="*/ 353319 h 6857994"/>
              <a:gd name="connsiteX399" fmla="*/ 10650633 w 12191989"/>
              <a:gd name="connsiteY399" fmla="*/ 388778 h 6857994"/>
              <a:gd name="connsiteX400" fmla="*/ 10634563 w 12191989"/>
              <a:gd name="connsiteY400" fmla="*/ 409739 h 6857994"/>
              <a:gd name="connsiteX401" fmla="*/ 10621986 w 12191989"/>
              <a:gd name="connsiteY401" fmla="*/ 392097 h 6857994"/>
              <a:gd name="connsiteX402" fmla="*/ 10621986 w 12191989"/>
              <a:gd name="connsiteY402" fmla="*/ 353232 h 6857994"/>
              <a:gd name="connsiteX403" fmla="*/ 10872995 w 12191989"/>
              <a:gd name="connsiteY403" fmla="*/ 351485 h 6857994"/>
              <a:gd name="connsiteX404" fmla="*/ 10848627 w 12191989"/>
              <a:gd name="connsiteY404" fmla="*/ 365896 h 6857994"/>
              <a:gd name="connsiteX405" fmla="*/ 10848366 w 12191989"/>
              <a:gd name="connsiteY405" fmla="*/ 365896 h 6857994"/>
              <a:gd name="connsiteX406" fmla="*/ 10847928 w 12191989"/>
              <a:gd name="connsiteY406" fmla="*/ 353319 h 6857994"/>
              <a:gd name="connsiteX407" fmla="*/ 10827492 w 12191989"/>
              <a:gd name="connsiteY407" fmla="*/ 353319 h 6857994"/>
              <a:gd name="connsiteX408" fmla="*/ 10828191 w 12191989"/>
              <a:gd name="connsiteY408" fmla="*/ 376376 h 6857994"/>
              <a:gd name="connsiteX409" fmla="*/ 10828191 w 12191989"/>
              <a:gd name="connsiteY409" fmla="*/ 426071 h 6857994"/>
              <a:gd name="connsiteX410" fmla="*/ 10850287 w 12191989"/>
              <a:gd name="connsiteY410" fmla="*/ 426071 h 6857994"/>
              <a:gd name="connsiteX411" fmla="*/ 10850287 w 12191989"/>
              <a:gd name="connsiteY411" fmla="*/ 392097 h 6857994"/>
              <a:gd name="connsiteX412" fmla="*/ 10865048 w 12191989"/>
              <a:gd name="connsiteY412" fmla="*/ 369127 h 6857994"/>
              <a:gd name="connsiteX413" fmla="*/ 10876139 w 12191989"/>
              <a:gd name="connsiteY413" fmla="*/ 390438 h 6857994"/>
              <a:gd name="connsiteX414" fmla="*/ 10876139 w 12191989"/>
              <a:gd name="connsiteY414" fmla="*/ 426071 h 6857994"/>
              <a:gd name="connsiteX415" fmla="*/ 10876314 w 12191989"/>
              <a:gd name="connsiteY415" fmla="*/ 426071 h 6857994"/>
              <a:gd name="connsiteX416" fmla="*/ 10898410 w 12191989"/>
              <a:gd name="connsiteY416" fmla="*/ 426071 h 6857994"/>
              <a:gd name="connsiteX417" fmla="*/ 10898410 w 12191989"/>
              <a:gd name="connsiteY417" fmla="*/ 392447 h 6857994"/>
              <a:gd name="connsiteX418" fmla="*/ 10913170 w 12191989"/>
              <a:gd name="connsiteY418" fmla="*/ 369215 h 6857994"/>
              <a:gd name="connsiteX419" fmla="*/ 10924262 w 12191989"/>
              <a:gd name="connsiteY419" fmla="*/ 388691 h 6857994"/>
              <a:gd name="connsiteX420" fmla="*/ 10924262 w 12191989"/>
              <a:gd name="connsiteY420" fmla="*/ 426159 h 6857994"/>
              <a:gd name="connsiteX421" fmla="*/ 10946358 w 12191989"/>
              <a:gd name="connsiteY421" fmla="*/ 426159 h 6857994"/>
              <a:gd name="connsiteX422" fmla="*/ 10946358 w 12191989"/>
              <a:gd name="connsiteY422" fmla="*/ 383014 h 6857994"/>
              <a:gd name="connsiteX423" fmla="*/ 10921293 w 12191989"/>
              <a:gd name="connsiteY423" fmla="*/ 351485 h 6857994"/>
              <a:gd name="connsiteX424" fmla="*/ 10895528 w 12191989"/>
              <a:gd name="connsiteY424" fmla="*/ 366245 h 6857994"/>
              <a:gd name="connsiteX425" fmla="*/ 10872995 w 12191989"/>
              <a:gd name="connsiteY425" fmla="*/ 351485 h 6857994"/>
              <a:gd name="connsiteX426" fmla="*/ 10776225 w 12191989"/>
              <a:gd name="connsiteY426" fmla="*/ 351398 h 6857994"/>
              <a:gd name="connsiteX427" fmla="*/ 10735525 w 12191989"/>
              <a:gd name="connsiteY427" fmla="*/ 389826 h 6857994"/>
              <a:gd name="connsiteX428" fmla="*/ 10775787 w 12191989"/>
              <a:gd name="connsiteY428" fmla="*/ 427905 h 6857994"/>
              <a:gd name="connsiteX429" fmla="*/ 10816051 w 12191989"/>
              <a:gd name="connsiteY429" fmla="*/ 389826 h 6857994"/>
              <a:gd name="connsiteX430" fmla="*/ 10776225 w 12191989"/>
              <a:gd name="connsiteY430" fmla="*/ 351398 h 6857994"/>
              <a:gd name="connsiteX431" fmla="*/ 11869163 w 12191989"/>
              <a:gd name="connsiteY431" fmla="*/ 351397 h 6857994"/>
              <a:gd name="connsiteX432" fmla="*/ 11829163 w 12191989"/>
              <a:gd name="connsiteY432" fmla="*/ 379083 h 6857994"/>
              <a:gd name="connsiteX433" fmla="*/ 11829163 w 12191989"/>
              <a:gd name="connsiteY433" fmla="*/ 426071 h 6857994"/>
              <a:gd name="connsiteX434" fmla="*/ 11850560 w 12191989"/>
              <a:gd name="connsiteY434" fmla="*/ 426071 h 6857994"/>
              <a:gd name="connsiteX435" fmla="*/ 11850560 w 12191989"/>
              <a:gd name="connsiteY435" fmla="*/ 389214 h 6857994"/>
              <a:gd name="connsiteX436" fmla="*/ 11868203 w 12191989"/>
              <a:gd name="connsiteY436" fmla="*/ 369388 h 6857994"/>
              <a:gd name="connsiteX437" fmla="*/ 11875277 w 12191989"/>
              <a:gd name="connsiteY437" fmla="*/ 369388 h 6857994"/>
              <a:gd name="connsiteX438" fmla="*/ 11875277 w 12191989"/>
              <a:gd name="connsiteY438" fmla="*/ 351397 h 6857994"/>
              <a:gd name="connsiteX439" fmla="*/ 11778769 w 12191989"/>
              <a:gd name="connsiteY439" fmla="*/ 351396 h 6857994"/>
              <a:gd name="connsiteX440" fmla="*/ 11738070 w 12191989"/>
              <a:gd name="connsiteY440" fmla="*/ 389825 h 6857994"/>
              <a:gd name="connsiteX441" fmla="*/ 11778332 w 12191989"/>
              <a:gd name="connsiteY441" fmla="*/ 427903 h 6857994"/>
              <a:gd name="connsiteX442" fmla="*/ 11818595 w 12191989"/>
              <a:gd name="connsiteY442" fmla="*/ 389825 h 6857994"/>
              <a:gd name="connsiteX443" fmla="*/ 11778769 w 12191989"/>
              <a:gd name="connsiteY443" fmla="*/ 351396 h 6857994"/>
              <a:gd name="connsiteX444" fmla="*/ 11181557 w 12191989"/>
              <a:gd name="connsiteY444" fmla="*/ 351396 h 6857994"/>
              <a:gd name="connsiteX445" fmla="*/ 11156578 w 12191989"/>
              <a:gd name="connsiteY445" fmla="*/ 365632 h 6857994"/>
              <a:gd name="connsiteX446" fmla="*/ 11156491 w 12191989"/>
              <a:gd name="connsiteY446" fmla="*/ 365720 h 6857994"/>
              <a:gd name="connsiteX447" fmla="*/ 11156228 w 12191989"/>
              <a:gd name="connsiteY447" fmla="*/ 365720 h 6857994"/>
              <a:gd name="connsiteX448" fmla="*/ 11155705 w 12191989"/>
              <a:gd name="connsiteY448" fmla="*/ 353318 h 6857994"/>
              <a:gd name="connsiteX449" fmla="*/ 11134831 w 12191989"/>
              <a:gd name="connsiteY449" fmla="*/ 353318 h 6857994"/>
              <a:gd name="connsiteX450" fmla="*/ 11135530 w 12191989"/>
              <a:gd name="connsiteY450" fmla="*/ 376462 h 6857994"/>
              <a:gd name="connsiteX451" fmla="*/ 11135530 w 12191989"/>
              <a:gd name="connsiteY451" fmla="*/ 426157 h 6857994"/>
              <a:gd name="connsiteX452" fmla="*/ 11157539 w 12191989"/>
              <a:gd name="connsiteY452" fmla="*/ 426157 h 6857994"/>
              <a:gd name="connsiteX453" fmla="*/ 11157539 w 12191989"/>
              <a:gd name="connsiteY453" fmla="*/ 394017 h 6857994"/>
              <a:gd name="connsiteX454" fmla="*/ 11160509 w 12191989"/>
              <a:gd name="connsiteY454" fmla="*/ 377685 h 6857994"/>
              <a:gd name="connsiteX455" fmla="*/ 11174308 w 12191989"/>
              <a:gd name="connsiteY455" fmla="*/ 369213 h 6857994"/>
              <a:gd name="connsiteX456" fmla="*/ 11186710 w 12191989"/>
              <a:gd name="connsiteY456" fmla="*/ 391309 h 6857994"/>
              <a:gd name="connsiteX457" fmla="*/ 11186710 w 12191989"/>
              <a:gd name="connsiteY457" fmla="*/ 426070 h 6857994"/>
              <a:gd name="connsiteX458" fmla="*/ 11208718 w 12191989"/>
              <a:gd name="connsiteY458" fmla="*/ 426070 h 6857994"/>
              <a:gd name="connsiteX459" fmla="*/ 11208718 w 12191989"/>
              <a:gd name="connsiteY459" fmla="*/ 382925 h 6857994"/>
              <a:gd name="connsiteX460" fmla="*/ 11181557 w 12191989"/>
              <a:gd name="connsiteY460" fmla="*/ 351396 h 6857994"/>
              <a:gd name="connsiteX461" fmla="*/ 11253698 w 12191989"/>
              <a:gd name="connsiteY461" fmla="*/ 351396 h 6857994"/>
              <a:gd name="connsiteX462" fmla="*/ 11220859 w 12191989"/>
              <a:gd name="connsiteY462" fmla="*/ 389300 h 6857994"/>
              <a:gd name="connsiteX463" fmla="*/ 11252825 w 12191989"/>
              <a:gd name="connsiteY463" fmla="*/ 425895 h 6857994"/>
              <a:gd name="connsiteX464" fmla="*/ 11276668 w 12191989"/>
              <a:gd name="connsiteY464" fmla="*/ 412794 h 6857994"/>
              <a:gd name="connsiteX465" fmla="*/ 11276929 w 12191989"/>
              <a:gd name="connsiteY465" fmla="*/ 412794 h 6857994"/>
              <a:gd name="connsiteX466" fmla="*/ 11276668 w 12191989"/>
              <a:gd name="connsiteY466" fmla="*/ 419868 h 6857994"/>
              <a:gd name="connsiteX467" fmla="*/ 11255008 w 12191989"/>
              <a:gd name="connsiteY467" fmla="*/ 441266 h 6857994"/>
              <a:gd name="connsiteX468" fmla="*/ 11229069 w 12191989"/>
              <a:gd name="connsiteY468" fmla="*/ 434541 h 6857994"/>
              <a:gd name="connsiteX469" fmla="*/ 11229069 w 12191989"/>
              <a:gd name="connsiteY469" fmla="*/ 453057 h 6857994"/>
              <a:gd name="connsiteX470" fmla="*/ 11256929 w 12191989"/>
              <a:gd name="connsiteY470" fmla="*/ 457336 h 6857994"/>
              <a:gd name="connsiteX471" fmla="*/ 11298065 w 12191989"/>
              <a:gd name="connsiteY471" fmla="*/ 419606 h 6857994"/>
              <a:gd name="connsiteX472" fmla="*/ 11298065 w 12191989"/>
              <a:gd name="connsiteY472" fmla="*/ 353230 h 6857994"/>
              <a:gd name="connsiteX473" fmla="*/ 11277540 w 12191989"/>
              <a:gd name="connsiteY473" fmla="*/ 353230 h 6857994"/>
              <a:gd name="connsiteX474" fmla="*/ 11277803 w 12191989"/>
              <a:gd name="connsiteY474" fmla="*/ 364497 h 6857994"/>
              <a:gd name="connsiteX475" fmla="*/ 11277540 w 12191989"/>
              <a:gd name="connsiteY475" fmla="*/ 364497 h 6857994"/>
              <a:gd name="connsiteX476" fmla="*/ 11253698 w 12191989"/>
              <a:gd name="connsiteY476" fmla="*/ 351396 h 6857994"/>
              <a:gd name="connsiteX477" fmla="*/ 10993258 w 12191989"/>
              <a:gd name="connsiteY477" fmla="*/ 351396 h 6857994"/>
              <a:gd name="connsiteX478" fmla="*/ 10966620 w 12191989"/>
              <a:gd name="connsiteY478" fmla="*/ 356462 h 6857994"/>
              <a:gd name="connsiteX479" fmla="*/ 10966620 w 12191989"/>
              <a:gd name="connsiteY479" fmla="*/ 372793 h 6857994"/>
              <a:gd name="connsiteX480" fmla="*/ 10989764 w 12191989"/>
              <a:gd name="connsiteY480" fmla="*/ 366593 h 6857994"/>
              <a:gd name="connsiteX481" fmla="*/ 11006097 w 12191989"/>
              <a:gd name="connsiteY481" fmla="*/ 381003 h 6857994"/>
              <a:gd name="connsiteX482" fmla="*/ 10995703 w 12191989"/>
              <a:gd name="connsiteY482" fmla="*/ 380566 h 6857994"/>
              <a:gd name="connsiteX483" fmla="*/ 10957624 w 12191989"/>
              <a:gd name="connsiteY483" fmla="*/ 404672 h 6857994"/>
              <a:gd name="connsiteX484" fmla="*/ 10982864 w 12191989"/>
              <a:gd name="connsiteY484" fmla="*/ 427467 h 6857994"/>
              <a:gd name="connsiteX485" fmla="*/ 11007756 w 12191989"/>
              <a:gd name="connsiteY485" fmla="*/ 413929 h 6857994"/>
              <a:gd name="connsiteX486" fmla="*/ 11008018 w 12191989"/>
              <a:gd name="connsiteY486" fmla="*/ 413929 h 6857994"/>
              <a:gd name="connsiteX487" fmla="*/ 11007756 w 12191989"/>
              <a:gd name="connsiteY487" fmla="*/ 420305 h 6857994"/>
              <a:gd name="connsiteX488" fmla="*/ 11008193 w 12191989"/>
              <a:gd name="connsiteY488" fmla="*/ 426069 h 6857994"/>
              <a:gd name="connsiteX489" fmla="*/ 11027494 w 12191989"/>
              <a:gd name="connsiteY489" fmla="*/ 426069 h 6857994"/>
              <a:gd name="connsiteX490" fmla="*/ 11026533 w 12191989"/>
              <a:gd name="connsiteY490" fmla="*/ 400042 h 6857994"/>
              <a:gd name="connsiteX491" fmla="*/ 11026795 w 12191989"/>
              <a:gd name="connsiteY491" fmla="*/ 381702 h 6857994"/>
              <a:gd name="connsiteX492" fmla="*/ 10993258 w 12191989"/>
              <a:gd name="connsiteY492" fmla="*/ 351396 h 6857994"/>
              <a:gd name="connsiteX493" fmla="*/ 11521998 w 12191989"/>
              <a:gd name="connsiteY493" fmla="*/ 351310 h 6857994"/>
              <a:gd name="connsiteX494" fmla="*/ 11483657 w 12191989"/>
              <a:gd name="connsiteY494" fmla="*/ 389388 h 6857994"/>
              <a:gd name="connsiteX495" fmla="*/ 11525054 w 12191989"/>
              <a:gd name="connsiteY495" fmla="*/ 427816 h 6857994"/>
              <a:gd name="connsiteX496" fmla="*/ 11549858 w 12191989"/>
              <a:gd name="connsiteY496" fmla="*/ 422926 h 6857994"/>
              <a:gd name="connsiteX497" fmla="*/ 11549422 w 12191989"/>
              <a:gd name="connsiteY497" fmla="*/ 406332 h 6857994"/>
              <a:gd name="connsiteX498" fmla="*/ 11527588 w 12191989"/>
              <a:gd name="connsiteY498" fmla="*/ 412009 h 6857994"/>
              <a:gd name="connsiteX499" fmla="*/ 11505579 w 12191989"/>
              <a:gd name="connsiteY499" fmla="*/ 395764 h 6857994"/>
              <a:gd name="connsiteX500" fmla="*/ 11505666 w 12191989"/>
              <a:gd name="connsiteY500" fmla="*/ 395677 h 6857994"/>
              <a:gd name="connsiteX501" fmla="*/ 11555361 w 12191989"/>
              <a:gd name="connsiteY501" fmla="*/ 395677 h 6857994"/>
              <a:gd name="connsiteX502" fmla="*/ 11555623 w 12191989"/>
              <a:gd name="connsiteY502" fmla="*/ 390436 h 6857994"/>
              <a:gd name="connsiteX503" fmla="*/ 11521998 w 12191989"/>
              <a:gd name="connsiteY503" fmla="*/ 351310 h 6857994"/>
              <a:gd name="connsiteX504" fmla="*/ 10536657 w 12191989"/>
              <a:gd name="connsiteY504" fmla="*/ 338209 h 6857994"/>
              <a:gd name="connsiteX505" fmla="*/ 10536920 w 12191989"/>
              <a:gd name="connsiteY505" fmla="*/ 338209 h 6857994"/>
              <a:gd name="connsiteX506" fmla="*/ 10544692 w 12191989"/>
              <a:gd name="connsiteY506" fmla="*/ 364760 h 6857994"/>
              <a:gd name="connsiteX507" fmla="*/ 10551417 w 12191989"/>
              <a:gd name="connsiteY507" fmla="*/ 384410 h 6857994"/>
              <a:gd name="connsiteX508" fmla="*/ 10521373 w 12191989"/>
              <a:gd name="connsiteY508" fmla="*/ 384410 h 6857994"/>
              <a:gd name="connsiteX509" fmla="*/ 10528273 w 12191989"/>
              <a:gd name="connsiteY509" fmla="*/ 364760 h 6857994"/>
              <a:gd name="connsiteX510" fmla="*/ 10536657 w 12191989"/>
              <a:gd name="connsiteY510" fmla="*/ 338209 h 6857994"/>
              <a:gd name="connsiteX511" fmla="*/ 10689760 w 12191989"/>
              <a:gd name="connsiteY511" fmla="*/ 338209 h 6857994"/>
              <a:gd name="connsiteX512" fmla="*/ 10689061 w 12191989"/>
              <a:gd name="connsiteY512" fmla="*/ 400131 h 6857994"/>
              <a:gd name="connsiteX513" fmla="*/ 10715000 w 12191989"/>
              <a:gd name="connsiteY513" fmla="*/ 427031 h 6857994"/>
              <a:gd name="connsiteX514" fmla="*/ 10728101 w 12191989"/>
              <a:gd name="connsiteY514" fmla="*/ 425547 h 6857994"/>
              <a:gd name="connsiteX515" fmla="*/ 10728101 w 12191989"/>
              <a:gd name="connsiteY515" fmla="*/ 410001 h 6857994"/>
              <a:gd name="connsiteX516" fmla="*/ 10721201 w 12191989"/>
              <a:gd name="connsiteY516" fmla="*/ 410874 h 6857994"/>
              <a:gd name="connsiteX517" fmla="*/ 10710633 w 12191989"/>
              <a:gd name="connsiteY517" fmla="*/ 397336 h 6857994"/>
              <a:gd name="connsiteX518" fmla="*/ 10710633 w 12191989"/>
              <a:gd name="connsiteY518" fmla="*/ 368865 h 6857994"/>
              <a:gd name="connsiteX519" fmla="*/ 10728101 w 12191989"/>
              <a:gd name="connsiteY519" fmla="*/ 368865 h 6857994"/>
              <a:gd name="connsiteX520" fmla="*/ 10728101 w 12191989"/>
              <a:gd name="connsiteY520" fmla="*/ 353231 h 6857994"/>
              <a:gd name="connsiteX521" fmla="*/ 10710633 w 12191989"/>
              <a:gd name="connsiteY521" fmla="*/ 353231 h 6857994"/>
              <a:gd name="connsiteX522" fmla="*/ 10710633 w 12191989"/>
              <a:gd name="connsiteY522" fmla="*/ 338209 h 6857994"/>
              <a:gd name="connsiteX523" fmla="*/ 11042865 w 12191989"/>
              <a:gd name="connsiteY523" fmla="*/ 338209 h 6857994"/>
              <a:gd name="connsiteX524" fmla="*/ 11042166 w 12191989"/>
              <a:gd name="connsiteY524" fmla="*/ 400131 h 6857994"/>
              <a:gd name="connsiteX525" fmla="*/ 11068105 w 12191989"/>
              <a:gd name="connsiteY525" fmla="*/ 427031 h 6857994"/>
              <a:gd name="connsiteX526" fmla="*/ 11081206 w 12191989"/>
              <a:gd name="connsiteY526" fmla="*/ 425547 h 6857994"/>
              <a:gd name="connsiteX527" fmla="*/ 11081206 w 12191989"/>
              <a:gd name="connsiteY527" fmla="*/ 410001 h 6857994"/>
              <a:gd name="connsiteX528" fmla="*/ 11074306 w 12191989"/>
              <a:gd name="connsiteY528" fmla="*/ 410874 h 6857994"/>
              <a:gd name="connsiteX529" fmla="*/ 11063738 w 12191989"/>
              <a:gd name="connsiteY529" fmla="*/ 397336 h 6857994"/>
              <a:gd name="connsiteX530" fmla="*/ 11063738 w 12191989"/>
              <a:gd name="connsiteY530" fmla="*/ 368865 h 6857994"/>
              <a:gd name="connsiteX531" fmla="*/ 11081206 w 12191989"/>
              <a:gd name="connsiteY531" fmla="*/ 368865 h 6857994"/>
              <a:gd name="connsiteX532" fmla="*/ 11081206 w 12191989"/>
              <a:gd name="connsiteY532" fmla="*/ 353231 h 6857994"/>
              <a:gd name="connsiteX533" fmla="*/ 11063738 w 12191989"/>
              <a:gd name="connsiteY533" fmla="*/ 353231 h 6857994"/>
              <a:gd name="connsiteX534" fmla="*/ 11063738 w 12191989"/>
              <a:gd name="connsiteY534" fmla="*/ 338209 h 6857994"/>
              <a:gd name="connsiteX535" fmla="*/ 11346275 w 12191989"/>
              <a:gd name="connsiteY535" fmla="*/ 338208 h 6857994"/>
              <a:gd name="connsiteX536" fmla="*/ 11345576 w 12191989"/>
              <a:gd name="connsiteY536" fmla="*/ 400130 h 6857994"/>
              <a:gd name="connsiteX537" fmla="*/ 11371515 w 12191989"/>
              <a:gd name="connsiteY537" fmla="*/ 427030 h 6857994"/>
              <a:gd name="connsiteX538" fmla="*/ 11384616 w 12191989"/>
              <a:gd name="connsiteY538" fmla="*/ 425546 h 6857994"/>
              <a:gd name="connsiteX539" fmla="*/ 11384616 w 12191989"/>
              <a:gd name="connsiteY539" fmla="*/ 410000 h 6857994"/>
              <a:gd name="connsiteX540" fmla="*/ 11377716 w 12191989"/>
              <a:gd name="connsiteY540" fmla="*/ 410873 h 6857994"/>
              <a:gd name="connsiteX541" fmla="*/ 11367148 w 12191989"/>
              <a:gd name="connsiteY541" fmla="*/ 397335 h 6857994"/>
              <a:gd name="connsiteX542" fmla="*/ 11367148 w 12191989"/>
              <a:gd name="connsiteY542" fmla="*/ 368864 h 6857994"/>
              <a:gd name="connsiteX543" fmla="*/ 11384616 w 12191989"/>
              <a:gd name="connsiteY543" fmla="*/ 368864 h 6857994"/>
              <a:gd name="connsiteX544" fmla="*/ 11384616 w 12191989"/>
              <a:gd name="connsiteY544" fmla="*/ 353230 h 6857994"/>
              <a:gd name="connsiteX545" fmla="*/ 11367148 w 12191989"/>
              <a:gd name="connsiteY545" fmla="*/ 353230 h 6857994"/>
              <a:gd name="connsiteX546" fmla="*/ 11367148 w 12191989"/>
              <a:gd name="connsiteY546" fmla="*/ 338208 h 6857994"/>
              <a:gd name="connsiteX547" fmla="*/ 10031499 w 12191989"/>
              <a:gd name="connsiteY547" fmla="*/ 338030 h 6857994"/>
              <a:gd name="connsiteX548" fmla="*/ 10057788 w 12191989"/>
              <a:gd name="connsiteY548" fmla="*/ 338030 h 6857994"/>
              <a:gd name="connsiteX549" fmla="*/ 10072372 w 12191989"/>
              <a:gd name="connsiteY549" fmla="*/ 352616 h 6857994"/>
              <a:gd name="connsiteX550" fmla="*/ 10058486 w 12191989"/>
              <a:gd name="connsiteY550" fmla="*/ 367026 h 6857994"/>
              <a:gd name="connsiteX551" fmla="*/ 10031586 w 12191989"/>
              <a:gd name="connsiteY551" fmla="*/ 367026 h 6857994"/>
              <a:gd name="connsiteX552" fmla="*/ 10031499 w 12191989"/>
              <a:gd name="connsiteY552" fmla="*/ 367026 h 6857994"/>
              <a:gd name="connsiteX553" fmla="*/ 11596060 w 12191989"/>
              <a:gd name="connsiteY553" fmla="*/ 327728 h 6857994"/>
              <a:gd name="connsiteX554" fmla="*/ 11621126 w 12191989"/>
              <a:gd name="connsiteY554" fmla="*/ 426069 h 6857994"/>
              <a:gd name="connsiteX555" fmla="*/ 11650995 w 12191989"/>
              <a:gd name="connsiteY555" fmla="*/ 426069 h 6857994"/>
              <a:gd name="connsiteX556" fmla="*/ 11663659 w 12191989"/>
              <a:gd name="connsiteY556" fmla="*/ 363624 h 6857994"/>
              <a:gd name="connsiteX557" fmla="*/ 11666716 w 12191989"/>
              <a:gd name="connsiteY557" fmla="*/ 344061 h 6857994"/>
              <a:gd name="connsiteX558" fmla="*/ 11666978 w 12191989"/>
              <a:gd name="connsiteY558" fmla="*/ 344061 h 6857994"/>
              <a:gd name="connsiteX559" fmla="*/ 11670384 w 12191989"/>
              <a:gd name="connsiteY559" fmla="*/ 363624 h 6857994"/>
              <a:gd name="connsiteX560" fmla="*/ 11670558 w 12191989"/>
              <a:gd name="connsiteY560" fmla="*/ 363624 h 6857994"/>
              <a:gd name="connsiteX561" fmla="*/ 11684183 w 12191989"/>
              <a:gd name="connsiteY561" fmla="*/ 426069 h 6857994"/>
              <a:gd name="connsiteX562" fmla="*/ 11713878 w 12191989"/>
              <a:gd name="connsiteY562" fmla="*/ 426069 h 6857994"/>
              <a:gd name="connsiteX563" fmla="*/ 11738245 w 12191989"/>
              <a:gd name="connsiteY563" fmla="*/ 327728 h 6857994"/>
              <a:gd name="connsiteX564" fmla="*/ 11715450 w 12191989"/>
              <a:gd name="connsiteY564" fmla="*/ 327728 h 6857994"/>
              <a:gd name="connsiteX565" fmla="*/ 11703922 w 12191989"/>
              <a:gd name="connsiteY565" fmla="*/ 382227 h 6857994"/>
              <a:gd name="connsiteX566" fmla="*/ 11699380 w 12191989"/>
              <a:gd name="connsiteY566" fmla="*/ 407991 h 6857994"/>
              <a:gd name="connsiteX567" fmla="*/ 11699118 w 12191989"/>
              <a:gd name="connsiteY567" fmla="*/ 407991 h 6857994"/>
              <a:gd name="connsiteX568" fmla="*/ 11694576 w 12191989"/>
              <a:gd name="connsiteY568" fmla="*/ 382227 h 6857994"/>
              <a:gd name="connsiteX569" fmla="*/ 11682874 w 12191989"/>
              <a:gd name="connsiteY569" fmla="*/ 327728 h 6857994"/>
              <a:gd name="connsiteX570" fmla="*/ 11652131 w 12191989"/>
              <a:gd name="connsiteY570" fmla="*/ 327728 h 6857994"/>
              <a:gd name="connsiteX571" fmla="*/ 11641388 w 12191989"/>
              <a:gd name="connsiteY571" fmla="*/ 382227 h 6857994"/>
              <a:gd name="connsiteX572" fmla="*/ 11637021 w 12191989"/>
              <a:gd name="connsiteY572" fmla="*/ 407991 h 6857994"/>
              <a:gd name="connsiteX573" fmla="*/ 11636760 w 12191989"/>
              <a:gd name="connsiteY573" fmla="*/ 407991 h 6857994"/>
              <a:gd name="connsiteX574" fmla="*/ 11632217 w 12191989"/>
              <a:gd name="connsiteY574" fmla="*/ 382227 h 6857994"/>
              <a:gd name="connsiteX575" fmla="*/ 11620427 w 12191989"/>
              <a:gd name="connsiteY575" fmla="*/ 327728 h 6857994"/>
              <a:gd name="connsiteX576" fmla="*/ 11096665 w 12191989"/>
              <a:gd name="connsiteY576" fmla="*/ 322576 h 6857994"/>
              <a:gd name="connsiteX577" fmla="*/ 11096665 w 12191989"/>
              <a:gd name="connsiteY577" fmla="*/ 341005 h 6857994"/>
              <a:gd name="connsiteX578" fmla="*/ 11118936 w 12191989"/>
              <a:gd name="connsiteY578" fmla="*/ 341005 h 6857994"/>
              <a:gd name="connsiteX579" fmla="*/ 11118936 w 12191989"/>
              <a:gd name="connsiteY579" fmla="*/ 322576 h 6857994"/>
              <a:gd name="connsiteX580" fmla="*/ 11398765 w 12191989"/>
              <a:gd name="connsiteY580" fmla="*/ 319694 h 6857994"/>
              <a:gd name="connsiteX581" fmla="*/ 11398765 w 12191989"/>
              <a:gd name="connsiteY581" fmla="*/ 426158 h 6857994"/>
              <a:gd name="connsiteX582" fmla="*/ 11420774 w 12191989"/>
              <a:gd name="connsiteY582" fmla="*/ 426158 h 6857994"/>
              <a:gd name="connsiteX583" fmla="*/ 11420774 w 12191989"/>
              <a:gd name="connsiteY583" fmla="*/ 394018 h 6857994"/>
              <a:gd name="connsiteX584" fmla="*/ 11437280 w 12191989"/>
              <a:gd name="connsiteY584" fmla="*/ 369214 h 6857994"/>
              <a:gd name="connsiteX585" fmla="*/ 11449944 w 12191989"/>
              <a:gd name="connsiteY585" fmla="*/ 391310 h 6857994"/>
              <a:gd name="connsiteX586" fmla="*/ 11449944 w 12191989"/>
              <a:gd name="connsiteY586" fmla="*/ 426069 h 6857994"/>
              <a:gd name="connsiteX587" fmla="*/ 11471954 w 12191989"/>
              <a:gd name="connsiteY587" fmla="*/ 426069 h 6857994"/>
              <a:gd name="connsiteX588" fmla="*/ 11471954 w 12191989"/>
              <a:gd name="connsiteY588" fmla="*/ 383100 h 6857994"/>
              <a:gd name="connsiteX589" fmla="*/ 11444443 w 12191989"/>
              <a:gd name="connsiteY589" fmla="*/ 351397 h 6857994"/>
              <a:gd name="connsiteX590" fmla="*/ 11420512 w 12191989"/>
              <a:gd name="connsiteY590" fmla="*/ 365458 h 6857994"/>
              <a:gd name="connsiteX591" fmla="*/ 11420425 w 12191989"/>
              <a:gd name="connsiteY591" fmla="*/ 365632 h 6857994"/>
              <a:gd name="connsiteX592" fmla="*/ 11420162 w 12191989"/>
              <a:gd name="connsiteY592" fmla="*/ 365632 h 6857994"/>
              <a:gd name="connsiteX593" fmla="*/ 11420600 w 12191989"/>
              <a:gd name="connsiteY593" fmla="*/ 348864 h 6857994"/>
              <a:gd name="connsiteX594" fmla="*/ 11420600 w 12191989"/>
              <a:gd name="connsiteY594" fmla="*/ 319694 h 6857994"/>
              <a:gd name="connsiteX595" fmla="*/ 11974753 w 12191989"/>
              <a:gd name="connsiteY595" fmla="*/ 319693 h 6857994"/>
              <a:gd name="connsiteX596" fmla="*/ 11974753 w 12191989"/>
              <a:gd name="connsiteY596" fmla="*/ 343187 h 6857994"/>
              <a:gd name="connsiteX597" fmla="*/ 11975190 w 12191989"/>
              <a:gd name="connsiteY597" fmla="*/ 364323 h 6857994"/>
              <a:gd name="connsiteX598" fmla="*/ 11974928 w 12191989"/>
              <a:gd name="connsiteY598" fmla="*/ 364323 h 6857994"/>
              <a:gd name="connsiteX599" fmla="*/ 11952132 w 12191989"/>
              <a:gd name="connsiteY599" fmla="*/ 351484 h 6857994"/>
              <a:gd name="connsiteX600" fmla="*/ 11919905 w 12191989"/>
              <a:gd name="connsiteY600" fmla="*/ 389388 h 6857994"/>
              <a:gd name="connsiteX601" fmla="*/ 11952045 w 12191989"/>
              <a:gd name="connsiteY601" fmla="*/ 427816 h 6857994"/>
              <a:gd name="connsiteX602" fmla="*/ 11976675 w 12191989"/>
              <a:gd name="connsiteY602" fmla="*/ 413319 h 6857994"/>
              <a:gd name="connsiteX603" fmla="*/ 11976849 w 12191989"/>
              <a:gd name="connsiteY603" fmla="*/ 413319 h 6857994"/>
              <a:gd name="connsiteX604" fmla="*/ 11977111 w 12191989"/>
              <a:gd name="connsiteY604" fmla="*/ 426157 h 6857994"/>
              <a:gd name="connsiteX605" fmla="*/ 11997548 w 12191989"/>
              <a:gd name="connsiteY605" fmla="*/ 426157 h 6857994"/>
              <a:gd name="connsiteX606" fmla="*/ 11996849 w 12191989"/>
              <a:gd name="connsiteY606" fmla="*/ 404498 h 6857994"/>
              <a:gd name="connsiteX607" fmla="*/ 11996849 w 12191989"/>
              <a:gd name="connsiteY607" fmla="*/ 319693 h 6857994"/>
              <a:gd name="connsiteX608" fmla="*/ 10522247 w 12191989"/>
              <a:gd name="connsiteY608" fmla="*/ 319607 h 6857994"/>
              <a:gd name="connsiteX609" fmla="*/ 10481024 w 12191989"/>
              <a:gd name="connsiteY609" fmla="*/ 426071 h 6857994"/>
              <a:gd name="connsiteX610" fmla="*/ 10506526 w 12191989"/>
              <a:gd name="connsiteY610" fmla="*/ 426071 h 6857994"/>
              <a:gd name="connsiteX611" fmla="*/ 10515347 w 12191989"/>
              <a:gd name="connsiteY611" fmla="*/ 402402 h 6857994"/>
              <a:gd name="connsiteX612" fmla="*/ 10557444 w 12191989"/>
              <a:gd name="connsiteY612" fmla="*/ 402402 h 6857994"/>
              <a:gd name="connsiteX613" fmla="*/ 10566178 w 12191989"/>
              <a:gd name="connsiteY613" fmla="*/ 426071 h 6857994"/>
              <a:gd name="connsiteX614" fmla="*/ 10593340 w 12191989"/>
              <a:gd name="connsiteY614" fmla="*/ 426071 h 6857994"/>
              <a:gd name="connsiteX615" fmla="*/ 10551505 w 12191989"/>
              <a:gd name="connsiteY615" fmla="*/ 319607 h 6857994"/>
              <a:gd name="connsiteX616" fmla="*/ 11886456 w 12191989"/>
              <a:gd name="connsiteY616" fmla="*/ 319605 h 6857994"/>
              <a:gd name="connsiteX617" fmla="*/ 11886456 w 12191989"/>
              <a:gd name="connsiteY617" fmla="*/ 426069 h 6857994"/>
              <a:gd name="connsiteX618" fmla="*/ 11908727 w 12191989"/>
              <a:gd name="connsiteY618" fmla="*/ 426069 h 6857994"/>
              <a:gd name="connsiteX619" fmla="*/ 11908727 w 12191989"/>
              <a:gd name="connsiteY619" fmla="*/ 319605 h 6857994"/>
              <a:gd name="connsiteX620" fmla="*/ 9593153 w 12191989"/>
              <a:gd name="connsiteY620" fmla="*/ 319603 h 6857994"/>
              <a:gd name="connsiteX621" fmla="*/ 9593153 w 12191989"/>
              <a:gd name="connsiteY621" fmla="*/ 338031 h 6857994"/>
              <a:gd name="connsiteX622" fmla="*/ 9593153 w 12191989"/>
              <a:gd name="connsiteY622" fmla="*/ 407639 h 6857994"/>
              <a:gd name="connsiteX623" fmla="*/ 9593153 w 12191989"/>
              <a:gd name="connsiteY623" fmla="*/ 426155 h 6857994"/>
              <a:gd name="connsiteX624" fmla="*/ 9614637 w 12191989"/>
              <a:gd name="connsiteY624" fmla="*/ 426155 h 6857994"/>
              <a:gd name="connsiteX625" fmla="*/ 9673503 w 12191989"/>
              <a:gd name="connsiteY625" fmla="*/ 426155 h 6857994"/>
              <a:gd name="connsiteX626" fmla="*/ 9673503 w 12191989"/>
              <a:gd name="connsiteY626" fmla="*/ 407639 h 6857994"/>
              <a:gd name="connsiteX627" fmla="*/ 9614637 w 12191989"/>
              <a:gd name="connsiteY627" fmla="*/ 407639 h 6857994"/>
              <a:gd name="connsiteX628" fmla="*/ 9614637 w 12191989"/>
              <a:gd name="connsiteY628" fmla="*/ 379255 h 6857994"/>
              <a:gd name="connsiteX629" fmla="*/ 9665555 w 12191989"/>
              <a:gd name="connsiteY629" fmla="*/ 379255 h 6857994"/>
              <a:gd name="connsiteX630" fmla="*/ 9665555 w 12191989"/>
              <a:gd name="connsiteY630" fmla="*/ 360826 h 6857994"/>
              <a:gd name="connsiteX631" fmla="*/ 9614637 w 12191989"/>
              <a:gd name="connsiteY631" fmla="*/ 360826 h 6857994"/>
              <a:gd name="connsiteX632" fmla="*/ 9614637 w 12191989"/>
              <a:gd name="connsiteY632" fmla="*/ 338031 h 6857994"/>
              <a:gd name="connsiteX633" fmla="*/ 9672018 w 12191989"/>
              <a:gd name="connsiteY633" fmla="*/ 338031 h 6857994"/>
              <a:gd name="connsiteX634" fmla="*/ 9672018 w 12191989"/>
              <a:gd name="connsiteY634" fmla="*/ 319603 h 6857994"/>
              <a:gd name="connsiteX635" fmla="*/ 9614637 w 12191989"/>
              <a:gd name="connsiteY635" fmla="*/ 319603 h 6857994"/>
              <a:gd name="connsiteX636" fmla="*/ 10099797 w 12191989"/>
              <a:gd name="connsiteY636" fmla="*/ 319602 h 6857994"/>
              <a:gd name="connsiteX637" fmla="*/ 10099797 w 12191989"/>
              <a:gd name="connsiteY637" fmla="*/ 426154 h 6857994"/>
              <a:gd name="connsiteX638" fmla="*/ 10121283 w 12191989"/>
              <a:gd name="connsiteY638" fmla="*/ 426154 h 6857994"/>
              <a:gd name="connsiteX639" fmla="*/ 10121283 w 12191989"/>
              <a:gd name="connsiteY639" fmla="*/ 319602 h 6857994"/>
              <a:gd name="connsiteX640" fmla="*/ 9930799 w 12191989"/>
              <a:gd name="connsiteY640" fmla="*/ 319602 h 6857994"/>
              <a:gd name="connsiteX641" fmla="*/ 9930799 w 12191989"/>
              <a:gd name="connsiteY641" fmla="*/ 338030 h 6857994"/>
              <a:gd name="connsiteX642" fmla="*/ 9956825 w 12191989"/>
              <a:gd name="connsiteY642" fmla="*/ 338030 h 6857994"/>
              <a:gd name="connsiteX643" fmla="*/ 9956825 w 12191989"/>
              <a:gd name="connsiteY643" fmla="*/ 426154 h 6857994"/>
              <a:gd name="connsiteX644" fmla="*/ 9978747 w 12191989"/>
              <a:gd name="connsiteY644" fmla="*/ 426154 h 6857994"/>
              <a:gd name="connsiteX645" fmla="*/ 9978747 w 12191989"/>
              <a:gd name="connsiteY645" fmla="*/ 338030 h 6857994"/>
              <a:gd name="connsiteX646" fmla="*/ 10004686 w 12191989"/>
              <a:gd name="connsiteY646" fmla="*/ 338030 h 6857994"/>
              <a:gd name="connsiteX647" fmla="*/ 10004686 w 12191989"/>
              <a:gd name="connsiteY647" fmla="*/ 319602 h 6857994"/>
              <a:gd name="connsiteX648" fmla="*/ 9978747 w 12191989"/>
              <a:gd name="connsiteY648" fmla="*/ 319602 h 6857994"/>
              <a:gd name="connsiteX649" fmla="*/ 9956825 w 12191989"/>
              <a:gd name="connsiteY649" fmla="*/ 319602 h 6857994"/>
              <a:gd name="connsiteX650" fmla="*/ 9758395 w 12191989"/>
              <a:gd name="connsiteY650" fmla="*/ 319602 h 6857994"/>
              <a:gd name="connsiteX651" fmla="*/ 9758395 w 12191989"/>
              <a:gd name="connsiteY651" fmla="*/ 338030 h 6857994"/>
              <a:gd name="connsiteX652" fmla="*/ 9758395 w 12191989"/>
              <a:gd name="connsiteY652" fmla="*/ 407638 h 6857994"/>
              <a:gd name="connsiteX653" fmla="*/ 9758395 w 12191989"/>
              <a:gd name="connsiteY653" fmla="*/ 426154 h 6857994"/>
              <a:gd name="connsiteX654" fmla="*/ 9779967 w 12191989"/>
              <a:gd name="connsiteY654" fmla="*/ 426154 h 6857994"/>
              <a:gd name="connsiteX655" fmla="*/ 9838832 w 12191989"/>
              <a:gd name="connsiteY655" fmla="*/ 426154 h 6857994"/>
              <a:gd name="connsiteX656" fmla="*/ 9838832 w 12191989"/>
              <a:gd name="connsiteY656" fmla="*/ 407638 h 6857994"/>
              <a:gd name="connsiteX657" fmla="*/ 9779967 w 12191989"/>
              <a:gd name="connsiteY657" fmla="*/ 407638 h 6857994"/>
              <a:gd name="connsiteX658" fmla="*/ 9779967 w 12191989"/>
              <a:gd name="connsiteY658" fmla="*/ 379254 h 6857994"/>
              <a:gd name="connsiteX659" fmla="*/ 9830972 w 12191989"/>
              <a:gd name="connsiteY659" fmla="*/ 379254 h 6857994"/>
              <a:gd name="connsiteX660" fmla="*/ 9830972 w 12191989"/>
              <a:gd name="connsiteY660" fmla="*/ 360825 h 6857994"/>
              <a:gd name="connsiteX661" fmla="*/ 9779967 w 12191989"/>
              <a:gd name="connsiteY661" fmla="*/ 360825 h 6857994"/>
              <a:gd name="connsiteX662" fmla="*/ 9779967 w 12191989"/>
              <a:gd name="connsiteY662" fmla="*/ 338030 h 6857994"/>
              <a:gd name="connsiteX663" fmla="*/ 9837347 w 12191989"/>
              <a:gd name="connsiteY663" fmla="*/ 338030 h 6857994"/>
              <a:gd name="connsiteX664" fmla="*/ 9837347 w 12191989"/>
              <a:gd name="connsiteY664" fmla="*/ 319602 h 6857994"/>
              <a:gd name="connsiteX665" fmla="*/ 9779967 w 12191989"/>
              <a:gd name="connsiteY665" fmla="*/ 319602 h 6857994"/>
              <a:gd name="connsiteX666" fmla="*/ 9680490 w 12191989"/>
              <a:gd name="connsiteY666" fmla="*/ 319601 h 6857994"/>
              <a:gd name="connsiteX667" fmla="*/ 9680490 w 12191989"/>
              <a:gd name="connsiteY667" fmla="*/ 407638 h 6857994"/>
              <a:gd name="connsiteX668" fmla="*/ 9680490 w 12191989"/>
              <a:gd name="connsiteY668" fmla="*/ 426153 h 6857994"/>
              <a:gd name="connsiteX669" fmla="*/ 9701975 w 12191989"/>
              <a:gd name="connsiteY669" fmla="*/ 426153 h 6857994"/>
              <a:gd name="connsiteX670" fmla="*/ 9752282 w 12191989"/>
              <a:gd name="connsiteY670" fmla="*/ 426153 h 6857994"/>
              <a:gd name="connsiteX671" fmla="*/ 9752282 w 12191989"/>
              <a:gd name="connsiteY671" fmla="*/ 407638 h 6857994"/>
              <a:gd name="connsiteX672" fmla="*/ 9701975 w 12191989"/>
              <a:gd name="connsiteY672" fmla="*/ 407638 h 6857994"/>
              <a:gd name="connsiteX673" fmla="*/ 9701975 w 12191989"/>
              <a:gd name="connsiteY673" fmla="*/ 319601 h 6857994"/>
              <a:gd name="connsiteX674" fmla="*/ 10010014 w 12191989"/>
              <a:gd name="connsiteY674" fmla="*/ 319428 h 6857994"/>
              <a:gd name="connsiteX675" fmla="*/ 10010014 w 12191989"/>
              <a:gd name="connsiteY675" fmla="*/ 426067 h 6857994"/>
              <a:gd name="connsiteX676" fmla="*/ 10031499 w 12191989"/>
              <a:gd name="connsiteY676" fmla="*/ 426067 h 6857994"/>
              <a:gd name="connsiteX677" fmla="*/ 10031499 w 12191989"/>
              <a:gd name="connsiteY677" fmla="*/ 384144 h 6857994"/>
              <a:gd name="connsiteX678" fmla="*/ 10050102 w 12191989"/>
              <a:gd name="connsiteY678" fmla="*/ 384144 h 6857994"/>
              <a:gd name="connsiteX679" fmla="*/ 10068967 w 12191989"/>
              <a:gd name="connsiteY679" fmla="*/ 397420 h 6857994"/>
              <a:gd name="connsiteX680" fmla="*/ 10072634 w 12191989"/>
              <a:gd name="connsiteY680" fmla="*/ 426154 h 6857994"/>
              <a:gd name="connsiteX681" fmla="*/ 10094207 w 12191989"/>
              <a:gd name="connsiteY681" fmla="*/ 426154 h 6857994"/>
              <a:gd name="connsiteX682" fmla="*/ 10090451 w 12191989"/>
              <a:gd name="connsiteY682" fmla="*/ 398206 h 6857994"/>
              <a:gd name="connsiteX683" fmla="*/ 10074556 w 12191989"/>
              <a:gd name="connsiteY683" fmla="*/ 375236 h 6857994"/>
              <a:gd name="connsiteX684" fmla="*/ 10074556 w 12191989"/>
              <a:gd name="connsiteY684" fmla="*/ 375061 h 6857994"/>
              <a:gd name="connsiteX685" fmla="*/ 10093421 w 12191989"/>
              <a:gd name="connsiteY685" fmla="*/ 349209 h 6857994"/>
              <a:gd name="connsiteX686" fmla="*/ 10058836 w 12191989"/>
              <a:gd name="connsiteY686" fmla="*/ 319428 h 6857994"/>
              <a:gd name="connsiteX687" fmla="*/ 10031499 w 12191989"/>
              <a:gd name="connsiteY687" fmla="*/ 319428 h 6857994"/>
              <a:gd name="connsiteX688" fmla="*/ 10010189 w 12191989"/>
              <a:gd name="connsiteY688" fmla="*/ 319428 h 6857994"/>
              <a:gd name="connsiteX689" fmla="*/ 9886693 w 12191989"/>
              <a:gd name="connsiteY689" fmla="*/ 317155 h 6857994"/>
              <a:gd name="connsiteX690" fmla="*/ 9837697 w 12191989"/>
              <a:gd name="connsiteY690" fmla="*/ 372789 h 6857994"/>
              <a:gd name="connsiteX691" fmla="*/ 9886693 w 12191989"/>
              <a:gd name="connsiteY691" fmla="*/ 428423 h 6857994"/>
              <a:gd name="connsiteX692" fmla="*/ 9932720 w 12191989"/>
              <a:gd name="connsiteY692" fmla="*/ 390868 h 6857994"/>
              <a:gd name="connsiteX693" fmla="*/ 9910275 w 12191989"/>
              <a:gd name="connsiteY693" fmla="*/ 390868 h 6857994"/>
              <a:gd name="connsiteX694" fmla="*/ 9887305 w 12191989"/>
              <a:gd name="connsiteY694" fmla="*/ 409733 h 6857994"/>
              <a:gd name="connsiteX695" fmla="*/ 9887305 w 12191989"/>
              <a:gd name="connsiteY695" fmla="*/ 409645 h 6857994"/>
              <a:gd name="connsiteX696" fmla="*/ 9859793 w 12191989"/>
              <a:gd name="connsiteY696" fmla="*/ 372439 h 6857994"/>
              <a:gd name="connsiteX697" fmla="*/ 9887305 w 12191989"/>
              <a:gd name="connsiteY697" fmla="*/ 335146 h 6857994"/>
              <a:gd name="connsiteX698" fmla="*/ 9910275 w 12191989"/>
              <a:gd name="connsiteY698" fmla="*/ 353400 h 6857994"/>
              <a:gd name="connsiteX699" fmla="*/ 9932546 w 12191989"/>
              <a:gd name="connsiteY699" fmla="*/ 353400 h 6857994"/>
              <a:gd name="connsiteX700" fmla="*/ 9886693 w 12191989"/>
              <a:gd name="connsiteY700" fmla="*/ 317155 h 6857994"/>
              <a:gd name="connsiteX701" fmla="*/ 10175344 w 12191989"/>
              <a:gd name="connsiteY701" fmla="*/ 317155 h 6857994"/>
              <a:gd name="connsiteX702" fmla="*/ 10126348 w 12191989"/>
              <a:gd name="connsiteY702" fmla="*/ 372789 h 6857994"/>
              <a:gd name="connsiteX703" fmla="*/ 10175344 w 12191989"/>
              <a:gd name="connsiteY703" fmla="*/ 428423 h 6857994"/>
              <a:gd name="connsiteX704" fmla="*/ 10221545 w 12191989"/>
              <a:gd name="connsiteY704" fmla="*/ 390868 h 6857994"/>
              <a:gd name="connsiteX705" fmla="*/ 10199100 w 12191989"/>
              <a:gd name="connsiteY705" fmla="*/ 390868 h 6857994"/>
              <a:gd name="connsiteX706" fmla="*/ 10175955 w 12191989"/>
              <a:gd name="connsiteY706" fmla="*/ 409732 h 6857994"/>
              <a:gd name="connsiteX707" fmla="*/ 10175955 w 12191989"/>
              <a:gd name="connsiteY707" fmla="*/ 409645 h 6857994"/>
              <a:gd name="connsiteX708" fmla="*/ 10148531 w 12191989"/>
              <a:gd name="connsiteY708" fmla="*/ 372439 h 6857994"/>
              <a:gd name="connsiteX709" fmla="*/ 10175955 w 12191989"/>
              <a:gd name="connsiteY709" fmla="*/ 335146 h 6857994"/>
              <a:gd name="connsiteX710" fmla="*/ 10199100 w 12191989"/>
              <a:gd name="connsiteY710" fmla="*/ 353400 h 6857994"/>
              <a:gd name="connsiteX711" fmla="*/ 10221458 w 12191989"/>
              <a:gd name="connsiteY711" fmla="*/ 353400 h 6857994"/>
              <a:gd name="connsiteX712" fmla="*/ 10175344 w 12191989"/>
              <a:gd name="connsiteY712" fmla="*/ 317155 h 6857994"/>
              <a:gd name="connsiteX713" fmla="*/ 9239612 w 12191989"/>
              <a:gd name="connsiteY713" fmla="*/ 316109 h 6857994"/>
              <a:gd name="connsiteX714" fmla="*/ 9176030 w 12191989"/>
              <a:gd name="connsiteY714" fmla="*/ 426154 h 6857994"/>
              <a:gd name="connsiteX715" fmla="*/ 9303193 w 12191989"/>
              <a:gd name="connsiteY715" fmla="*/ 426154 h 6857994"/>
              <a:gd name="connsiteX716" fmla="*/ 9366862 w 12191989"/>
              <a:gd name="connsiteY716" fmla="*/ 316109 h 6857994"/>
              <a:gd name="connsiteX717" fmla="*/ 9366863 w 12191989"/>
              <a:gd name="connsiteY717" fmla="*/ 316109 h 6857994"/>
              <a:gd name="connsiteX718" fmla="*/ 9430358 w 12191989"/>
              <a:gd name="connsiteY718" fmla="*/ 426154 h 6857994"/>
              <a:gd name="connsiteX719" fmla="*/ 9557608 w 12191989"/>
              <a:gd name="connsiteY719" fmla="*/ 426154 h 6857994"/>
              <a:gd name="connsiteX720" fmla="*/ 9494026 w 12191989"/>
              <a:gd name="connsiteY720" fmla="*/ 316109 h 6857994"/>
              <a:gd name="connsiteX721" fmla="*/ 10013508 w 12191989"/>
              <a:gd name="connsiteY721" fmla="*/ 254710 h 6857994"/>
              <a:gd name="connsiteX722" fmla="*/ 10038399 w 12191989"/>
              <a:gd name="connsiteY722" fmla="*/ 254710 h 6857994"/>
              <a:gd name="connsiteX723" fmla="*/ 10055168 w 12191989"/>
              <a:gd name="connsiteY723" fmla="*/ 270257 h 6857994"/>
              <a:gd name="connsiteX724" fmla="*/ 10038661 w 12191989"/>
              <a:gd name="connsiteY724" fmla="*/ 285628 h 6857994"/>
              <a:gd name="connsiteX725" fmla="*/ 10013508 w 12191989"/>
              <a:gd name="connsiteY725" fmla="*/ 285628 h 6857994"/>
              <a:gd name="connsiteX726" fmla="*/ 10013508 w 12191989"/>
              <a:gd name="connsiteY726" fmla="*/ 254710 h 6857994"/>
              <a:gd name="connsiteX727" fmla="*/ 10013595 w 12191989"/>
              <a:gd name="connsiteY727" fmla="*/ 212090 h 6857994"/>
              <a:gd name="connsiteX728" fmla="*/ 10040234 w 12191989"/>
              <a:gd name="connsiteY728" fmla="*/ 212090 h 6857994"/>
              <a:gd name="connsiteX729" fmla="*/ 10052985 w 12191989"/>
              <a:gd name="connsiteY729" fmla="*/ 224753 h 6857994"/>
              <a:gd name="connsiteX730" fmla="*/ 10039098 w 12191989"/>
              <a:gd name="connsiteY730" fmla="*/ 238117 h 6857994"/>
              <a:gd name="connsiteX731" fmla="*/ 10013595 w 12191989"/>
              <a:gd name="connsiteY731" fmla="*/ 238117 h 6857994"/>
              <a:gd name="connsiteX732" fmla="*/ 10013595 w 12191989"/>
              <a:gd name="connsiteY732" fmla="*/ 212090 h 6857994"/>
              <a:gd name="connsiteX733" fmla="*/ 9593153 w 12191989"/>
              <a:gd name="connsiteY733" fmla="*/ 195323 h 6857994"/>
              <a:gd name="connsiteX734" fmla="*/ 9593153 w 12191989"/>
              <a:gd name="connsiteY734" fmla="*/ 301787 h 6857994"/>
              <a:gd name="connsiteX735" fmla="*/ 9613241 w 12191989"/>
              <a:gd name="connsiteY735" fmla="*/ 301787 h 6857994"/>
              <a:gd name="connsiteX736" fmla="*/ 9613241 w 12191989"/>
              <a:gd name="connsiteY736" fmla="*/ 222572 h 6857994"/>
              <a:gd name="connsiteX737" fmla="*/ 9635861 w 12191989"/>
              <a:gd name="connsiteY737" fmla="*/ 301787 h 6857994"/>
              <a:gd name="connsiteX738" fmla="*/ 9636734 w 12191989"/>
              <a:gd name="connsiteY738" fmla="*/ 301787 h 6857994"/>
              <a:gd name="connsiteX739" fmla="*/ 9655686 w 12191989"/>
              <a:gd name="connsiteY739" fmla="*/ 301787 h 6857994"/>
              <a:gd name="connsiteX740" fmla="*/ 9656560 w 12191989"/>
              <a:gd name="connsiteY740" fmla="*/ 301787 h 6857994"/>
              <a:gd name="connsiteX741" fmla="*/ 9679180 w 12191989"/>
              <a:gd name="connsiteY741" fmla="*/ 222572 h 6857994"/>
              <a:gd name="connsiteX742" fmla="*/ 9679180 w 12191989"/>
              <a:gd name="connsiteY742" fmla="*/ 301787 h 6857994"/>
              <a:gd name="connsiteX743" fmla="*/ 9699268 w 12191989"/>
              <a:gd name="connsiteY743" fmla="*/ 301787 h 6857994"/>
              <a:gd name="connsiteX744" fmla="*/ 9699268 w 12191989"/>
              <a:gd name="connsiteY744" fmla="*/ 195323 h 6857994"/>
              <a:gd name="connsiteX745" fmla="*/ 9688263 w 12191989"/>
              <a:gd name="connsiteY745" fmla="*/ 195323 h 6857994"/>
              <a:gd name="connsiteX746" fmla="*/ 9678831 w 12191989"/>
              <a:gd name="connsiteY746" fmla="*/ 195323 h 6857994"/>
              <a:gd name="connsiteX747" fmla="*/ 9668525 w 12191989"/>
              <a:gd name="connsiteY747" fmla="*/ 195323 h 6857994"/>
              <a:gd name="connsiteX748" fmla="*/ 9646254 w 12191989"/>
              <a:gd name="connsiteY748" fmla="*/ 270083 h 6857994"/>
              <a:gd name="connsiteX749" fmla="*/ 9623896 w 12191989"/>
              <a:gd name="connsiteY749" fmla="*/ 195323 h 6857994"/>
              <a:gd name="connsiteX750" fmla="*/ 9613590 w 12191989"/>
              <a:gd name="connsiteY750" fmla="*/ 195323 h 6857994"/>
              <a:gd name="connsiteX751" fmla="*/ 9604070 w 12191989"/>
              <a:gd name="connsiteY751" fmla="*/ 195323 h 6857994"/>
              <a:gd name="connsiteX752" fmla="*/ 10200846 w 12191989"/>
              <a:gd name="connsiteY752" fmla="*/ 195322 h 6857994"/>
              <a:gd name="connsiteX753" fmla="*/ 10200846 w 12191989"/>
              <a:gd name="connsiteY753" fmla="*/ 301786 h 6857994"/>
              <a:gd name="connsiteX754" fmla="*/ 10221981 w 12191989"/>
              <a:gd name="connsiteY754" fmla="*/ 301786 h 6857994"/>
              <a:gd name="connsiteX755" fmla="*/ 10221981 w 12191989"/>
              <a:gd name="connsiteY755" fmla="*/ 255323 h 6857994"/>
              <a:gd name="connsiteX756" fmla="*/ 10264515 w 12191989"/>
              <a:gd name="connsiteY756" fmla="*/ 255323 h 6857994"/>
              <a:gd name="connsiteX757" fmla="*/ 10264515 w 12191989"/>
              <a:gd name="connsiteY757" fmla="*/ 301786 h 6857994"/>
              <a:gd name="connsiteX758" fmla="*/ 10285651 w 12191989"/>
              <a:gd name="connsiteY758" fmla="*/ 301786 h 6857994"/>
              <a:gd name="connsiteX759" fmla="*/ 10285651 w 12191989"/>
              <a:gd name="connsiteY759" fmla="*/ 195322 h 6857994"/>
              <a:gd name="connsiteX760" fmla="*/ 10264515 w 12191989"/>
              <a:gd name="connsiteY760" fmla="*/ 195322 h 6857994"/>
              <a:gd name="connsiteX761" fmla="*/ 10264515 w 12191989"/>
              <a:gd name="connsiteY761" fmla="*/ 236807 h 6857994"/>
              <a:gd name="connsiteX762" fmla="*/ 10221981 w 12191989"/>
              <a:gd name="connsiteY762" fmla="*/ 236807 h 6857994"/>
              <a:gd name="connsiteX763" fmla="*/ 10221981 w 12191989"/>
              <a:gd name="connsiteY763" fmla="*/ 195322 h 6857994"/>
              <a:gd name="connsiteX764" fmla="*/ 9734989 w 12191989"/>
              <a:gd name="connsiteY764" fmla="*/ 195322 h 6857994"/>
              <a:gd name="connsiteX765" fmla="*/ 9734989 w 12191989"/>
              <a:gd name="connsiteY765" fmla="*/ 213662 h 6857994"/>
              <a:gd name="connsiteX766" fmla="*/ 9761103 w 12191989"/>
              <a:gd name="connsiteY766" fmla="*/ 213662 h 6857994"/>
              <a:gd name="connsiteX767" fmla="*/ 9761103 w 12191989"/>
              <a:gd name="connsiteY767" fmla="*/ 301786 h 6857994"/>
              <a:gd name="connsiteX768" fmla="*/ 9782937 w 12191989"/>
              <a:gd name="connsiteY768" fmla="*/ 301786 h 6857994"/>
              <a:gd name="connsiteX769" fmla="*/ 9782937 w 12191989"/>
              <a:gd name="connsiteY769" fmla="*/ 213662 h 6857994"/>
              <a:gd name="connsiteX770" fmla="*/ 9809051 w 12191989"/>
              <a:gd name="connsiteY770" fmla="*/ 213662 h 6857994"/>
              <a:gd name="connsiteX771" fmla="*/ 9809051 w 12191989"/>
              <a:gd name="connsiteY771" fmla="*/ 195322 h 6857994"/>
              <a:gd name="connsiteX772" fmla="*/ 9782937 w 12191989"/>
              <a:gd name="connsiteY772" fmla="*/ 195322 h 6857994"/>
              <a:gd name="connsiteX773" fmla="*/ 9761103 w 12191989"/>
              <a:gd name="connsiteY773" fmla="*/ 195322 h 6857994"/>
              <a:gd name="connsiteX774" fmla="*/ 10082242 w 12191989"/>
              <a:gd name="connsiteY774" fmla="*/ 195235 h 6857994"/>
              <a:gd name="connsiteX775" fmla="*/ 10082242 w 12191989"/>
              <a:gd name="connsiteY775" fmla="*/ 301787 h 6857994"/>
              <a:gd name="connsiteX776" fmla="*/ 10103728 w 12191989"/>
              <a:gd name="connsiteY776" fmla="*/ 301787 h 6857994"/>
              <a:gd name="connsiteX777" fmla="*/ 10103728 w 12191989"/>
              <a:gd name="connsiteY777" fmla="*/ 195235 h 6857994"/>
              <a:gd name="connsiteX778" fmla="*/ 10294472 w 12191989"/>
              <a:gd name="connsiteY778" fmla="*/ 195234 h 6857994"/>
              <a:gd name="connsiteX779" fmla="*/ 10294472 w 12191989"/>
              <a:gd name="connsiteY779" fmla="*/ 301786 h 6857994"/>
              <a:gd name="connsiteX780" fmla="*/ 10315958 w 12191989"/>
              <a:gd name="connsiteY780" fmla="*/ 301786 h 6857994"/>
              <a:gd name="connsiteX781" fmla="*/ 10315958 w 12191989"/>
              <a:gd name="connsiteY781" fmla="*/ 195234 h 6857994"/>
              <a:gd name="connsiteX782" fmla="*/ 9707827 w 12191989"/>
              <a:gd name="connsiteY782" fmla="*/ 195234 h 6857994"/>
              <a:gd name="connsiteX783" fmla="*/ 9707827 w 12191989"/>
              <a:gd name="connsiteY783" fmla="*/ 301786 h 6857994"/>
              <a:gd name="connsiteX784" fmla="*/ 9729312 w 12191989"/>
              <a:gd name="connsiteY784" fmla="*/ 301786 h 6857994"/>
              <a:gd name="connsiteX785" fmla="*/ 9729312 w 12191989"/>
              <a:gd name="connsiteY785" fmla="*/ 195234 h 6857994"/>
              <a:gd name="connsiteX786" fmla="*/ 9900144 w 12191989"/>
              <a:gd name="connsiteY786" fmla="*/ 195234 h 6857994"/>
              <a:gd name="connsiteX787" fmla="*/ 9900144 w 12191989"/>
              <a:gd name="connsiteY787" fmla="*/ 268510 h 6857994"/>
              <a:gd name="connsiteX788" fmla="*/ 9942241 w 12191989"/>
              <a:gd name="connsiteY788" fmla="*/ 304843 h 6857994"/>
              <a:gd name="connsiteX789" fmla="*/ 9984686 w 12191989"/>
              <a:gd name="connsiteY789" fmla="*/ 268510 h 6857994"/>
              <a:gd name="connsiteX790" fmla="*/ 9984686 w 12191989"/>
              <a:gd name="connsiteY790" fmla="*/ 195234 h 6857994"/>
              <a:gd name="connsiteX791" fmla="*/ 9963289 w 12191989"/>
              <a:gd name="connsiteY791" fmla="*/ 195234 h 6857994"/>
              <a:gd name="connsiteX792" fmla="*/ 9963289 w 12191989"/>
              <a:gd name="connsiteY792" fmla="*/ 270431 h 6857994"/>
              <a:gd name="connsiteX793" fmla="*/ 9942241 w 12191989"/>
              <a:gd name="connsiteY793" fmla="*/ 287200 h 6857994"/>
              <a:gd name="connsiteX794" fmla="*/ 9921280 w 12191989"/>
              <a:gd name="connsiteY794" fmla="*/ 270431 h 6857994"/>
              <a:gd name="connsiteX795" fmla="*/ 9921280 w 12191989"/>
              <a:gd name="connsiteY795" fmla="*/ 195234 h 6857994"/>
              <a:gd name="connsiteX796" fmla="*/ 9992198 w 12191989"/>
              <a:gd name="connsiteY796" fmla="*/ 195234 h 6857994"/>
              <a:gd name="connsiteX797" fmla="*/ 9992198 w 12191989"/>
              <a:gd name="connsiteY797" fmla="*/ 301786 h 6857994"/>
              <a:gd name="connsiteX798" fmla="*/ 9992285 w 12191989"/>
              <a:gd name="connsiteY798" fmla="*/ 301786 h 6857994"/>
              <a:gd name="connsiteX799" fmla="*/ 10014294 w 12191989"/>
              <a:gd name="connsiteY799" fmla="*/ 301786 h 6857994"/>
              <a:gd name="connsiteX800" fmla="*/ 10014381 w 12191989"/>
              <a:gd name="connsiteY800" fmla="*/ 301786 h 6857994"/>
              <a:gd name="connsiteX801" fmla="*/ 10045299 w 12191989"/>
              <a:gd name="connsiteY801" fmla="*/ 301786 h 6857994"/>
              <a:gd name="connsiteX802" fmla="*/ 10077265 w 12191989"/>
              <a:gd name="connsiteY802" fmla="*/ 273052 h 6857994"/>
              <a:gd name="connsiteX803" fmla="*/ 10056740 w 12191989"/>
              <a:gd name="connsiteY803" fmla="*/ 245104 h 6857994"/>
              <a:gd name="connsiteX804" fmla="*/ 10073596 w 12191989"/>
              <a:gd name="connsiteY804" fmla="*/ 221435 h 6857994"/>
              <a:gd name="connsiteX805" fmla="*/ 10040146 w 12191989"/>
              <a:gd name="connsiteY805" fmla="*/ 195234 h 6857994"/>
              <a:gd name="connsiteX806" fmla="*/ 10014294 w 12191989"/>
              <a:gd name="connsiteY806" fmla="*/ 195234 h 6857994"/>
              <a:gd name="connsiteX807" fmla="*/ 9992285 w 12191989"/>
              <a:gd name="connsiteY807" fmla="*/ 195234 h 6857994"/>
              <a:gd name="connsiteX808" fmla="*/ 9850187 w 12191989"/>
              <a:gd name="connsiteY808" fmla="*/ 192001 h 6857994"/>
              <a:gd name="connsiteX809" fmla="*/ 9810361 w 12191989"/>
              <a:gd name="connsiteY809" fmla="*/ 224316 h 6857994"/>
              <a:gd name="connsiteX810" fmla="*/ 9845034 w 12191989"/>
              <a:gd name="connsiteY810" fmla="*/ 256805 h 6857994"/>
              <a:gd name="connsiteX811" fmla="*/ 9872196 w 12191989"/>
              <a:gd name="connsiteY811" fmla="*/ 273313 h 6857994"/>
              <a:gd name="connsiteX812" fmla="*/ 9850885 w 12191989"/>
              <a:gd name="connsiteY812" fmla="*/ 286851 h 6857994"/>
              <a:gd name="connsiteX813" fmla="*/ 9829226 w 12191989"/>
              <a:gd name="connsiteY813" fmla="*/ 269034 h 6857994"/>
              <a:gd name="connsiteX814" fmla="*/ 9808527 w 12191989"/>
              <a:gd name="connsiteY814" fmla="*/ 269034 h 6857994"/>
              <a:gd name="connsiteX815" fmla="*/ 9851846 w 12191989"/>
              <a:gd name="connsiteY815" fmla="*/ 304579 h 6857994"/>
              <a:gd name="connsiteX816" fmla="*/ 9894554 w 12191989"/>
              <a:gd name="connsiteY816" fmla="*/ 270780 h 6857994"/>
              <a:gd name="connsiteX817" fmla="*/ 9863811 w 12191989"/>
              <a:gd name="connsiteY817" fmla="*/ 239426 h 6857994"/>
              <a:gd name="connsiteX818" fmla="*/ 9832021 w 12191989"/>
              <a:gd name="connsiteY818" fmla="*/ 222919 h 6857994"/>
              <a:gd name="connsiteX819" fmla="*/ 9851060 w 12191989"/>
              <a:gd name="connsiteY819" fmla="*/ 209818 h 6857994"/>
              <a:gd name="connsiteX820" fmla="*/ 9870536 w 12191989"/>
              <a:gd name="connsiteY820" fmla="*/ 226151 h 6857994"/>
              <a:gd name="connsiteX821" fmla="*/ 9891323 w 12191989"/>
              <a:gd name="connsiteY821" fmla="*/ 226151 h 6857994"/>
              <a:gd name="connsiteX822" fmla="*/ 9850187 w 12191989"/>
              <a:gd name="connsiteY822" fmla="*/ 192001 h 6857994"/>
              <a:gd name="connsiteX823" fmla="*/ 10150453 w 12191989"/>
              <a:gd name="connsiteY823" fmla="*/ 192001 h 6857994"/>
              <a:gd name="connsiteX824" fmla="*/ 10110714 w 12191989"/>
              <a:gd name="connsiteY824" fmla="*/ 224316 h 6857994"/>
              <a:gd name="connsiteX825" fmla="*/ 10145299 w 12191989"/>
              <a:gd name="connsiteY825" fmla="*/ 256805 h 6857994"/>
              <a:gd name="connsiteX826" fmla="*/ 10145387 w 12191989"/>
              <a:gd name="connsiteY826" fmla="*/ 256805 h 6857994"/>
              <a:gd name="connsiteX827" fmla="*/ 10172375 w 12191989"/>
              <a:gd name="connsiteY827" fmla="*/ 273313 h 6857994"/>
              <a:gd name="connsiteX828" fmla="*/ 10151151 w 12191989"/>
              <a:gd name="connsiteY828" fmla="*/ 286850 h 6857994"/>
              <a:gd name="connsiteX829" fmla="*/ 10129492 w 12191989"/>
              <a:gd name="connsiteY829" fmla="*/ 269034 h 6857994"/>
              <a:gd name="connsiteX830" fmla="*/ 10108880 w 12191989"/>
              <a:gd name="connsiteY830" fmla="*/ 269034 h 6857994"/>
              <a:gd name="connsiteX831" fmla="*/ 10152112 w 12191989"/>
              <a:gd name="connsiteY831" fmla="*/ 304579 h 6857994"/>
              <a:gd name="connsiteX832" fmla="*/ 10194733 w 12191989"/>
              <a:gd name="connsiteY832" fmla="*/ 270780 h 6857994"/>
              <a:gd name="connsiteX833" fmla="*/ 10164164 w 12191989"/>
              <a:gd name="connsiteY833" fmla="*/ 239426 h 6857994"/>
              <a:gd name="connsiteX834" fmla="*/ 10132286 w 12191989"/>
              <a:gd name="connsiteY834" fmla="*/ 222919 h 6857994"/>
              <a:gd name="connsiteX835" fmla="*/ 10151326 w 12191989"/>
              <a:gd name="connsiteY835" fmla="*/ 209818 h 6857994"/>
              <a:gd name="connsiteX836" fmla="*/ 10170628 w 12191989"/>
              <a:gd name="connsiteY836" fmla="*/ 226151 h 6857994"/>
              <a:gd name="connsiteX837" fmla="*/ 10191501 w 12191989"/>
              <a:gd name="connsiteY837" fmla="*/ 226151 h 6857994"/>
              <a:gd name="connsiteX838" fmla="*/ 10150453 w 12191989"/>
              <a:gd name="connsiteY838" fmla="*/ 192001 h 6857994"/>
              <a:gd name="connsiteX839" fmla="*/ 10395347 w 12191989"/>
              <a:gd name="connsiteY839" fmla="*/ 178031 h 6857994"/>
              <a:gd name="connsiteX840" fmla="*/ 10395347 w 12191989"/>
              <a:gd name="connsiteY840" fmla="*/ 559258 h 6857994"/>
              <a:gd name="connsiteX841" fmla="*/ 10401635 w 12191989"/>
              <a:gd name="connsiteY841" fmla="*/ 559258 h 6857994"/>
              <a:gd name="connsiteX842" fmla="*/ 10401635 w 12191989"/>
              <a:gd name="connsiteY842" fmla="*/ 178031 h 6857994"/>
              <a:gd name="connsiteX843" fmla="*/ 9366862 w 12191989"/>
              <a:gd name="connsiteY843" fmla="*/ 95670 h 6857994"/>
              <a:gd name="connsiteX844" fmla="*/ 9303193 w 12191989"/>
              <a:gd name="connsiteY844" fmla="*/ 205889 h 6857994"/>
              <a:gd name="connsiteX845" fmla="*/ 9366862 w 12191989"/>
              <a:gd name="connsiteY845" fmla="*/ 316109 h 6857994"/>
              <a:gd name="connsiteX846" fmla="*/ 9430356 w 12191989"/>
              <a:gd name="connsiteY846" fmla="*/ 205889 h 6857994"/>
              <a:gd name="connsiteX847" fmla="*/ 0 w 12191989"/>
              <a:gd name="connsiteY847" fmla="*/ 0 h 6857994"/>
              <a:gd name="connsiteX848" fmla="*/ 12191989 w 12191989"/>
              <a:gd name="connsiteY848" fmla="*/ 0 h 6857994"/>
              <a:gd name="connsiteX849" fmla="*/ 12191989 w 12191989"/>
              <a:gd name="connsiteY849" fmla="*/ 6857994 h 6857994"/>
              <a:gd name="connsiteX850" fmla="*/ 11617591 w 12191989"/>
              <a:gd name="connsiteY850" fmla="*/ 6857994 h 6857994"/>
              <a:gd name="connsiteX851" fmla="*/ 11617591 w 12191989"/>
              <a:gd name="connsiteY851" fmla="*/ 6587994 h 6857994"/>
              <a:gd name="connsiteX852" fmla="*/ 11606791 w 12191989"/>
              <a:gd name="connsiteY852" fmla="*/ 6587994 h 6857994"/>
              <a:gd name="connsiteX853" fmla="*/ 11606791 w 12191989"/>
              <a:gd name="connsiteY853" fmla="*/ 6857994 h 6857994"/>
              <a:gd name="connsiteX854" fmla="*/ 0 w 12191989"/>
              <a:gd name="connsiteY854"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Lst>
            <a:rect l="l" t="t" r="r" b="b"/>
            <a:pathLst>
              <a:path w="12191989" h="6857994">
                <a:moveTo>
                  <a:pt x="10102128" y="526030"/>
                </a:moveTo>
                <a:lnTo>
                  <a:pt x="10102067" y="526157"/>
                </a:lnTo>
                <a:lnTo>
                  <a:pt x="10102067" y="526069"/>
                </a:lnTo>
                <a:close/>
                <a:moveTo>
                  <a:pt x="10230602" y="526030"/>
                </a:moveTo>
                <a:lnTo>
                  <a:pt x="10230541" y="526157"/>
                </a:lnTo>
                <a:lnTo>
                  <a:pt x="10230541" y="526069"/>
                </a:lnTo>
                <a:close/>
                <a:moveTo>
                  <a:pt x="9520726" y="526030"/>
                </a:moveTo>
                <a:lnTo>
                  <a:pt x="9520663" y="526158"/>
                </a:lnTo>
                <a:lnTo>
                  <a:pt x="9520663" y="526070"/>
                </a:lnTo>
                <a:close/>
                <a:moveTo>
                  <a:pt x="9935527" y="525952"/>
                </a:moveTo>
                <a:lnTo>
                  <a:pt x="9935428" y="526157"/>
                </a:lnTo>
                <a:lnTo>
                  <a:pt x="9935341" y="526069"/>
                </a:lnTo>
                <a:close/>
                <a:moveTo>
                  <a:pt x="10035081" y="516986"/>
                </a:moveTo>
                <a:cubicBezTo>
                  <a:pt x="10044601" y="516986"/>
                  <a:pt x="10055693" y="519169"/>
                  <a:pt x="10054645" y="530348"/>
                </a:cubicBezTo>
                <a:cubicBezTo>
                  <a:pt x="10053771" y="540479"/>
                  <a:pt x="10044601" y="543361"/>
                  <a:pt x="10035342" y="543361"/>
                </a:cubicBezTo>
                <a:cubicBezTo>
                  <a:pt x="10032548" y="543361"/>
                  <a:pt x="10029928" y="543361"/>
                  <a:pt x="10027395" y="542488"/>
                </a:cubicBezTo>
                <a:close/>
                <a:moveTo>
                  <a:pt x="9532105" y="513319"/>
                </a:moveTo>
                <a:cubicBezTo>
                  <a:pt x="9534462" y="513319"/>
                  <a:pt x="9535510" y="514367"/>
                  <a:pt x="9535249" y="516899"/>
                </a:cubicBezTo>
                <a:lnTo>
                  <a:pt x="9520726" y="526030"/>
                </a:lnTo>
                <a:lnTo>
                  <a:pt x="9524768" y="517860"/>
                </a:lnTo>
                <a:cubicBezTo>
                  <a:pt x="9527039" y="514716"/>
                  <a:pt x="9529484" y="513319"/>
                  <a:pt x="9532105" y="513319"/>
                </a:cubicBezTo>
                <a:close/>
                <a:moveTo>
                  <a:pt x="10113421" y="513318"/>
                </a:moveTo>
                <a:cubicBezTo>
                  <a:pt x="10115779" y="513318"/>
                  <a:pt x="10116914" y="514366"/>
                  <a:pt x="10116653" y="516899"/>
                </a:cubicBezTo>
                <a:lnTo>
                  <a:pt x="10102128" y="526030"/>
                </a:lnTo>
                <a:lnTo>
                  <a:pt x="10106084" y="517860"/>
                </a:lnTo>
                <a:cubicBezTo>
                  <a:pt x="10108443" y="514715"/>
                  <a:pt x="10110888" y="513318"/>
                  <a:pt x="10113421" y="513318"/>
                </a:cubicBezTo>
                <a:close/>
                <a:moveTo>
                  <a:pt x="9946783" y="513318"/>
                </a:moveTo>
                <a:cubicBezTo>
                  <a:pt x="9949140" y="513318"/>
                  <a:pt x="9950188" y="514366"/>
                  <a:pt x="9949927" y="516899"/>
                </a:cubicBezTo>
                <a:lnTo>
                  <a:pt x="9935527" y="525952"/>
                </a:lnTo>
                <a:lnTo>
                  <a:pt x="9939446" y="517860"/>
                </a:lnTo>
                <a:cubicBezTo>
                  <a:pt x="9941804" y="514716"/>
                  <a:pt x="9944162" y="513318"/>
                  <a:pt x="9946783" y="513318"/>
                </a:cubicBezTo>
                <a:close/>
                <a:moveTo>
                  <a:pt x="10241895" y="513318"/>
                </a:moveTo>
                <a:cubicBezTo>
                  <a:pt x="10244427" y="513318"/>
                  <a:pt x="10245388" y="514366"/>
                  <a:pt x="10245126" y="516898"/>
                </a:cubicBezTo>
                <a:lnTo>
                  <a:pt x="10230602" y="526030"/>
                </a:lnTo>
                <a:lnTo>
                  <a:pt x="10234558" y="517859"/>
                </a:lnTo>
                <a:cubicBezTo>
                  <a:pt x="10236917" y="514715"/>
                  <a:pt x="10239362" y="513318"/>
                  <a:pt x="10241895" y="513318"/>
                </a:cubicBezTo>
                <a:close/>
                <a:moveTo>
                  <a:pt x="9709311" y="512707"/>
                </a:moveTo>
                <a:cubicBezTo>
                  <a:pt x="9711582" y="512707"/>
                  <a:pt x="9713242" y="513581"/>
                  <a:pt x="9714290" y="515502"/>
                </a:cubicBezTo>
                <a:cubicBezTo>
                  <a:pt x="9715076" y="517161"/>
                  <a:pt x="9715425" y="519170"/>
                  <a:pt x="9715076" y="521790"/>
                </a:cubicBezTo>
                <a:cubicBezTo>
                  <a:pt x="9714639" y="526594"/>
                  <a:pt x="9713067" y="531398"/>
                  <a:pt x="9710534" y="535677"/>
                </a:cubicBezTo>
                <a:lnTo>
                  <a:pt x="9710621" y="535764"/>
                </a:lnTo>
                <a:cubicBezTo>
                  <a:pt x="9707390" y="541004"/>
                  <a:pt x="9703722" y="543625"/>
                  <a:pt x="9699355" y="543625"/>
                </a:cubicBezTo>
                <a:cubicBezTo>
                  <a:pt x="9697172" y="543625"/>
                  <a:pt x="9695512" y="542577"/>
                  <a:pt x="9694464" y="540655"/>
                </a:cubicBezTo>
                <a:cubicBezTo>
                  <a:pt x="9693678" y="538995"/>
                  <a:pt x="9693329" y="536899"/>
                  <a:pt x="9693590" y="534454"/>
                </a:cubicBezTo>
                <a:cubicBezTo>
                  <a:pt x="9694028" y="529476"/>
                  <a:pt x="9695512" y="524760"/>
                  <a:pt x="9698045" y="520480"/>
                </a:cubicBezTo>
                <a:cubicBezTo>
                  <a:pt x="9701102" y="515240"/>
                  <a:pt x="9704858" y="512707"/>
                  <a:pt x="9709311" y="512707"/>
                </a:cubicBezTo>
                <a:close/>
                <a:moveTo>
                  <a:pt x="9355421" y="512445"/>
                </a:moveTo>
                <a:cubicBezTo>
                  <a:pt x="9357168" y="512445"/>
                  <a:pt x="9359002" y="512970"/>
                  <a:pt x="9360836" y="513931"/>
                </a:cubicBezTo>
                <a:lnTo>
                  <a:pt x="9359352" y="518909"/>
                </a:lnTo>
                <a:cubicBezTo>
                  <a:pt x="9358827" y="520568"/>
                  <a:pt x="9356032" y="524149"/>
                  <a:pt x="9351054" y="530001"/>
                </a:cubicBezTo>
                <a:cubicBezTo>
                  <a:pt x="9345727" y="536201"/>
                  <a:pt x="9342233" y="539258"/>
                  <a:pt x="9340399" y="539258"/>
                </a:cubicBezTo>
                <a:cubicBezTo>
                  <a:pt x="9339089" y="539258"/>
                  <a:pt x="9338565" y="538210"/>
                  <a:pt x="9338740" y="536376"/>
                </a:cubicBezTo>
                <a:cubicBezTo>
                  <a:pt x="9339176" y="531659"/>
                  <a:pt x="9340923" y="526681"/>
                  <a:pt x="9343892" y="521528"/>
                </a:cubicBezTo>
                <a:cubicBezTo>
                  <a:pt x="9347474" y="515328"/>
                  <a:pt x="9351317" y="512445"/>
                  <a:pt x="9355421" y="512445"/>
                </a:cubicBezTo>
                <a:close/>
                <a:moveTo>
                  <a:pt x="9475073" y="512445"/>
                </a:moveTo>
                <a:cubicBezTo>
                  <a:pt x="9476994" y="512445"/>
                  <a:pt x="9478654" y="512882"/>
                  <a:pt x="9480313" y="513668"/>
                </a:cubicBezTo>
                <a:lnTo>
                  <a:pt x="9478829" y="518908"/>
                </a:lnTo>
                <a:lnTo>
                  <a:pt x="9478741" y="518908"/>
                </a:lnTo>
                <a:cubicBezTo>
                  <a:pt x="9478130" y="521004"/>
                  <a:pt x="9475422" y="524672"/>
                  <a:pt x="9470356" y="530088"/>
                </a:cubicBezTo>
                <a:cubicBezTo>
                  <a:pt x="9465291" y="535502"/>
                  <a:pt x="9461972" y="538210"/>
                  <a:pt x="9460313" y="538210"/>
                </a:cubicBezTo>
                <a:cubicBezTo>
                  <a:pt x="9459265" y="538210"/>
                  <a:pt x="9458915" y="537249"/>
                  <a:pt x="9459090" y="535328"/>
                </a:cubicBezTo>
                <a:cubicBezTo>
                  <a:pt x="9459526" y="530873"/>
                  <a:pt x="9461186" y="526070"/>
                  <a:pt x="9464068" y="521092"/>
                </a:cubicBezTo>
                <a:cubicBezTo>
                  <a:pt x="9467474" y="515240"/>
                  <a:pt x="9471143" y="512445"/>
                  <a:pt x="9475073" y="512445"/>
                </a:cubicBezTo>
                <a:close/>
                <a:moveTo>
                  <a:pt x="9488872" y="502227"/>
                </a:moveTo>
                <a:cubicBezTo>
                  <a:pt x="9483720" y="502227"/>
                  <a:pt x="9477343" y="502489"/>
                  <a:pt x="9477343" y="502489"/>
                </a:cubicBezTo>
                <a:cubicBezTo>
                  <a:pt x="9469047" y="502489"/>
                  <a:pt x="9461099" y="506594"/>
                  <a:pt x="9453587" y="514803"/>
                </a:cubicBezTo>
                <a:cubicBezTo>
                  <a:pt x="9446339" y="522751"/>
                  <a:pt x="9442321" y="531223"/>
                  <a:pt x="9441535" y="539782"/>
                </a:cubicBezTo>
                <a:cubicBezTo>
                  <a:pt x="9441186" y="543363"/>
                  <a:pt x="9441884" y="546419"/>
                  <a:pt x="9443631" y="548777"/>
                </a:cubicBezTo>
                <a:cubicBezTo>
                  <a:pt x="9445465" y="551398"/>
                  <a:pt x="9448173" y="552620"/>
                  <a:pt x="9451666" y="552620"/>
                </a:cubicBezTo>
                <a:cubicBezTo>
                  <a:pt x="9460051" y="552620"/>
                  <a:pt x="9467911" y="545808"/>
                  <a:pt x="9475247" y="532096"/>
                </a:cubicBezTo>
                <a:lnTo>
                  <a:pt x="9477343" y="532096"/>
                </a:lnTo>
                <a:cubicBezTo>
                  <a:pt x="9476208" y="535940"/>
                  <a:pt x="9474898" y="539869"/>
                  <a:pt x="9473675" y="543712"/>
                </a:cubicBezTo>
                <a:cubicBezTo>
                  <a:pt x="9471929" y="549215"/>
                  <a:pt x="9470095" y="553407"/>
                  <a:pt x="9468086" y="556114"/>
                </a:cubicBezTo>
                <a:cubicBezTo>
                  <a:pt x="9465291" y="560044"/>
                  <a:pt x="9461972" y="561879"/>
                  <a:pt x="9458129" y="561879"/>
                </a:cubicBezTo>
                <a:cubicBezTo>
                  <a:pt x="9452365" y="561879"/>
                  <a:pt x="9445465" y="559870"/>
                  <a:pt x="9437430" y="555764"/>
                </a:cubicBezTo>
                <a:lnTo>
                  <a:pt x="9438740" y="570524"/>
                </a:lnTo>
                <a:cubicBezTo>
                  <a:pt x="9442933" y="571485"/>
                  <a:pt x="9448260" y="571922"/>
                  <a:pt x="9454548" y="571922"/>
                </a:cubicBezTo>
                <a:cubicBezTo>
                  <a:pt x="9472452" y="571922"/>
                  <a:pt x="9483544" y="564498"/>
                  <a:pt x="9487650" y="549826"/>
                </a:cubicBezTo>
                <a:lnTo>
                  <a:pt x="9500925" y="502227"/>
                </a:lnTo>
                <a:cubicBezTo>
                  <a:pt x="9498304" y="502227"/>
                  <a:pt x="9494287" y="502314"/>
                  <a:pt x="9489047" y="502227"/>
                </a:cubicBezTo>
                <a:close/>
                <a:moveTo>
                  <a:pt x="9538916" y="502227"/>
                </a:moveTo>
                <a:cubicBezTo>
                  <a:pt x="9529833" y="502227"/>
                  <a:pt x="9521449" y="505720"/>
                  <a:pt x="9513938" y="512794"/>
                </a:cubicBezTo>
                <a:cubicBezTo>
                  <a:pt x="9506253" y="519694"/>
                  <a:pt x="9502061" y="527991"/>
                  <a:pt x="9501187" y="537424"/>
                </a:cubicBezTo>
                <a:cubicBezTo>
                  <a:pt x="9500663" y="542838"/>
                  <a:pt x="9502410" y="547030"/>
                  <a:pt x="9506340" y="550175"/>
                </a:cubicBezTo>
                <a:cubicBezTo>
                  <a:pt x="9509833" y="552795"/>
                  <a:pt x="9514375" y="554106"/>
                  <a:pt x="9519965" y="554106"/>
                </a:cubicBezTo>
                <a:cubicBezTo>
                  <a:pt x="9526864" y="554106"/>
                  <a:pt x="9535423" y="552271"/>
                  <a:pt x="9545729" y="548690"/>
                </a:cubicBezTo>
                <a:lnTo>
                  <a:pt x="9549397" y="536376"/>
                </a:lnTo>
                <a:cubicBezTo>
                  <a:pt x="9540401" y="541267"/>
                  <a:pt x="9532803" y="543625"/>
                  <a:pt x="9526602" y="543625"/>
                </a:cubicBezTo>
                <a:lnTo>
                  <a:pt x="9526602" y="543537"/>
                </a:lnTo>
                <a:cubicBezTo>
                  <a:pt x="9520837" y="543537"/>
                  <a:pt x="9518131" y="541092"/>
                  <a:pt x="9518567" y="536026"/>
                </a:cubicBezTo>
                <a:cubicBezTo>
                  <a:pt x="9525554" y="536026"/>
                  <a:pt x="9532366" y="534017"/>
                  <a:pt x="9538916" y="530088"/>
                </a:cubicBezTo>
                <a:cubicBezTo>
                  <a:pt x="9546340" y="525459"/>
                  <a:pt x="9550358" y="519869"/>
                  <a:pt x="9550969" y="513319"/>
                </a:cubicBezTo>
                <a:cubicBezTo>
                  <a:pt x="9551319" y="509738"/>
                  <a:pt x="9550183" y="507030"/>
                  <a:pt x="9547650" y="504934"/>
                </a:cubicBezTo>
                <a:cubicBezTo>
                  <a:pt x="9545292" y="503100"/>
                  <a:pt x="9542410" y="502227"/>
                  <a:pt x="9538916" y="502227"/>
                </a:cubicBezTo>
                <a:close/>
                <a:moveTo>
                  <a:pt x="9953595" y="502226"/>
                </a:moveTo>
                <a:cubicBezTo>
                  <a:pt x="9944512" y="502226"/>
                  <a:pt x="9936127" y="505720"/>
                  <a:pt x="9928617" y="512794"/>
                </a:cubicBezTo>
                <a:cubicBezTo>
                  <a:pt x="9920931" y="519694"/>
                  <a:pt x="9916739" y="527991"/>
                  <a:pt x="9915865" y="537423"/>
                </a:cubicBezTo>
                <a:cubicBezTo>
                  <a:pt x="9915341" y="542838"/>
                  <a:pt x="9917088" y="547030"/>
                  <a:pt x="9921018" y="550174"/>
                </a:cubicBezTo>
                <a:cubicBezTo>
                  <a:pt x="9924599" y="552795"/>
                  <a:pt x="9929140" y="554105"/>
                  <a:pt x="9934643" y="554105"/>
                </a:cubicBezTo>
                <a:cubicBezTo>
                  <a:pt x="9941543" y="554105"/>
                  <a:pt x="9950188" y="552270"/>
                  <a:pt x="9960495" y="548690"/>
                </a:cubicBezTo>
                <a:lnTo>
                  <a:pt x="9964075" y="536375"/>
                </a:lnTo>
                <a:cubicBezTo>
                  <a:pt x="9955079" y="541266"/>
                  <a:pt x="9947482" y="543624"/>
                  <a:pt x="9941280" y="543624"/>
                </a:cubicBezTo>
                <a:lnTo>
                  <a:pt x="9941280" y="543536"/>
                </a:lnTo>
                <a:cubicBezTo>
                  <a:pt x="9935516" y="543536"/>
                  <a:pt x="9932809" y="541091"/>
                  <a:pt x="9933158" y="536026"/>
                </a:cubicBezTo>
                <a:cubicBezTo>
                  <a:pt x="9940145" y="536026"/>
                  <a:pt x="9947044" y="534017"/>
                  <a:pt x="9953595" y="530087"/>
                </a:cubicBezTo>
                <a:cubicBezTo>
                  <a:pt x="9960931" y="525458"/>
                  <a:pt x="9965036" y="519869"/>
                  <a:pt x="9965648" y="513318"/>
                </a:cubicBezTo>
                <a:cubicBezTo>
                  <a:pt x="9965997" y="509737"/>
                  <a:pt x="9964949" y="507030"/>
                  <a:pt x="9962329" y="504934"/>
                </a:cubicBezTo>
                <a:cubicBezTo>
                  <a:pt x="9959970" y="503100"/>
                  <a:pt x="9957001" y="502226"/>
                  <a:pt x="9953595" y="502226"/>
                </a:cubicBezTo>
                <a:close/>
                <a:moveTo>
                  <a:pt x="10120408" y="502226"/>
                </a:moveTo>
                <a:cubicBezTo>
                  <a:pt x="10111237" y="502226"/>
                  <a:pt x="10102940" y="505720"/>
                  <a:pt x="10095254" y="512794"/>
                </a:cubicBezTo>
                <a:cubicBezTo>
                  <a:pt x="10087744" y="519693"/>
                  <a:pt x="10083465" y="527991"/>
                  <a:pt x="10082591" y="537423"/>
                </a:cubicBezTo>
                <a:cubicBezTo>
                  <a:pt x="10082067" y="542838"/>
                  <a:pt x="10083814" y="547030"/>
                  <a:pt x="10087744" y="550174"/>
                </a:cubicBezTo>
                <a:cubicBezTo>
                  <a:pt x="10091237" y="552795"/>
                  <a:pt x="10095779" y="554105"/>
                  <a:pt x="10101281" y="554105"/>
                </a:cubicBezTo>
                <a:cubicBezTo>
                  <a:pt x="10108268" y="554105"/>
                  <a:pt x="10116827" y="552270"/>
                  <a:pt x="10127045" y="548690"/>
                </a:cubicBezTo>
                <a:lnTo>
                  <a:pt x="10130714" y="536375"/>
                </a:lnTo>
                <a:cubicBezTo>
                  <a:pt x="10121718" y="541266"/>
                  <a:pt x="10114032" y="543624"/>
                  <a:pt x="10107919" y="543624"/>
                </a:cubicBezTo>
                <a:lnTo>
                  <a:pt x="10108006" y="543536"/>
                </a:lnTo>
                <a:cubicBezTo>
                  <a:pt x="10102241" y="543536"/>
                  <a:pt x="10099535" y="541091"/>
                  <a:pt x="10099971" y="536026"/>
                </a:cubicBezTo>
                <a:cubicBezTo>
                  <a:pt x="10106958" y="536026"/>
                  <a:pt x="10113770" y="534017"/>
                  <a:pt x="10120321" y="530087"/>
                </a:cubicBezTo>
                <a:cubicBezTo>
                  <a:pt x="10127657" y="525458"/>
                  <a:pt x="10131762" y="519869"/>
                  <a:pt x="10132374" y="513318"/>
                </a:cubicBezTo>
                <a:cubicBezTo>
                  <a:pt x="10132723" y="509737"/>
                  <a:pt x="10131587" y="507030"/>
                  <a:pt x="10129054" y="504934"/>
                </a:cubicBezTo>
                <a:cubicBezTo>
                  <a:pt x="10126784" y="503100"/>
                  <a:pt x="10123901" y="502226"/>
                  <a:pt x="10120408" y="502226"/>
                </a:cubicBezTo>
                <a:close/>
                <a:moveTo>
                  <a:pt x="10248882" y="502226"/>
                </a:moveTo>
                <a:cubicBezTo>
                  <a:pt x="10239798" y="502226"/>
                  <a:pt x="10231414" y="505719"/>
                  <a:pt x="10223903" y="512793"/>
                </a:cubicBezTo>
                <a:cubicBezTo>
                  <a:pt x="10216305" y="519693"/>
                  <a:pt x="10212026" y="527991"/>
                  <a:pt x="10211152" y="537423"/>
                </a:cubicBezTo>
                <a:cubicBezTo>
                  <a:pt x="10210628" y="542837"/>
                  <a:pt x="10212375" y="547030"/>
                  <a:pt x="10216305" y="550174"/>
                </a:cubicBezTo>
                <a:cubicBezTo>
                  <a:pt x="10219798" y="552794"/>
                  <a:pt x="10224253" y="554105"/>
                  <a:pt x="10229842" y="554105"/>
                </a:cubicBezTo>
                <a:cubicBezTo>
                  <a:pt x="10236654" y="554105"/>
                  <a:pt x="10245301" y="552270"/>
                  <a:pt x="10255606" y="548689"/>
                </a:cubicBezTo>
                <a:lnTo>
                  <a:pt x="10259188" y="536375"/>
                </a:lnTo>
                <a:cubicBezTo>
                  <a:pt x="10250192" y="541266"/>
                  <a:pt x="10242506" y="543624"/>
                  <a:pt x="10236392" y="543624"/>
                </a:cubicBezTo>
                <a:lnTo>
                  <a:pt x="10236480" y="543536"/>
                </a:lnTo>
                <a:cubicBezTo>
                  <a:pt x="10230715" y="543536"/>
                  <a:pt x="10228008" y="541091"/>
                  <a:pt x="10228445" y="536025"/>
                </a:cubicBezTo>
                <a:cubicBezTo>
                  <a:pt x="10235432" y="536025"/>
                  <a:pt x="10242244" y="534017"/>
                  <a:pt x="10248794" y="530087"/>
                </a:cubicBezTo>
                <a:cubicBezTo>
                  <a:pt x="10256218" y="525458"/>
                  <a:pt x="10260323" y="519868"/>
                  <a:pt x="10260935" y="513318"/>
                </a:cubicBezTo>
                <a:cubicBezTo>
                  <a:pt x="10261284" y="509737"/>
                  <a:pt x="10260148" y="507030"/>
                  <a:pt x="10257615" y="504933"/>
                </a:cubicBezTo>
                <a:cubicBezTo>
                  <a:pt x="10255345" y="503099"/>
                  <a:pt x="10252375" y="502226"/>
                  <a:pt x="10248882" y="502226"/>
                </a:cubicBezTo>
                <a:close/>
                <a:moveTo>
                  <a:pt x="10313162" y="502225"/>
                </a:moveTo>
                <a:cubicBezTo>
                  <a:pt x="10308620" y="502225"/>
                  <a:pt x="10303729" y="504758"/>
                  <a:pt x="10298663" y="510085"/>
                </a:cubicBezTo>
                <a:cubicBezTo>
                  <a:pt x="10294646" y="514103"/>
                  <a:pt x="10291327" y="518819"/>
                  <a:pt x="10288445" y="524322"/>
                </a:cubicBezTo>
                <a:lnTo>
                  <a:pt x="10287310" y="524322"/>
                </a:lnTo>
                <a:cubicBezTo>
                  <a:pt x="10287310" y="524322"/>
                  <a:pt x="10294646" y="502488"/>
                  <a:pt x="10294646" y="502488"/>
                </a:cubicBezTo>
                <a:lnTo>
                  <a:pt x="10277616" y="502488"/>
                </a:lnTo>
                <a:cubicBezTo>
                  <a:pt x="10277616" y="502488"/>
                  <a:pt x="10262943" y="553055"/>
                  <a:pt x="10262943" y="553055"/>
                </a:cubicBezTo>
                <a:lnTo>
                  <a:pt x="10280148" y="553055"/>
                </a:lnTo>
                <a:lnTo>
                  <a:pt x="10284602" y="537597"/>
                </a:lnTo>
                <a:cubicBezTo>
                  <a:pt x="10285563" y="534540"/>
                  <a:pt x="10288532" y="530436"/>
                  <a:pt x="10293598" y="525370"/>
                </a:cubicBezTo>
                <a:cubicBezTo>
                  <a:pt x="10298926" y="520042"/>
                  <a:pt x="10303031" y="517423"/>
                  <a:pt x="10306088" y="517423"/>
                </a:cubicBezTo>
                <a:cubicBezTo>
                  <a:pt x="10307310" y="517423"/>
                  <a:pt x="10310018" y="517771"/>
                  <a:pt x="10311327" y="518558"/>
                </a:cubicBezTo>
                <a:lnTo>
                  <a:pt x="10317179" y="503273"/>
                </a:lnTo>
                <a:lnTo>
                  <a:pt x="10317354" y="503273"/>
                </a:lnTo>
                <a:cubicBezTo>
                  <a:pt x="10316306" y="502575"/>
                  <a:pt x="10314821" y="502225"/>
                  <a:pt x="10313162" y="502225"/>
                </a:cubicBezTo>
                <a:close/>
                <a:moveTo>
                  <a:pt x="9783810" y="502140"/>
                </a:moveTo>
                <a:cubicBezTo>
                  <a:pt x="9779357" y="502140"/>
                  <a:pt x="9774553" y="504672"/>
                  <a:pt x="9769400" y="510000"/>
                </a:cubicBezTo>
                <a:cubicBezTo>
                  <a:pt x="9765557" y="514018"/>
                  <a:pt x="9762063" y="518733"/>
                  <a:pt x="9759181" y="524236"/>
                </a:cubicBezTo>
                <a:lnTo>
                  <a:pt x="9758133" y="524236"/>
                </a:lnTo>
                <a:cubicBezTo>
                  <a:pt x="9758133" y="524236"/>
                  <a:pt x="9765644" y="502314"/>
                  <a:pt x="9765644" y="502314"/>
                </a:cubicBezTo>
                <a:lnTo>
                  <a:pt x="9748614" y="502314"/>
                </a:lnTo>
                <a:cubicBezTo>
                  <a:pt x="9748614" y="502314"/>
                  <a:pt x="9733766" y="552969"/>
                  <a:pt x="9733766" y="552969"/>
                </a:cubicBezTo>
                <a:lnTo>
                  <a:pt x="9751059" y="552969"/>
                </a:lnTo>
                <a:lnTo>
                  <a:pt x="9755513" y="537424"/>
                </a:lnTo>
                <a:cubicBezTo>
                  <a:pt x="9756474" y="534367"/>
                  <a:pt x="9759444" y="530349"/>
                  <a:pt x="9764509" y="525197"/>
                </a:cubicBezTo>
                <a:cubicBezTo>
                  <a:pt x="9769836" y="519869"/>
                  <a:pt x="9774028" y="517249"/>
                  <a:pt x="9776998" y="517249"/>
                </a:cubicBezTo>
                <a:cubicBezTo>
                  <a:pt x="9778308" y="517249"/>
                  <a:pt x="9781452" y="517249"/>
                  <a:pt x="9782588" y="518384"/>
                </a:cubicBezTo>
                <a:lnTo>
                  <a:pt x="9787479" y="502751"/>
                </a:lnTo>
                <a:lnTo>
                  <a:pt x="9787479" y="502663"/>
                </a:lnTo>
                <a:cubicBezTo>
                  <a:pt x="9786344" y="502052"/>
                  <a:pt x="9785470" y="502140"/>
                  <a:pt x="9783810" y="502140"/>
                </a:cubicBezTo>
                <a:close/>
                <a:moveTo>
                  <a:pt x="9381535" y="502140"/>
                </a:moveTo>
                <a:cubicBezTo>
                  <a:pt x="9378740" y="502140"/>
                  <a:pt x="9375334" y="502314"/>
                  <a:pt x="9369657" y="502227"/>
                </a:cubicBezTo>
                <a:cubicBezTo>
                  <a:pt x="9364330" y="502140"/>
                  <a:pt x="9359701" y="502402"/>
                  <a:pt x="9356906" y="502402"/>
                </a:cubicBezTo>
                <a:cubicBezTo>
                  <a:pt x="9348784" y="502402"/>
                  <a:pt x="9340836" y="506856"/>
                  <a:pt x="9333237" y="515677"/>
                </a:cubicBezTo>
                <a:cubicBezTo>
                  <a:pt x="9325988" y="524062"/>
                  <a:pt x="9321884" y="532533"/>
                  <a:pt x="9321097" y="541092"/>
                </a:cubicBezTo>
                <a:cubicBezTo>
                  <a:pt x="9320748" y="544498"/>
                  <a:pt x="9321446" y="547468"/>
                  <a:pt x="9323193" y="550088"/>
                </a:cubicBezTo>
                <a:cubicBezTo>
                  <a:pt x="9325027" y="552708"/>
                  <a:pt x="9327648" y="554106"/>
                  <a:pt x="9330879" y="554106"/>
                </a:cubicBezTo>
                <a:cubicBezTo>
                  <a:pt x="9335421" y="554106"/>
                  <a:pt x="9340224" y="551485"/>
                  <a:pt x="9345290" y="546245"/>
                </a:cubicBezTo>
                <a:cubicBezTo>
                  <a:pt x="9349220" y="542053"/>
                  <a:pt x="9352714" y="537337"/>
                  <a:pt x="9355509" y="532009"/>
                </a:cubicBezTo>
                <a:lnTo>
                  <a:pt x="9356644" y="532009"/>
                </a:lnTo>
                <a:cubicBezTo>
                  <a:pt x="9356644" y="532009"/>
                  <a:pt x="9349570" y="552970"/>
                  <a:pt x="9349570" y="552970"/>
                </a:cubicBezTo>
                <a:lnTo>
                  <a:pt x="9366688" y="552970"/>
                </a:lnTo>
                <a:cubicBezTo>
                  <a:pt x="9366688" y="552970"/>
                  <a:pt x="9381535" y="502140"/>
                  <a:pt x="9381535" y="502140"/>
                </a:cubicBezTo>
                <a:close/>
                <a:moveTo>
                  <a:pt x="9713853" y="502139"/>
                </a:moveTo>
                <a:cubicBezTo>
                  <a:pt x="9704682" y="502139"/>
                  <a:pt x="9696385" y="505633"/>
                  <a:pt x="9688700" y="512707"/>
                </a:cubicBezTo>
                <a:cubicBezTo>
                  <a:pt x="9681189" y="519607"/>
                  <a:pt x="9676910" y="527904"/>
                  <a:pt x="9676036" y="537424"/>
                </a:cubicBezTo>
                <a:cubicBezTo>
                  <a:pt x="9675599" y="542751"/>
                  <a:pt x="9677259" y="547030"/>
                  <a:pt x="9681189" y="550087"/>
                </a:cubicBezTo>
                <a:cubicBezTo>
                  <a:pt x="9684682" y="552708"/>
                  <a:pt x="9689224" y="554017"/>
                  <a:pt x="9694726" y="554017"/>
                </a:cubicBezTo>
                <a:cubicBezTo>
                  <a:pt x="9703722" y="554017"/>
                  <a:pt x="9712194" y="550437"/>
                  <a:pt x="9719792" y="543187"/>
                </a:cubicBezTo>
                <a:cubicBezTo>
                  <a:pt x="9727477" y="536026"/>
                  <a:pt x="9731669" y="527729"/>
                  <a:pt x="9732543" y="518472"/>
                </a:cubicBezTo>
                <a:cubicBezTo>
                  <a:pt x="9733068" y="513231"/>
                  <a:pt x="9731320" y="508951"/>
                  <a:pt x="9727390" y="505982"/>
                </a:cubicBezTo>
                <a:lnTo>
                  <a:pt x="9727390" y="506069"/>
                </a:lnTo>
                <a:cubicBezTo>
                  <a:pt x="9723897" y="503362"/>
                  <a:pt x="9719355" y="502139"/>
                  <a:pt x="9713853" y="502139"/>
                </a:cubicBezTo>
                <a:close/>
                <a:moveTo>
                  <a:pt x="9429744" y="502050"/>
                </a:moveTo>
                <a:cubicBezTo>
                  <a:pt x="9425202" y="502050"/>
                  <a:pt x="9420312" y="504583"/>
                  <a:pt x="9415246" y="509911"/>
                </a:cubicBezTo>
                <a:cubicBezTo>
                  <a:pt x="9411316" y="513841"/>
                  <a:pt x="9407910" y="518732"/>
                  <a:pt x="9405027" y="524146"/>
                </a:cubicBezTo>
                <a:lnTo>
                  <a:pt x="9403892" y="524146"/>
                </a:lnTo>
                <a:cubicBezTo>
                  <a:pt x="9403892" y="524146"/>
                  <a:pt x="9411316" y="502137"/>
                  <a:pt x="9411316" y="502137"/>
                </a:cubicBezTo>
                <a:lnTo>
                  <a:pt x="9394198" y="502137"/>
                </a:lnTo>
                <a:cubicBezTo>
                  <a:pt x="9394198" y="502137"/>
                  <a:pt x="9379438" y="552881"/>
                  <a:pt x="9379438" y="552881"/>
                </a:cubicBezTo>
                <a:lnTo>
                  <a:pt x="9396643" y="552881"/>
                </a:lnTo>
                <a:lnTo>
                  <a:pt x="9401185" y="537422"/>
                </a:lnTo>
                <a:cubicBezTo>
                  <a:pt x="9401709" y="535675"/>
                  <a:pt x="9404242" y="532181"/>
                  <a:pt x="9408783" y="526854"/>
                </a:cubicBezTo>
                <a:cubicBezTo>
                  <a:pt x="9413412" y="521701"/>
                  <a:pt x="9417167" y="518120"/>
                  <a:pt x="9418390" y="517684"/>
                </a:cubicBezTo>
                <a:cubicBezTo>
                  <a:pt x="9419526" y="517247"/>
                  <a:pt x="9419176" y="519081"/>
                  <a:pt x="9419176" y="519081"/>
                </a:cubicBezTo>
                <a:cubicBezTo>
                  <a:pt x="9418390" y="525020"/>
                  <a:pt x="9409482" y="552968"/>
                  <a:pt x="9409482" y="552968"/>
                </a:cubicBezTo>
                <a:lnTo>
                  <a:pt x="9426600" y="552968"/>
                </a:lnTo>
                <a:lnTo>
                  <a:pt x="9426862" y="552881"/>
                </a:lnTo>
                <a:lnTo>
                  <a:pt x="9437605" y="515063"/>
                </a:lnTo>
                <a:cubicBezTo>
                  <a:pt x="9439263" y="509037"/>
                  <a:pt x="9437605" y="506330"/>
                  <a:pt x="9436557" y="504932"/>
                </a:cubicBezTo>
                <a:cubicBezTo>
                  <a:pt x="9434810" y="503011"/>
                  <a:pt x="9432539" y="502050"/>
                  <a:pt x="9429744" y="502050"/>
                </a:cubicBezTo>
                <a:close/>
                <a:moveTo>
                  <a:pt x="9589485" y="501965"/>
                </a:moveTo>
                <a:cubicBezTo>
                  <a:pt x="9583633" y="501965"/>
                  <a:pt x="9578742" y="503013"/>
                  <a:pt x="9574550" y="505022"/>
                </a:cubicBezTo>
                <a:cubicBezTo>
                  <a:pt x="9569222" y="507729"/>
                  <a:pt x="9566340" y="512009"/>
                  <a:pt x="9565816" y="517249"/>
                </a:cubicBezTo>
                <a:cubicBezTo>
                  <a:pt x="9565554" y="520218"/>
                  <a:pt x="9566428" y="523188"/>
                  <a:pt x="9568611" y="526157"/>
                </a:cubicBezTo>
                <a:cubicBezTo>
                  <a:pt x="9570620" y="528341"/>
                  <a:pt x="9572629" y="530698"/>
                  <a:pt x="9574637" y="532794"/>
                </a:cubicBezTo>
                <a:cubicBezTo>
                  <a:pt x="9576820" y="535240"/>
                  <a:pt x="9577781" y="537423"/>
                  <a:pt x="9577607" y="539258"/>
                </a:cubicBezTo>
                <a:cubicBezTo>
                  <a:pt x="9577519" y="540655"/>
                  <a:pt x="9576820" y="541703"/>
                  <a:pt x="9575685" y="542576"/>
                </a:cubicBezTo>
                <a:cubicBezTo>
                  <a:pt x="9574550" y="543450"/>
                  <a:pt x="9573239" y="543973"/>
                  <a:pt x="9571842" y="543973"/>
                </a:cubicBezTo>
                <a:cubicBezTo>
                  <a:pt x="9568262" y="543973"/>
                  <a:pt x="9563284" y="542489"/>
                  <a:pt x="9556907" y="539520"/>
                </a:cubicBezTo>
                <a:lnTo>
                  <a:pt x="9553589" y="551223"/>
                </a:lnTo>
                <a:cubicBezTo>
                  <a:pt x="9560401" y="553057"/>
                  <a:pt x="9566165" y="553930"/>
                  <a:pt x="9570881" y="553930"/>
                </a:cubicBezTo>
                <a:cubicBezTo>
                  <a:pt x="9576995" y="553930"/>
                  <a:pt x="9582148" y="552707"/>
                  <a:pt x="9586340" y="550437"/>
                </a:cubicBezTo>
                <a:cubicBezTo>
                  <a:pt x="9591493" y="547555"/>
                  <a:pt x="9594462" y="543188"/>
                  <a:pt x="9594986" y="537423"/>
                </a:cubicBezTo>
                <a:cubicBezTo>
                  <a:pt x="9595248" y="534367"/>
                  <a:pt x="9594287" y="531485"/>
                  <a:pt x="9592017" y="528428"/>
                </a:cubicBezTo>
                <a:cubicBezTo>
                  <a:pt x="9591318" y="527729"/>
                  <a:pt x="9589135" y="525633"/>
                  <a:pt x="9585379" y="522053"/>
                </a:cubicBezTo>
                <a:cubicBezTo>
                  <a:pt x="9583108" y="519694"/>
                  <a:pt x="9581973" y="517859"/>
                  <a:pt x="9582148" y="516463"/>
                </a:cubicBezTo>
                <a:cubicBezTo>
                  <a:pt x="9582411" y="513493"/>
                  <a:pt x="9584768" y="512009"/>
                  <a:pt x="9589309" y="512009"/>
                </a:cubicBezTo>
                <a:cubicBezTo>
                  <a:pt x="9592541" y="512009"/>
                  <a:pt x="9595947" y="512707"/>
                  <a:pt x="9599965" y="514017"/>
                </a:cubicBezTo>
                <a:lnTo>
                  <a:pt x="9603021" y="503449"/>
                </a:lnTo>
                <a:lnTo>
                  <a:pt x="9602847" y="503449"/>
                </a:lnTo>
                <a:cubicBezTo>
                  <a:pt x="9594812" y="502488"/>
                  <a:pt x="9590357" y="501965"/>
                  <a:pt x="9589485" y="501965"/>
                </a:cubicBezTo>
                <a:close/>
                <a:moveTo>
                  <a:pt x="9849577" y="492969"/>
                </a:moveTo>
                <a:lnTo>
                  <a:pt x="9831672" y="495415"/>
                </a:lnTo>
                <a:cubicBezTo>
                  <a:pt x="9831672" y="495415"/>
                  <a:pt x="9823287" y="523013"/>
                  <a:pt x="9821629" y="528078"/>
                </a:cubicBezTo>
                <a:cubicBezTo>
                  <a:pt x="9819707" y="534454"/>
                  <a:pt x="9818484" y="539607"/>
                  <a:pt x="9818135" y="543538"/>
                </a:cubicBezTo>
                <a:cubicBezTo>
                  <a:pt x="9817786" y="547031"/>
                  <a:pt x="9818834" y="549826"/>
                  <a:pt x="9821191" y="551660"/>
                </a:cubicBezTo>
                <a:cubicBezTo>
                  <a:pt x="9823287" y="553231"/>
                  <a:pt x="9826170" y="554105"/>
                  <a:pt x="9829838" y="554105"/>
                </a:cubicBezTo>
                <a:cubicBezTo>
                  <a:pt x="9832895" y="554105"/>
                  <a:pt x="9837174" y="553319"/>
                  <a:pt x="9842677" y="551922"/>
                </a:cubicBezTo>
                <a:lnTo>
                  <a:pt x="9845821" y="541092"/>
                </a:lnTo>
                <a:cubicBezTo>
                  <a:pt x="9843725" y="542490"/>
                  <a:pt x="9841891" y="543100"/>
                  <a:pt x="9840318" y="543100"/>
                </a:cubicBezTo>
                <a:cubicBezTo>
                  <a:pt x="9837699" y="543100"/>
                  <a:pt x="9836563" y="541529"/>
                  <a:pt x="9836912" y="538297"/>
                </a:cubicBezTo>
                <a:cubicBezTo>
                  <a:pt x="9837174" y="534891"/>
                  <a:pt x="9838135" y="530699"/>
                  <a:pt x="9839707" y="525546"/>
                </a:cubicBezTo>
                <a:cubicBezTo>
                  <a:pt x="9841017" y="521441"/>
                  <a:pt x="9842327" y="517248"/>
                  <a:pt x="9843725" y="513144"/>
                </a:cubicBezTo>
                <a:lnTo>
                  <a:pt x="9852022" y="513144"/>
                </a:lnTo>
                <a:lnTo>
                  <a:pt x="9854904" y="503274"/>
                </a:lnTo>
                <a:lnTo>
                  <a:pt x="9854817" y="503274"/>
                </a:lnTo>
                <a:lnTo>
                  <a:pt x="9846520" y="503274"/>
                </a:lnTo>
                <a:close/>
                <a:moveTo>
                  <a:pt x="10170191" y="492969"/>
                </a:moveTo>
                <a:lnTo>
                  <a:pt x="10152286" y="495414"/>
                </a:lnTo>
                <a:cubicBezTo>
                  <a:pt x="10152286" y="495414"/>
                  <a:pt x="10143989" y="523013"/>
                  <a:pt x="10142330" y="528078"/>
                </a:cubicBezTo>
                <a:cubicBezTo>
                  <a:pt x="10140321" y="534454"/>
                  <a:pt x="10139185" y="539519"/>
                  <a:pt x="10138749" y="543537"/>
                </a:cubicBezTo>
                <a:cubicBezTo>
                  <a:pt x="10138400" y="547031"/>
                  <a:pt x="10139448" y="549826"/>
                  <a:pt x="10141805" y="551659"/>
                </a:cubicBezTo>
                <a:cubicBezTo>
                  <a:pt x="10143989" y="553319"/>
                  <a:pt x="10146784" y="554105"/>
                  <a:pt x="10150365" y="554105"/>
                </a:cubicBezTo>
                <a:cubicBezTo>
                  <a:pt x="10153596" y="554105"/>
                  <a:pt x="10157875" y="553319"/>
                  <a:pt x="10163378" y="551922"/>
                </a:cubicBezTo>
                <a:lnTo>
                  <a:pt x="10166522" y="541092"/>
                </a:lnTo>
                <a:cubicBezTo>
                  <a:pt x="10164426" y="542489"/>
                  <a:pt x="10162592" y="543100"/>
                  <a:pt x="10161019" y="543100"/>
                </a:cubicBezTo>
                <a:cubicBezTo>
                  <a:pt x="10158313" y="543100"/>
                  <a:pt x="10157265" y="541528"/>
                  <a:pt x="10157526" y="538297"/>
                </a:cubicBezTo>
                <a:cubicBezTo>
                  <a:pt x="10157963" y="534891"/>
                  <a:pt x="10158836" y="530699"/>
                  <a:pt x="10160409" y="525545"/>
                </a:cubicBezTo>
                <a:cubicBezTo>
                  <a:pt x="10161718" y="521528"/>
                  <a:pt x="10163028" y="516288"/>
                  <a:pt x="10164426" y="512270"/>
                </a:cubicBezTo>
                <a:lnTo>
                  <a:pt x="10172723" y="512270"/>
                </a:lnTo>
                <a:lnTo>
                  <a:pt x="10175605" y="502401"/>
                </a:lnTo>
                <a:lnTo>
                  <a:pt x="10167308" y="502401"/>
                </a:lnTo>
                <a:close/>
                <a:moveTo>
                  <a:pt x="10206872" y="492969"/>
                </a:moveTo>
                <a:lnTo>
                  <a:pt x="10188706" y="495414"/>
                </a:lnTo>
                <a:cubicBezTo>
                  <a:pt x="10188706" y="495414"/>
                  <a:pt x="10180234" y="523013"/>
                  <a:pt x="10178662" y="528078"/>
                </a:cubicBezTo>
                <a:cubicBezTo>
                  <a:pt x="10176653" y="534454"/>
                  <a:pt x="10175518" y="539519"/>
                  <a:pt x="10175169" y="543537"/>
                </a:cubicBezTo>
                <a:cubicBezTo>
                  <a:pt x="10174819" y="547031"/>
                  <a:pt x="10175780" y="549825"/>
                  <a:pt x="10178138" y="551659"/>
                </a:cubicBezTo>
                <a:cubicBezTo>
                  <a:pt x="10180322" y="553319"/>
                  <a:pt x="10183117" y="554105"/>
                  <a:pt x="10186784" y="554105"/>
                </a:cubicBezTo>
                <a:cubicBezTo>
                  <a:pt x="10189928" y="554105"/>
                  <a:pt x="10194209" y="553319"/>
                  <a:pt x="10200059" y="551922"/>
                </a:cubicBezTo>
                <a:lnTo>
                  <a:pt x="10203204" y="541092"/>
                </a:lnTo>
                <a:cubicBezTo>
                  <a:pt x="10201108" y="542489"/>
                  <a:pt x="10199274" y="543100"/>
                  <a:pt x="10197614" y="543100"/>
                </a:cubicBezTo>
                <a:cubicBezTo>
                  <a:pt x="10194732" y="543100"/>
                  <a:pt x="10193684" y="541528"/>
                  <a:pt x="10193946" y="538297"/>
                </a:cubicBezTo>
                <a:cubicBezTo>
                  <a:pt x="10194296" y="534891"/>
                  <a:pt x="10195256" y="530698"/>
                  <a:pt x="10196915" y="525545"/>
                </a:cubicBezTo>
                <a:cubicBezTo>
                  <a:pt x="10198400" y="521528"/>
                  <a:pt x="10199972" y="516288"/>
                  <a:pt x="10201370" y="512270"/>
                </a:cubicBezTo>
                <a:lnTo>
                  <a:pt x="10209579" y="512270"/>
                </a:lnTo>
                <a:lnTo>
                  <a:pt x="10212549" y="502401"/>
                </a:lnTo>
                <a:lnTo>
                  <a:pt x="10212462" y="502401"/>
                </a:lnTo>
                <a:lnTo>
                  <a:pt x="10204077" y="502401"/>
                </a:lnTo>
                <a:close/>
                <a:moveTo>
                  <a:pt x="9280048" y="482137"/>
                </a:moveTo>
                <a:cubicBezTo>
                  <a:pt x="9280048" y="482137"/>
                  <a:pt x="9259524" y="553055"/>
                  <a:pt x="9259524" y="553055"/>
                </a:cubicBezTo>
                <a:lnTo>
                  <a:pt x="9276729" y="553055"/>
                </a:lnTo>
                <a:lnTo>
                  <a:pt x="9281271" y="537509"/>
                </a:lnTo>
                <a:cubicBezTo>
                  <a:pt x="9281795" y="535762"/>
                  <a:pt x="9284328" y="532181"/>
                  <a:pt x="9288956" y="526941"/>
                </a:cubicBezTo>
                <a:cubicBezTo>
                  <a:pt x="9293586" y="521789"/>
                  <a:pt x="9297167" y="518294"/>
                  <a:pt x="9298564" y="517771"/>
                </a:cubicBezTo>
                <a:cubicBezTo>
                  <a:pt x="9299961" y="517247"/>
                  <a:pt x="9299350" y="519168"/>
                  <a:pt x="9299350" y="519168"/>
                </a:cubicBezTo>
                <a:cubicBezTo>
                  <a:pt x="9298215" y="524409"/>
                  <a:pt x="9289655" y="552968"/>
                  <a:pt x="9289655" y="552968"/>
                </a:cubicBezTo>
                <a:lnTo>
                  <a:pt x="9289830" y="552968"/>
                </a:lnTo>
                <a:lnTo>
                  <a:pt x="9306861" y="552968"/>
                </a:lnTo>
                <a:lnTo>
                  <a:pt x="9317603" y="515238"/>
                </a:lnTo>
                <a:cubicBezTo>
                  <a:pt x="9319263" y="509212"/>
                  <a:pt x="9317516" y="506505"/>
                  <a:pt x="9316468" y="505107"/>
                </a:cubicBezTo>
                <a:cubicBezTo>
                  <a:pt x="9314808" y="503185"/>
                  <a:pt x="9312538" y="502225"/>
                  <a:pt x="9309656" y="502225"/>
                </a:cubicBezTo>
                <a:cubicBezTo>
                  <a:pt x="9305115" y="502225"/>
                  <a:pt x="9300311" y="504758"/>
                  <a:pt x="9295158" y="510085"/>
                </a:cubicBezTo>
                <a:cubicBezTo>
                  <a:pt x="9291228" y="514103"/>
                  <a:pt x="9287821" y="518906"/>
                  <a:pt x="9284939" y="524321"/>
                </a:cubicBezTo>
                <a:lnTo>
                  <a:pt x="9283804" y="524321"/>
                </a:lnTo>
                <a:cubicBezTo>
                  <a:pt x="9288782" y="510435"/>
                  <a:pt x="9293237" y="496285"/>
                  <a:pt x="9297079" y="482137"/>
                </a:cubicBezTo>
                <a:close/>
                <a:moveTo>
                  <a:pt x="9874467" y="481963"/>
                </a:moveTo>
                <a:cubicBezTo>
                  <a:pt x="9874467" y="481963"/>
                  <a:pt x="9853943" y="552881"/>
                  <a:pt x="9853943" y="552881"/>
                </a:cubicBezTo>
                <a:lnTo>
                  <a:pt x="9871236" y="552881"/>
                </a:lnTo>
                <a:lnTo>
                  <a:pt x="9875690" y="537423"/>
                </a:lnTo>
                <a:cubicBezTo>
                  <a:pt x="9876214" y="535676"/>
                  <a:pt x="9878747" y="532182"/>
                  <a:pt x="9883288" y="526854"/>
                </a:cubicBezTo>
                <a:cubicBezTo>
                  <a:pt x="9888005" y="521702"/>
                  <a:pt x="9891498" y="518208"/>
                  <a:pt x="9892983" y="517684"/>
                </a:cubicBezTo>
                <a:cubicBezTo>
                  <a:pt x="9894380" y="517160"/>
                  <a:pt x="9893769" y="519081"/>
                  <a:pt x="9893769" y="519081"/>
                </a:cubicBezTo>
                <a:cubicBezTo>
                  <a:pt x="9892983" y="523077"/>
                  <a:pt x="9887922" y="540141"/>
                  <a:pt x="9885441" y="548423"/>
                </a:cubicBezTo>
                <a:lnTo>
                  <a:pt x="9884100" y="552881"/>
                </a:lnTo>
                <a:lnTo>
                  <a:pt x="9884074" y="552881"/>
                </a:lnTo>
                <a:lnTo>
                  <a:pt x="9884074" y="552968"/>
                </a:lnTo>
                <a:lnTo>
                  <a:pt x="9884100" y="552881"/>
                </a:lnTo>
                <a:lnTo>
                  <a:pt x="9901192" y="552881"/>
                </a:lnTo>
                <a:lnTo>
                  <a:pt x="9911935" y="515151"/>
                </a:lnTo>
                <a:cubicBezTo>
                  <a:pt x="9913594" y="509212"/>
                  <a:pt x="9911935" y="506505"/>
                  <a:pt x="9910887" y="505020"/>
                </a:cubicBezTo>
                <a:cubicBezTo>
                  <a:pt x="9909314" y="503099"/>
                  <a:pt x="9907044" y="502138"/>
                  <a:pt x="9904075" y="502138"/>
                </a:cubicBezTo>
                <a:cubicBezTo>
                  <a:pt x="9899533" y="502138"/>
                  <a:pt x="9894730" y="504671"/>
                  <a:pt x="9889576" y="509911"/>
                </a:cubicBezTo>
                <a:cubicBezTo>
                  <a:pt x="9885559" y="513841"/>
                  <a:pt x="9882153" y="518645"/>
                  <a:pt x="9879358" y="524147"/>
                </a:cubicBezTo>
                <a:lnTo>
                  <a:pt x="9878222" y="524147"/>
                </a:lnTo>
                <a:cubicBezTo>
                  <a:pt x="9883201" y="510173"/>
                  <a:pt x="9887656" y="496112"/>
                  <a:pt x="9891498" y="481963"/>
                </a:cubicBezTo>
                <a:close/>
                <a:moveTo>
                  <a:pt x="9677871" y="481003"/>
                </a:moveTo>
                <a:cubicBezTo>
                  <a:pt x="9671146" y="481003"/>
                  <a:pt x="9665032" y="483099"/>
                  <a:pt x="9659879" y="487029"/>
                </a:cubicBezTo>
                <a:cubicBezTo>
                  <a:pt x="9654901" y="490959"/>
                  <a:pt x="9651233" y="496375"/>
                  <a:pt x="9648875" y="503187"/>
                </a:cubicBezTo>
                <a:cubicBezTo>
                  <a:pt x="9648875" y="503187"/>
                  <a:pt x="9631145" y="564235"/>
                  <a:pt x="9631145" y="564235"/>
                </a:cubicBezTo>
                <a:lnTo>
                  <a:pt x="9648438" y="564235"/>
                </a:lnTo>
                <a:cubicBezTo>
                  <a:pt x="9648438" y="564235"/>
                  <a:pt x="9663285" y="513143"/>
                  <a:pt x="9663285" y="513143"/>
                </a:cubicBezTo>
                <a:lnTo>
                  <a:pt x="9675775" y="513143"/>
                </a:lnTo>
                <a:cubicBezTo>
                  <a:pt x="9675775" y="513143"/>
                  <a:pt x="9678744" y="503187"/>
                  <a:pt x="9678744" y="503187"/>
                </a:cubicBezTo>
                <a:lnTo>
                  <a:pt x="9665993" y="503187"/>
                </a:lnTo>
                <a:cubicBezTo>
                  <a:pt x="9667215" y="498820"/>
                  <a:pt x="9668176" y="496025"/>
                  <a:pt x="9668875" y="494715"/>
                </a:cubicBezTo>
                <a:cubicBezTo>
                  <a:pt x="9670534" y="492270"/>
                  <a:pt x="9672892" y="490959"/>
                  <a:pt x="9676211" y="490959"/>
                </a:cubicBezTo>
                <a:cubicBezTo>
                  <a:pt x="9679530" y="490959"/>
                  <a:pt x="9683198" y="491920"/>
                  <a:pt x="9687041" y="493842"/>
                </a:cubicBezTo>
                <a:lnTo>
                  <a:pt x="9690011" y="483275"/>
                </a:lnTo>
                <a:lnTo>
                  <a:pt x="9690098" y="483187"/>
                </a:lnTo>
                <a:cubicBezTo>
                  <a:pt x="9686342" y="481702"/>
                  <a:pt x="9682325" y="481003"/>
                  <a:pt x="9677871" y="481003"/>
                </a:cubicBezTo>
                <a:close/>
                <a:moveTo>
                  <a:pt x="10052286" y="480392"/>
                </a:moveTo>
                <a:cubicBezTo>
                  <a:pt x="10057440" y="480392"/>
                  <a:pt x="10064251" y="481003"/>
                  <a:pt x="10063640" y="487466"/>
                </a:cubicBezTo>
                <a:cubicBezTo>
                  <a:pt x="10062505" y="499430"/>
                  <a:pt x="10050889" y="503711"/>
                  <a:pt x="10046435" y="503711"/>
                </a:cubicBezTo>
                <a:lnTo>
                  <a:pt x="10039360" y="503711"/>
                </a:lnTo>
                <a:cubicBezTo>
                  <a:pt x="10039360" y="503711"/>
                  <a:pt x="10046260" y="481264"/>
                  <a:pt x="10046260" y="481264"/>
                </a:cubicBezTo>
                <a:cubicBezTo>
                  <a:pt x="10048007" y="480741"/>
                  <a:pt x="10050277" y="480392"/>
                  <a:pt x="10052286" y="480392"/>
                </a:cubicBezTo>
                <a:close/>
                <a:moveTo>
                  <a:pt x="10027919" y="469299"/>
                </a:moveTo>
                <a:cubicBezTo>
                  <a:pt x="10027919" y="469299"/>
                  <a:pt x="10003028" y="553754"/>
                  <a:pt x="10003028" y="553754"/>
                </a:cubicBezTo>
                <a:lnTo>
                  <a:pt x="10003202" y="553754"/>
                </a:lnTo>
                <a:lnTo>
                  <a:pt x="10044775" y="553754"/>
                </a:lnTo>
                <a:cubicBezTo>
                  <a:pt x="10054295" y="553754"/>
                  <a:pt x="10073859" y="547903"/>
                  <a:pt x="10075518" y="529824"/>
                </a:cubicBezTo>
                <a:cubicBezTo>
                  <a:pt x="10076566" y="518733"/>
                  <a:pt x="10067308" y="512881"/>
                  <a:pt x="10057789" y="510260"/>
                </a:cubicBezTo>
                <a:lnTo>
                  <a:pt x="10057789" y="509999"/>
                </a:lnTo>
                <a:cubicBezTo>
                  <a:pt x="10069667" y="507116"/>
                  <a:pt x="10082942" y="498208"/>
                  <a:pt x="10084164" y="485457"/>
                </a:cubicBezTo>
                <a:cubicBezTo>
                  <a:pt x="10085737" y="469125"/>
                  <a:pt x="10067046" y="469299"/>
                  <a:pt x="10054906" y="469299"/>
                </a:cubicBezTo>
                <a:close/>
                <a:moveTo>
                  <a:pt x="9243891" y="469038"/>
                </a:moveTo>
                <a:cubicBezTo>
                  <a:pt x="9203803" y="469038"/>
                  <a:pt x="9179261" y="502050"/>
                  <a:pt x="9177078" y="525719"/>
                </a:cubicBezTo>
                <a:lnTo>
                  <a:pt x="9177165" y="525719"/>
                </a:lnTo>
                <a:cubicBezTo>
                  <a:pt x="9175156" y="545719"/>
                  <a:pt x="9187645" y="557510"/>
                  <a:pt x="9210440" y="557510"/>
                </a:cubicBezTo>
                <a:cubicBezTo>
                  <a:pt x="9223017" y="557510"/>
                  <a:pt x="9235332" y="555413"/>
                  <a:pt x="9246598" y="552968"/>
                </a:cubicBezTo>
                <a:cubicBezTo>
                  <a:pt x="9247035" y="551571"/>
                  <a:pt x="9249480" y="543711"/>
                  <a:pt x="9250441" y="540480"/>
                </a:cubicBezTo>
                <a:cubicBezTo>
                  <a:pt x="9249480" y="540654"/>
                  <a:pt x="9248519" y="541003"/>
                  <a:pt x="9248519" y="541003"/>
                </a:cubicBezTo>
                <a:cubicBezTo>
                  <a:pt x="9239698" y="543361"/>
                  <a:pt x="9229830" y="546156"/>
                  <a:pt x="9221445" y="546156"/>
                </a:cubicBezTo>
                <a:cubicBezTo>
                  <a:pt x="9207645" y="546156"/>
                  <a:pt x="9199174" y="536811"/>
                  <a:pt x="9200571" y="522924"/>
                </a:cubicBezTo>
                <a:cubicBezTo>
                  <a:pt x="9202580" y="502401"/>
                  <a:pt x="9219174" y="480304"/>
                  <a:pt x="9240746" y="480304"/>
                </a:cubicBezTo>
                <a:cubicBezTo>
                  <a:pt x="9248869" y="480304"/>
                  <a:pt x="9257428" y="482226"/>
                  <a:pt x="9266249" y="485719"/>
                </a:cubicBezTo>
                <a:cubicBezTo>
                  <a:pt x="9266948" y="483536"/>
                  <a:pt x="9269568" y="474802"/>
                  <a:pt x="9270267" y="472269"/>
                </a:cubicBezTo>
                <a:cubicBezTo>
                  <a:pt x="9261445" y="470173"/>
                  <a:pt x="9252537" y="469038"/>
                  <a:pt x="9243891" y="469038"/>
                </a:cubicBezTo>
                <a:close/>
                <a:moveTo>
                  <a:pt x="11000594" y="392706"/>
                </a:moveTo>
                <a:cubicBezTo>
                  <a:pt x="11002690" y="392706"/>
                  <a:pt x="11004699" y="392881"/>
                  <a:pt x="11006359" y="392968"/>
                </a:cubicBezTo>
                <a:cubicBezTo>
                  <a:pt x="11006359" y="406244"/>
                  <a:pt x="10999284" y="412707"/>
                  <a:pt x="10989764" y="412707"/>
                </a:cubicBezTo>
                <a:cubicBezTo>
                  <a:pt x="10983127" y="412707"/>
                  <a:pt x="10978934" y="409737"/>
                  <a:pt x="10978934" y="403536"/>
                </a:cubicBezTo>
                <a:cubicBezTo>
                  <a:pt x="10978934" y="395763"/>
                  <a:pt x="10986707" y="392706"/>
                  <a:pt x="11000594" y="392706"/>
                </a:cubicBezTo>
                <a:close/>
                <a:moveTo>
                  <a:pt x="11259287" y="368252"/>
                </a:moveTo>
                <a:cubicBezTo>
                  <a:pt x="11269418" y="368252"/>
                  <a:pt x="11276318" y="376986"/>
                  <a:pt x="11276318" y="388776"/>
                </a:cubicBezTo>
                <a:cubicBezTo>
                  <a:pt x="11276318" y="400567"/>
                  <a:pt x="11269243" y="409039"/>
                  <a:pt x="11259550" y="409039"/>
                </a:cubicBezTo>
                <a:cubicBezTo>
                  <a:pt x="11249942" y="409039"/>
                  <a:pt x="11243480" y="400480"/>
                  <a:pt x="11243480" y="388776"/>
                </a:cubicBezTo>
                <a:cubicBezTo>
                  <a:pt x="11243480" y="377074"/>
                  <a:pt x="11249942" y="368252"/>
                  <a:pt x="11259287" y="368252"/>
                </a:cubicBezTo>
                <a:close/>
                <a:moveTo>
                  <a:pt x="11958421" y="368166"/>
                </a:moveTo>
                <a:cubicBezTo>
                  <a:pt x="11968901" y="368166"/>
                  <a:pt x="11975627" y="377336"/>
                  <a:pt x="11975627" y="389737"/>
                </a:cubicBezTo>
                <a:cubicBezTo>
                  <a:pt x="11975627" y="402139"/>
                  <a:pt x="11968727" y="411135"/>
                  <a:pt x="11958858" y="411135"/>
                </a:cubicBezTo>
                <a:cubicBezTo>
                  <a:pt x="11948988" y="411135"/>
                  <a:pt x="11942613" y="402139"/>
                  <a:pt x="11942613" y="389476"/>
                </a:cubicBezTo>
                <a:cubicBezTo>
                  <a:pt x="11942613" y="376899"/>
                  <a:pt x="11948814" y="368166"/>
                  <a:pt x="11958421" y="368166"/>
                </a:cubicBezTo>
                <a:close/>
                <a:moveTo>
                  <a:pt x="10775787" y="367031"/>
                </a:moveTo>
                <a:cubicBezTo>
                  <a:pt x="10786355" y="367031"/>
                  <a:pt x="10793081" y="375939"/>
                  <a:pt x="10793081" y="389563"/>
                </a:cubicBezTo>
                <a:cubicBezTo>
                  <a:pt x="10793081" y="403188"/>
                  <a:pt x="10786094" y="411922"/>
                  <a:pt x="10775787" y="411922"/>
                </a:cubicBezTo>
                <a:cubicBezTo>
                  <a:pt x="10765482" y="411922"/>
                  <a:pt x="10758582" y="403101"/>
                  <a:pt x="10758582" y="389563"/>
                </a:cubicBezTo>
                <a:cubicBezTo>
                  <a:pt x="10758582" y="375939"/>
                  <a:pt x="10765220" y="367031"/>
                  <a:pt x="10775787" y="367031"/>
                </a:cubicBezTo>
                <a:close/>
                <a:moveTo>
                  <a:pt x="11778332" y="367030"/>
                </a:moveTo>
                <a:cubicBezTo>
                  <a:pt x="11788900" y="367030"/>
                  <a:pt x="11795625" y="375938"/>
                  <a:pt x="11795625" y="389562"/>
                </a:cubicBezTo>
                <a:cubicBezTo>
                  <a:pt x="11795625" y="403187"/>
                  <a:pt x="11788638" y="411920"/>
                  <a:pt x="11778332" y="411920"/>
                </a:cubicBezTo>
                <a:cubicBezTo>
                  <a:pt x="11768027" y="411920"/>
                  <a:pt x="11761127" y="403100"/>
                  <a:pt x="11761127" y="389562"/>
                </a:cubicBezTo>
                <a:cubicBezTo>
                  <a:pt x="11761127" y="375938"/>
                  <a:pt x="11767764" y="367030"/>
                  <a:pt x="11778332" y="367030"/>
                </a:cubicBezTo>
                <a:close/>
                <a:moveTo>
                  <a:pt x="11521387" y="366331"/>
                </a:moveTo>
                <a:cubicBezTo>
                  <a:pt x="11530120" y="366331"/>
                  <a:pt x="11535623" y="371135"/>
                  <a:pt x="11535623" y="381965"/>
                </a:cubicBezTo>
                <a:lnTo>
                  <a:pt x="11505492" y="381965"/>
                </a:lnTo>
                <a:cubicBezTo>
                  <a:pt x="11506627" y="371659"/>
                  <a:pt x="11513352" y="366331"/>
                  <a:pt x="11521387" y="366331"/>
                </a:cubicBezTo>
                <a:close/>
                <a:moveTo>
                  <a:pt x="11096665" y="353232"/>
                </a:moveTo>
                <a:lnTo>
                  <a:pt x="11096665" y="426070"/>
                </a:lnTo>
                <a:lnTo>
                  <a:pt x="11118936" y="426070"/>
                </a:lnTo>
                <a:lnTo>
                  <a:pt x="11118936" y="353232"/>
                </a:lnTo>
                <a:close/>
                <a:moveTo>
                  <a:pt x="10599977" y="353232"/>
                </a:moveTo>
                <a:lnTo>
                  <a:pt x="10599977" y="400045"/>
                </a:lnTo>
                <a:cubicBezTo>
                  <a:pt x="10599977" y="416813"/>
                  <a:pt x="10610283" y="427905"/>
                  <a:pt x="10625916" y="427905"/>
                </a:cubicBezTo>
                <a:cubicBezTo>
                  <a:pt x="10638143" y="427905"/>
                  <a:pt x="10647052" y="422141"/>
                  <a:pt x="10652117" y="413669"/>
                </a:cubicBezTo>
                <a:lnTo>
                  <a:pt x="10652293" y="413756"/>
                </a:lnTo>
                <a:lnTo>
                  <a:pt x="10652555" y="413756"/>
                </a:lnTo>
                <a:cubicBezTo>
                  <a:pt x="10652555" y="418560"/>
                  <a:pt x="10652816" y="423189"/>
                  <a:pt x="10653078" y="426159"/>
                </a:cubicBezTo>
                <a:lnTo>
                  <a:pt x="10673603" y="426159"/>
                </a:lnTo>
                <a:cubicBezTo>
                  <a:pt x="10672904" y="420045"/>
                  <a:pt x="10672904" y="412185"/>
                  <a:pt x="10672904" y="404586"/>
                </a:cubicBezTo>
                <a:lnTo>
                  <a:pt x="10672904" y="353319"/>
                </a:lnTo>
                <a:lnTo>
                  <a:pt x="10650633" y="353319"/>
                </a:lnTo>
                <a:lnTo>
                  <a:pt x="10650633" y="388778"/>
                </a:lnTo>
                <a:cubicBezTo>
                  <a:pt x="10650633" y="400743"/>
                  <a:pt x="10644082" y="409739"/>
                  <a:pt x="10634563" y="409739"/>
                </a:cubicBezTo>
                <a:cubicBezTo>
                  <a:pt x="10625043" y="409739"/>
                  <a:pt x="10621986" y="403189"/>
                  <a:pt x="10621986" y="392097"/>
                </a:cubicBezTo>
                <a:lnTo>
                  <a:pt x="10621986" y="353232"/>
                </a:lnTo>
                <a:close/>
                <a:moveTo>
                  <a:pt x="10872995" y="351485"/>
                </a:moveTo>
                <a:cubicBezTo>
                  <a:pt x="10862863" y="351485"/>
                  <a:pt x="10853868" y="356726"/>
                  <a:pt x="10848627" y="365896"/>
                </a:cubicBezTo>
                <a:lnTo>
                  <a:pt x="10848366" y="365896"/>
                </a:lnTo>
                <a:cubicBezTo>
                  <a:pt x="10848366" y="362053"/>
                  <a:pt x="10848191" y="356289"/>
                  <a:pt x="10847928" y="353319"/>
                </a:cubicBezTo>
                <a:lnTo>
                  <a:pt x="10827492" y="353319"/>
                </a:lnTo>
                <a:cubicBezTo>
                  <a:pt x="10828016" y="362053"/>
                  <a:pt x="10828191" y="369914"/>
                  <a:pt x="10828191" y="376376"/>
                </a:cubicBezTo>
                <a:lnTo>
                  <a:pt x="10828191" y="426071"/>
                </a:lnTo>
                <a:lnTo>
                  <a:pt x="10850287" y="426071"/>
                </a:lnTo>
                <a:lnTo>
                  <a:pt x="10850287" y="392097"/>
                </a:lnTo>
                <a:cubicBezTo>
                  <a:pt x="10850287" y="379521"/>
                  <a:pt x="10854915" y="369127"/>
                  <a:pt x="10865048" y="369127"/>
                </a:cubicBezTo>
                <a:cubicBezTo>
                  <a:pt x="10874130" y="369127"/>
                  <a:pt x="10876139" y="377861"/>
                  <a:pt x="10876139" y="390438"/>
                </a:cubicBezTo>
                <a:lnTo>
                  <a:pt x="10876139" y="426071"/>
                </a:lnTo>
                <a:lnTo>
                  <a:pt x="10876314" y="426071"/>
                </a:lnTo>
                <a:lnTo>
                  <a:pt x="10898410" y="426071"/>
                </a:lnTo>
                <a:lnTo>
                  <a:pt x="10898410" y="392447"/>
                </a:lnTo>
                <a:cubicBezTo>
                  <a:pt x="10898410" y="379957"/>
                  <a:pt x="10902428" y="369215"/>
                  <a:pt x="10913170" y="369215"/>
                </a:cubicBezTo>
                <a:cubicBezTo>
                  <a:pt x="10920855" y="369215"/>
                  <a:pt x="10924262" y="375591"/>
                  <a:pt x="10924262" y="388691"/>
                </a:cubicBezTo>
                <a:lnTo>
                  <a:pt x="10924262" y="426159"/>
                </a:lnTo>
                <a:lnTo>
                  <a:pt x="10946358" y="426159"/>
                </a:lnTo>
                <a:lnTo>
                  <a:pt x="10946358" y="383014"/>
                </a:lnTo>
                <a:cubicBezTo>
                  <a:pt x="10946358" y="364062"/>
                  <a:pt x="10938760" y="351485"/>
                  <a:pt x="10921293" y="351485"/>
                </a:cubicBezTo>
                <a:cubicBezTo>
                  <a:pt x="10910724" y="351485"/>
                  <a:pt x="10900855" y="356639"/>
                  <a:pt x="10895528" y="366245"/>
                </a:cubicBezTo>
                <a:cubicBezTo>
                  <a:pt x="10892035" y="356551"/>
                  <a:pt x="10884000" y="351485"/>
                  <a:pt x="10872995" y="351485"/>
                </a:cubicBezTo>
                <a:close/>
                <a:moveTo>
                  <a:pt x="10776225" y="351398"/>
                </a:moveTo>
                <a:cubicBezTo>
                  <a:pt x="10751420" y="351398"/>
                  <a:pt x="10735525" y="366943"/>
                  <a:pt x="10735525" y="389826"/>
                </a:cubicBezTo>
                <a:cubicBezTo>
                  <a:pt x="10735525" y="412708"/>
                  <a:pt x="10751682" y="427905"/>
                  <a:pt x="10775787" y="427905"/>
                </a:cubicBezTo>
                <a:cubicBezTo>
                  <a:pt x="10799893" y="427905"/>
                  <a:pt x="10816051" y="412795"/>
                  <a:pt x="10816051" y="389826"/>
                </a:cubicBezTo>
                <a:cubicBezTo>
                  <a:pt x="10816051" y="366507"/>
                  <a:pt x="10801029" y="351398"/>
                  <a:pt x="10776225" y="351398"/>
                </a:cubicBezTo>
                <a:close/>
                <a:moveTo>
                  <a:pt x="11869163" y="351397"/>
                </a:moveTo>
                <a:cubicBezTo>
                  <a:pt x="11830037" y="351397"/>
                  <a:pt x="11829163" y="366419"/>
                  <a:pt x="11829163" y="379083"/>
                </a:cubicBezTo>
                <a:lnTo>
                  <a:pt x="11829163" y="426071"/>
                </a:lnTo>
                <a:lnTo>
                  <a:pt x="11850560" y="426071"/>
                </a:lnTo>
                <a:lnTo>
                  <a:pt x="11850560" y="389214"/>
                </a:lnTo>
                <a:cubicBezTo>
                  <a:pt x="11850560" y="375851"/>
                  <a:pt x="11850298" y="369388"/>
                  <a:pt x="11868203" y="369388"/>
                </a:cubicBezTo>
                <a:lnTo>
                  <a:pt x="11875277" y="369388"/>
                </a:lnTo>
                <a:lnTo>
                  <a:pt x="11875277" y="351397"/>
                </a:lnTo>
                <a:close/>
                <a:moveTo>
                  <a:pt x="11778769" y="351396"/>
                </a:moveTo>
                <a:cubicBezTo>
                  <a:pt x="11753965" y="351396"/>
                  <a:pt x="11738070" y="366942"/>
                  <a:pt x="11738070" y="389825"/>
                </a:cubicBezTo>
                <a:cubicBezTo>
                  <a:pt x="11738070" y="412707"/>
                  <a:pt x="11754227" y="427903"/>
                  <a:pt x="11778332" y="427903"/>
                </a:cubicBezTo>
                <a:cubicBezTo>
                  <a:pt x="11802437" y="427903"/>
                  <a:pt x="11818595" y="412794"/>
                  <a:pt x="11818595" y="389825"/>
                </a:cubicBezTo>
                <a:cubicBezTo>
                  <a:pt x="11818595" y="366505"/>
                  <a:pt x="11803573" y="351396"/>
                  <a:pt x="11778769" y="351396"/>
                </a:cubicBezTo>
                <a:close/>
                <a:moveTo>
                  <a:pt x="11181557" y="351396"/>
                </a:moveTo>
                <a:cubicBezTo>
                  <a:pt x="11171076" y="351396"/>
                  <a:pt x="11161906" y="357161"/>
                  <a:pt x="11156578" y="365632"/>
                </a:cubicBezTo>
                <a:lnTo>
                  <a:pt x="11156491" y="365720"/>
                </a:lnTo>
                <a:lnTo>
                  <a:pt x="11156228" y="365720"/>
                </a:lnTo>
                <a:cubicBezTo>
                  <a:pt x="11156228" y="361877"/>
                  <a:pt x="11155966" y="356374"/>
                  <a:pt x="11155705" y="353318"/>
                </a:cubicBezTo>
                <a:lnTo>
                  <a:pt x="11134831" y="353318"/>
                </a:lnTo>
                <a:cubicBezTo>
                  <a:pt x="11135355" y="362052"/>
                  <a:pt x="11135530" y="369825"/>
                  <a:pt x="11135530" y="376462"/>
                </a:cubicBezTo>
                <a:lnTo>
                  <a:pt x="11135530" y="426157"/>
                </a:lnTo>
                <a:lnTo>
                  <a:pt x="11157539" y="426157"/>
                </a:lnTo>
                <a:lnTo>
                  <a:pt x="11157539" y="394017"/>
                </a:lnTo>
                <a:cubicBezTo>
                  <a:pt x="11157539" y="387729"/>
                  <a:pt x="11158412" y="381877"/>
                  <a:pt x="11160509" y="377685"/>
                </a:cubicBezTo>
                <a:cubicBezTo>
                  <a:pt x="11163215" y="372620"/>
                  <a:pt x="11167844" y="369213"/>
                  <a:pt x="11174308" y="369213"/>
                </a:cubicBezTo>
                <a:cubicBezTo>
                  <a:pt x="11185050" y="369213"/>
                  <a:pt x="11186710" y="377510"/>
                  <a:pt x="11186710" y="391309"/>
                </a:cubicBezTo>
                <a:lnTo>
                  <a:pt x="11186710" y="426070"/>
                </a:lnTo>
                <a:lnTo>
                  <a:pt x="11208718" y="426070"/>
                </a:lnTo>
                <a:lnTo>
                  <a:pt x="11208718" y="382925"/>
                </a:lnTo>
                <a:cubicBezTo>
                  <a:pt x="11208718" y="363187"/>
                  <a:pt x="11200159" y="351396"/>
                  <a:pt x="11181557" y="351396"/>
                </a:cubicBezTo>
                <a:close/>
                <a:moveTo>
                  <a:pt x="11253698" y="351396"/>
                </a:moveTo>
                <a:cubicBezTo>
                  <a:pt x="11234221" y="351396"/>
                  <a:pt x="11220859" y="366854"/>
                  <a:pt x="11220859" y="389300"/>
                </a:cubicBezTo>
                <a:cubicBezTo>
                  <a:pt x="11220859" y="411746"/>
                  <a:pt x="11233523" y="425895"/>
                  <a:pt x="11252825" y="425895"/>
                </a:cubicBezTo>
                <a:cubicBezTo>
                  <a:pt x="11263829" y="425895"/>
                  <a:pt x="11271689" y="420654"/>
                  <a:pt x="11276668" y="412794"/>
                </a:cubicBezTo>
                <a:lnTo>
                  <a:pt x="11276929" y="412794"/>
                </a:lnTo>
                <a:cubicBezTo>
                  <a:pt x="11276668" y="415501"/>
                  <a:pt x="11276668" y="417859"/>
                  <a:pt x="11276668" y="419868"/>
                </a:cubicBezTo>
                <a:cubicBezTo>
                  <a:pt x="11276668" y="435676"/>
                  <a:pt x="11267672" y="441266"/>
                  <a:pt x="11255008" y="441266"/>
                </a:cubicBezTo>
                <a:cubicBezTo>
                  <a:pt x="11246798" y="441266"/>
                  <a:pt x="11238064" y="439170"/>
                  <a:pt x="11229069" y="434541"/>
                </a:cubicBezTo>
                <a:lnTo>
                  <a:pt x="11229069" y="453057"/>
                </a:lnTo>
                <a:cubicBezTo>
                  <a:pt x="11238064" y="456026"/>
                  <a:pt x="11247672" y="457336"/>
                  <a:pt x="11256929" y="457336"/>
                </a:cubicBezTo>
                <a:cubicBezTo>
                  <a:pt x="11283392" y="457336"/>
                  <a:pt x="11298065" y="444061"/>
                  <a:pt x="11298065" y="419606"/>
                </a:cubicBezTo>
                <a:lnTo>
                  <a:pt x="11298065" y="353230"/>
                </a:lnTo>
                <a:lnTo>
                  <a:pt x="11277540" y="353230"/>
                </a:lnTo>
                <a:cubicBezTo>
                  <a:pt x="11277540" y="356898"/>
                  <a:pt x="11277540" y="359955"/>
                  <a:pt x="11277803" y="364497"/>
                </a:cubicBezTo>
                <a:lnTo>
                  <a:pt x="11277540" y="364497"/>
                </a:lnTo>
                <a:cubicBezTo>
                  <a:pt x="11272475" y="356025"/>
                  <a:pt x="11265139" y="351396"/>
                  <a:pt x="11253698" y="351396"/>
                </a:cubicBezTo>
                <a:close/>
                <a:moveTo>
                  <a:pt x="10993258" y="351396"/>
                </a:moveTo>
                <a:cubicBezTo>
                  <a:pt x="10984786" y="351396"/>
                  <a:pt x="10974219" y="352968"/>
                  <a:pt x="10966620" y="356462"/>
                </a:cubicBezTo>
                <a:lnTo>
                  <a:pt x="10966620" y="372793"/>
                </a:lnTo>
                <a:cubicBezTo>
                  <a:pt x="10973258" y="369126"/>
                  <a:pt x="10981991" y="366593"/>
                  <a:pt x="10989764" y="366593"/>
                </a:cubicBezTo>
                <a:cubicBezTo>
                  <a:pt x="11000507" y="366593"/>
                  <a:pt x="11006097" y="370785"/>
                  <a:pt x="11006097" y="381003"/>
                </a:cubicBezTo>
                <a:cubicBezTo>
                  <a:pt x="11002603" y="380741"/>
                  <a:pt x="10998585" y="380566"/>
                  <a:pt x="10995703" y="380566"/>
                </a:cubicBezTo>
                <a:cubicBezTo>
                  <a:pt x="10971511" y="380566"/>
                  <a:pt x="10957624" y="388776"/>
                  <a:pt x="10957624" y="404672"/>
                </a:cubicBezTo>
                <a:cubicBezTo>
                  <a:pt x="10957624" y="418645"/>
                  <a:pt x="10968367" y="427467"/>
                  <a:pt x="10982864" y="427467"/>
                </a:cubicBezTo>
                <a:cubicBezTo>
                  <a:pt x="10994655" y="427467"/>
                  <a:pt x="11003039" y="422139"/>
                  <a:pt x="11007756" y="413929"/>
                </a:cubicBezTo>
                <a:lnTo>
                  <a:pt x="11008018" y="413929"/>
                </a:lnTo>
                <a:cubicBezTo>
                  <a:pt x="11007843" y="416462"/>
                  <a:pt x="11007756" y="418733"/>
                  <a:pt x="11007756" y="420305"/>
                </a:cubicBezTo>
                <a:cubicBezTo>
                  <a:pt x="11007756" y="422401"/>
                  <a:pt x="11007930" y="424933"/>
                  <a:pt x="11008193" y="426069"/>
                </a:cubicBezTo>
                <a:lnTo>
                  <a:pt x="11027494" y="426069"/>
                </a:lnTo>
                <a:cubicBezTo>
                  <a:pt x="11026970" y="421441"/>
                  <a:pt x="11026533" y="413143"/>
                  <a:pt x="11026533" y="400042"/>
                </a:cubicBezTo>
                <a:cubicBezTo>
                  <a:pt x="11026533" y="394103"/>
                  <a:pt x="11026795" y="386418"/>
                  <a:pt x="11026795" y="381702"/>
                </a:cubicBezTo>
                <a:cubicBezTo>
                  <a:pt x="11026795" y="362575"/>
                  <a:pt x="11016751" y="351396"/>
                  <a:pt x="10993258" y="351396"/>
                </a:cubicBezTo>
                <a:close/>
                <a:moveTo>
                  <a:pt x="11521998" y="351310"/>
                </a:moveTo>
                <a:cubicBezTo>
                  <a:pt x="11499028" y="351310"/>
                  <a:pt x="11483657" y="367030"/>
                  <a:pt x="11483657" y="389388"/>
                </a:cubicBezTo>
                <a:cubicBezTo>
                  <a:pt x="11483657" y="413756"/>
                  <a:pt x="11500251" y="427816"/>
                  <a:pt x="11525054" y="427816"/>
                </a:cubicBezTo>
                <a:cubicBezTo>
                  <a:pt x="11534749" y="427816"/>
                  <a:pt x="11543658" y="425983"/>
                  <a:pt x="11549858" y="422926"/>
                </a:cubicBezTo>
                <a:lnTo>
                  <a:pt x="11549422" y="406332"/>
                </a:lnTo>
                <a:cubicBezTo>
                  <a:pt x="11542697" y="410174"/>
                  <a:pt x="11535361" y="412009"/>
                  <a:pt x="11527588" y="412009"/>
                </a:cubicBezTo>
                <a:cubicBezTo>
                  <a:pt x="11514313" y="412009"/>
                  <a:pt x="11506102" y="405371"/>
                  <a:pt x="11505579" y="395764"/>
                </a:cubicBezTo>
                <a:lnTo>
                  <a:pt x="11505666" y="395677"/>
                </a:lnTo>
                <a:lnTo>
                  <a:pt x="11555361" y="395677"/>
                </a:lnTo>
                <a:cubicBezTo>
                  <a:pt x="11555449" y="394629"/>
                  <a:pt x="11555623" y="391572"/>
                  <a:pt x="11555623" y="390436"/>
                </a:cubicBezTo>
                <a:cubicBezTo>
                  <a:pt x="11555623" y="363973"/>
                  <a:pt x="11543570" y="351310"/>
                  <a:pt x="11521998" y="351310"/>
                </a:cubicBezTo>
                <a:close/>
                <a:moveTo>
                  <a:pt x="10536657" y="338209"/>
                </a:moveTo>
                <a:lnTo>
                  <a:pt x="10536920" y="338209"/>
                </a:lnTo>
                <a:cubicBezTo>
                  <a:pt x="10538317" y="343712"/>
                  <a:pt x="10542247" y="357423"/>
                  <a:pt x="10544692" y="364760"/>
                </a:cubicBezTo>
                <a:lnTo>
                  <a:pt x="10551417" y="384410"/>
                </a:lnTo>
                <a:lnTo>
                  <a:pt x="10521373" y="384410"/>
                </a:lnTo>
                <a:lnTo>
                  <a:pt x="10528273" y="364760"/>
                </a:lnTo>
                <a:cubicBezTo>
                  <a:pt x="10530894" y="357599"/>
                  <a:pt x="10535173" y="343886"/>
                  <a:pt x="10536657" y="338209"/>
                </a:cubicBezTo>
                <a:close/>
                <a:moveTo>
                  <a:pt x="10689760" y="338209"/>
                </a:moveTo>
                <a:lnTo>
                  <a:pt x="10689061" y="400131"/>
                </a:lnTo>
                <a:cubicBezTo>
                  <a:pt x="10689061" y="418909"/>
                  <a:pt x="10696922" y="427031"/>
                  <a:pt x="10715000" y="427031"/>
                </a:cubicBezTo>
                <a:cubicBezTo>
                  <a:pt x="10719280" y="427031"/>
                  <a:pt x="10724083" y="426508"/>
                  <a:pt x="10728101" y="425547"/>
                </a:cubicBezTo>
                <a:lnTo>
                  <a:pt x="10728101" y="410001"/>
                </a:lnTo>
                <a:cubicBezTo>
                  <a:pt x="10726005" y="410612"/>
                  <a:pt x="10723559" y="410874"/>
                  <a:pt x="10721201" y="410874"/>
                </a:cubicBezTo>
                <a:cubicBezTo>
                  <a:pt x="10712205" y="410874"/>
                  <a:pt x="10710633" y="404935"/>
                  <a:pt x="10710633" y="397336"/>
                </a:cubicBezTo>
                <a:lnTo>
                  <a:pt x="10710633" y="368865"/>
                </a:lnTo>
                <a:lnTo>
                  <a:pt x="10728101" y="368865"/>
                </a:lnTo>
                <a:lnTo>
                  <a:pt x="10728101" y="353231"/>
                </a:lnTo>
                <a:lnTo>
                  <a:pt x="10710633" y="353231"/>
                </a:lnTo>
                <a:lnTo>
                  <a:pt x="10710633" y="338209"/>
                </a:lnTo>
                <a:close/>
                <a:moveTo>
                  <a:pt x="11042865" y="338209"/>
                </a:moveTo>
                <a:lnTo>
                  <a:pt x="11042166" y="400131"/>
                </a:lnTo>
                <a:cubicBezTo>
                  <a:pt x="11042166" y="418909"/>
                  <a:pt x="11050027" y="427031"/>
                  <a:pt x="11068105" y="427031"/>
                </a:cubicBezTo>
                <a:cubicBezTo>
                  <a:pt x="11072385" y="427031"/>
                  <a:pt x="11077188" y="426507"/>
                  <a:pt x="11081206" y="425547"/>
                </a:cubicBezTo>
                <a:lnTo>
                  <a:pt x="11081206" y="410001"/>
                </a:lnTo>
                <a:cubicBezTo>
                  <a:pt x="11079110" y="410612"/>
                  <a:pt x="11076664" y="410874"/>
                  <a:pt x="11074306" y="410874"/>
                </a:cubicBezTo>
                <a:cubicBezTo>
                  <a:pt x="11065310" y="410874"/>
                  <a:pt x="11063738" y="404935"/>
                  <a:pt x="11063738" y="397336"/>
                </a:cubicBezTo>
                <a:lnTo>
                  <a:pt x="11063738" y="368865"/>
                </a:lnTo>
                <a:lnTo>
                  <a:pt x="11081206" y="368865"/>
                </a:lnTo>
                <a:lnTo>
                  <a:pt x="11081206" y="353231"/>
                </a:lnTo>
                <a:lnTo>
                  <a:pt x="11063738" y="353231"/>
                </a:lnTo>
                <a:lnTo>
                  <a:pt x="11063738" y="338209"/>
                </a:lnTo>
                <a:close/>
                <a:moveTo>
                  <a:pt x="11346275" y="338208"/>
                </a:moveTo>
                <a:lnTo>
                  <a:pt x="11345576" y="400130"/>
                </a:lnTo>
                <a:cubicBezTo>
                  <a:pt x="11345576" y="418908"/>
                  <a:pt x="11353436" y="427030"/>
                  <a:pt x="11371515" y="427030"/>
                </a:cubicBezTo>
                <a:cubicBezTo>
                  <a:pt x="11375794" y="427030"/>
                  <a:pt x="11380598" y="426506"/>
                  <a:pt x="11384616" y="425546"/>
                </a:cubicBezTo>
                <a:lnTo>
                  <a:pt x="11384616" y="410000"/>
                </a:lnTo>
                <a:cubicBezTo>
                  <a:pt x="11382520" y="410611"/>
                  <a:pt x="11380074" y="410873"/>
                  <a:pt x="11377716" y="410873"/>
                </a:cubicBezTo>
                <a:cubicBezTo>
                  <a:pt x="11368720" y="410873"/>
                  <a:pt x="11367148" y="404934"/>
                  <a:pt x="11367148" y="397335"/>
                </a:cubicBezTo>
                <a:lnTo>
                  <a:pt x="11367148" y="368864"/>
                </a:lnTo>
                <a:lnTo>
                  <a:pt x="11384616" y="368864"/>
                </a:lnTo>
                <a:lnTo>
                  <a:pt x="11384616" y="353230"/>
                </a:lnTo>
                <a:lnTo>
                  <a:pt x="11367148" y="353230"/>
                </a:lnTo>
                <a:lnTo>
                  <a:pt x="11367148" y="338208"/>
                </a:lnTo>
                <a:close/>
                <a:moveTo>
                  <a:pt x="10031499" y="338030"/>
                </a:moveTo>
                <a:cubicBezTo>
                  <a:pt x="10031499" y="338030"/>
                  <a:pt x="10057788" y="338030"/>
                  <a:pt x="10057788" y="338030"/>
                </a:cubicBezTo>
                <a:cubicBezTo>
                  <a:pt x="10066521" y="338030"/>
                  <a:pt x="10072372" y="344144"/>
                  <a:pt x="10072372" y="352616"/>
                </a:cubicBezTo>
                <a:cubicBezTo>
                  <a:pt x="10072372" y="358381"/>
                  <a:pt x="10067220" y="367026"/>
                  <a:pt x="10058486" y="367026"/>
                </a:cubicBezTo>
                <a:lnTo>
                  <a:pt x="10031586" y="367026"/>
                </a:lnTo>
                <a:lnTo>
                  <a:pt x="10031499" y="367026"/>
                </a:lnTo>
                <a:close/>
                <a:moveTo>
                  <a:pt x="11596060" y="327728"/>
                </a:moveTo>
                <a:lnTo>
                  <a:pt x="11621126" y="426069"/>
                </a:lnTo>
                <a:lnTo>
                  <a:pt x="11650995" y="426069"/>
                </a:lnTo>
                <a:lnTo>
                  <a:pt x="11663659" y="363624"/>
                </a:lnTo>
                <a:cubicBezTo>
                  <a:pt x="11664619" y="358996"/>
                  <a:pt x="11666017" y="349824"/>
                  <a:pt x="11666716" y="344061"/>
                </a:cubicBezTo>
                <a:lnTo>
                  <a:pt x="11666978" y="344061"/>
                </a:lnTo>
                <a:cubicBezTo>
                  <a:pt x="11667676" y="349824"/>
                  <a:pt x="11669423" y="358996"/>
                  <a:pt x="11670384" y="363624"/>
                </a:cubicBezTo>
                <a:lnTo>
                  <a:pt x="11670558" y="363624"/>
                </a:lnTo>
                <a:lnTo>
                  <a:pt x="11684183" y="426069"/>
                </a:lnTo>
                <a:lnTo>
                  <a:pt x="11713878" y="426069"/>
                </a:lnTo>
                <a:lnTo>
                  <a:pt x="11738245" y="327728"/>
                </a:lnTo>
                <a:lnTo>
                  <a:pt x="11715450" y="327728"/>
                </a:lnTo>
                <a:lnTo>
                  <a:pt x="11703922" y="382227"/>
                </a:lnTo>
                <a:cubicBezTo>
                  <a:pt x="11703048" y="385982"/>
                  <a:pt x="11700253" y="401266"/>
                  <a:pt x="11699380" y="407991"/>
                </a:cubicBezTo>
                <a:lnTo>
                  <a:pt x="11699118" y="407991"/>
                </a:lnTo>
                <a:cubicBezTo>
                  <a:pt x="11698070" y="401091"/>
                  <a:pt x="11695275" y="385633"/>
                  <a:pt x="11694576" y="382227"/>
                </a:cubicBezTo>
                <a:lnTo>
                  <a:pt x="11682874" y="327728"/>
                </a:lnTo>
                <a:lnTo>
                  <a:pt x="11652131" y="327728"/>
                </a:lnTo>
                <a:lnTo>
                  <a:pt x="11641388" y="382227"/>
                </a:lnTo>
                <a:cubicBezTo>
                  <a:pt x="11640690" y="385633"/>
                  <a:pt x="11637982" y="400829"/>
                  <a:pt x="11637021" y="407991"/>
                </a:cubicBezTo>
                <a:lnTo>
                  <a:pt x="11636760" y="407991"/>
                </a:lnTo>
                <a:cubicBezTo>
                  <a:pt x="11635886" y="400829"/>
                  <a:pt x="11632917" y="385633"/>
                  <a:pt x="11632217" y="382227"/>
                </a:cubicBezTo>
                <a:lnTo>
                  <a:pt x="11620427" y="327728"/>
                </a:lnTo>
                <a:close/>
                <a:moveTo>
                  <a:pt x="11096665" y="322576"/>
                </a:moveTo>
                <a:lnTo>
                  <a:pt x="11096665" y="341005"/>
                </a:lnTo>
                <a:lnTo>
                  <a:pt x="11118936" y="341005"/>
                </a:lnTo>
                <a:lnTo>
                  <a:pt x="11118936" y="322576"/>
                </a:lnTo>
                <a:close/>
                <a:moveTo>
                  <a:pt x="11398765" y="319694"/>
                </a:moveTo>
                <a:lnTo>
                  <a:pt x="11398765" y="426158"/>
                </a:lnTo>
                <a:lnTo>
                  <a:pt x="11420774" y="426158"/>
                </a:lnTo>
                <a:lnTo>
                  <a:pt x="11420774" y="394018"/>
                </a:lnTo>
                <a:cubicBezTo>
                  <a:pt x="11420774" y="380480"/>
                  <a:pt x="11424617" y="369214"/>
                  <a:pt x="11437280" y="369214"/>
                </a:cubicBezTo>
                <a:cubicBezTo>
                  <a:pt x="11447936" y="369214"/>
                  <a:pt x="11449944" y="377685"/>
                  <a:pt x="11449944" y="391310"/>
                </a:cubicBezTo>
                <a:lnTo>
                  <a:pt x="11449944" y="426069"/>
                </a:lnTo>
                <a:lnTo>
                  <a:pt x="11471954" y="426069"/>
                </a:lnTo>
                <a:lnTo>
                  <a:pt x="11471954" y="383100"/>
                </a:lnTo>
                <a:cubicBezTo>
                  <a:pt x="11471954" y="363187"/>
                  <a:pt x="11463045" y="351397"/>
                  <a:pt x="11444443" y="351397"/>
                </a:cubicBezTo>
                <a:cubicBezTo>
                  <a:pt x="11434049" y="351397"/>
                  <a:pt x="11425840" y="357161"/>
                  <a:pt x="11420512" y="365458"/>
                </a:cubicBezTo>
                <a:lnTo>
                  <a:pt x="11420425" y="365632"/>
                </a:lnTo>
                <a:lnTo>
                  <a:pt x="11420162" y="365632"/>
                </a:lnTo>
                <a:cubicBezTo>
                  <a:pt x="11420425" y="360392"/>
                  <a:pt x="11420600" y="353930"/>
                  <a:pt x="11420600" y="348864"/>
                </a:cubicBezTo>
                <a:lnTo>
                  <a:pt x="11420600" y="319694"/>
                </a:lnTo>
                <a:close/>
                <a:moveTo>
                  <a:pt x="11974753" y="319693"/>
                </a:moveTo>
                <a:lnTo>
                  <a:pt x="11974753" y="343187"/>
                </a:lnTo>
                <a:cubicBezTo>
                  <a:pt x="11974753" y="350262"/>
                  <a:pt x="11974928" y="358122"/>
                  <a:pt x="11975190" y="364323"/>
                </a:cubicBezTo>
                <a:lnTo>
                  <a:pt x="11974928" y="364323"/>
                </a:lnTo>
                <a:cubicBezTo>
                  <a:pt x="11970474" y="356375"/>
                  <a:pt x="11963137" y="351484"/>
                  <a:pt x="11952132" y="351484"/>
                </a:cubicBezTo>
                <a:cubicBezTo>
                  <a:pt x="11933006" y="351484"/>
                  <a:pt x="11919905" y="366069"/>
                  <a:pt x="11919905" y="389388"/>
                </a:cubicBezTo>
                <a:cubicBezTo>
                  <a:pt x="11919905" y="412707"/>
                  <a:pt x="11932482" y="427816"/>
                  <a:pt x="11952045" y="427816"/>
                </a:cubicBezTo>
                <a:cubicBezTo>
                  <a:pt x="11963400" y="427816"/>
                  <a:pt x="11971435" y="423013"/>
                  <a:pt x="11976675" y="413319"/>
                </a:cubicBezTo>
                <a:lnTo>
                  <a:pt x="11976849" y="413319"/>
                </a:lnTo>
                <a:cubicBezTo>
                  <a:pt x="11976849" y="418297"/>
                  <a:pt x="11976936" y="422925"/>
                  <a:pt x="11977111" y="426157"/>
                </a:cubicBezTo>
                <a:lnTo>
                  <a:pt x="11997548" y="426157"/>
                </a:lnTo>
                <a:cubicBezTo>
                  <a:pt x="11997024" y="420131"/>
                  <a:pt x="11996849" y="412096"/>
                  <a:pt x="11996849" y="404498"/>
                </a:cubicBezTo>
                <a:lnTo>
                  <a:pt x="11996849" y="319693"/>
                </a:lnTo>
                <a:close/>
                <a:moveTo>
                  <a:pt x="10522247" y="319607"/>
                </a:moveTo>
                <a:lnTo>
                  <a:pt x="10481024" y="426071"/>
                </a:lnTo>
                <a:lnTo>
                  <a:pt x="10506526" y="426071"/>
                </a:lnTo>
                <a:lnTo>
                  <a:pt x="10515347" y="402402"/>
                </a:lnTo>
                <a:lnTo>
                  <a:pt x="10557444" y="402402"/>
                </a:lnTo>
                <a:lnTo>
                  <a:pt x="10566178" y="426071"/>
                </a:lnTo>
                <a:lnTo>
                  <a:pt x="10593340" y="426071"/>
                </a:lnTo>
                <a:lnTo>
                  <a:pt x="10551505" y="319607"/>
                </a:lnTo>
                <a:close/>
                <a:moveTo>
                  <a:pt x="11886456" y="319605"/>
                </a:moveTo>
                <a:lnTo>
                  <a:pt x="11886456" y="426069"/>
                </a:lnTo>
                <a:lnTo>
                  <a:pt x="11908727" y="426069"/>
                </a:lnTo>
                <a:lnTo>
                  <a:pt x="11908727" y="319605"/>
                </a:lnTo>
                <a:close/>
                <a:moveTo>
                  <a:pt x="9593153" y="319603"/>
                </a:moveTo>
                <a:lnTo>
                  <a:pt x="9593153" y="338031"/>
                </a:lnTo>
                <a:lnTo>
                  <a:pt x="9593153" y="407639"/>
                </a:lnTo>
                <a:lnTo>
                  <a:pt x="9593153" y="426155"/>
                </a:lnTo>
                <a:lnTo>
                  <a:pt x="9614637" y="426155"/>
                </a:lnTo>
                <a:lnTo>
                  <a:pt x="9673503" y="426155"/>
                </a:lnTo>
                <a:lnTo>
                  <a:pt x="9673503" y="407639"/>
                </a:lnTo>
                <a:lnTo>
                  <a:pt x="9614637" y="407639"/>
                </a:lnTo>
                <a:lnTo>
                  <a:pt x="9614637" y="379255"/>
                </a:lnTo>
                <a:lnTo>
                  <a:pt x="9665555" y="379255"/>
                </a:lnTo>
                <a:lnTo>
                  <a:pt x="9665555" y="360826"/>
                </a:lnTo>
                <a:lnTo>
                  <a:pt x="9614637" y="360826"/>
                </a:lnTo>
                <a:lnTo>
                  <a:pt x="9614637" y="338031"/>
                </a:lnTo>
                <a:lnTo>
                  <a:pt x="9672018" y="338031"/>
                </a:lnTo>
                <a:lnTo>
                  <a:pt x="9672018" y="319603"/>
                </a:lnTo>
                <a:lnTo>
                  <a:pt x="9614637" y="319603"/>
                </a:lnTo>
                <a:close/>
                <a:moveTo>
                  <a:pt x="10099797" y="319602"/>
                </a:moveTo>
                <a:lnTo>
                  <a:pt x="10099797" y="426154"/>
                </a:lnTo>
                <a:lnTo>
                  <a:pt x="10121283" y="426154"/>
                </a:lnTo>
                <a:lnTo>
                  <a:pt x="10121283" y="319602"/>
                </a:lnTo>
                <a:close/>
                <a:moveTo>
                  <a:pt x="9930799" y="319602"/>
                </a:moveTo>
                <a:lnTo>
                  <a:pt x="9930799" y="338030"/>
                </a:lnTo>
                <a:lnTo>
                  <a:pt x="9956825" y="338030"/>
                </a:lnTo>
                <a:lnTo>
                  <a:pt x="9956825" y="426154"/>
                </a:lnTo>
                <a:lnTo>
                  <a:pt x="9978747" y="426154"/>
                </a:lnTo>
                <a:lnTo>
                  <a:pt x="9978747" y="338030"/>
                </a:lnTo>
                <a:lnTo>
                  <a:pt x="10004686" y="338030"/>
                </a:lnTo>
                <a:lnTo>
                  <a:pt x="10004686" y="319602"/>
                </a:lnTo>
                <a:lnTo>
                  <a:pt x="9978747" y="319602"/>
                </a:lnTo>
                <a:lnTo>
                  <a:pt x="9956825" y="319602"/>
                </a:lnTo>
                <a:close/>
                <a:moveTo>
                  <a:pt x="9758395" y="319602"/>
                </a:moveTo>
                <a:lnTo>
                  <a:pt x="9758395" y="338030"/>
                </a:lnTo>
                <a:lnTo>
                  <a:pt x="9758395" y="407638"/>
                </a:lnTo>
                <a:lnTo>
                  <a:pt x="9758395" y="426154"/>
                </a:lnTo>
                <a:lnTo>
                  <a:pt x="9779967" y="426154"/>
                </a:lnTo>
                <a:lnTo>
                  <a:pt x="9838832" y="426154"/>
                </a:lnTo>
                <a:lnTo>
                  <a:pt x="9838832" y="407638"/>
                </a:lnTo>
                <a:lnTo>
                  <a:pt x="9779967" y="407638"/>
                </a:lnTo>
                <a:lnTo>
                  <a:pt x="9779967" y="379254"/>
                </a:lnTo>
                <a:lnTo>
                  <a:pt x="9830972" y="379254"/>
                </a:lnTo>
                <a:lnTo>
                  <a:pt x="9830972" y="360825"/>
                </a:lnTo>
                <a:lnTo>
                  <a:pt x="9779967" y="360825"/>
                </a:lnTo>
                <a:lnTo>
                  <a:pt x="9779967" y="338030"/>
                </a:lnTo>
                <a:lnTo>
                  <a:pt x="9837347" y="338030"/>
                </a:lnTo>
                <a:lnTo>
                  <a:pt x="9837347" y="319602"/>
                </a:lnTo>
                <a:lnTo>
                  <a:pt x="9779967" y="319602"/>
                </a:lnTo>
                <a:close/>
                <a:moveTo>
                  <a:pt x="9680490" y="319601"/>
                </a:moveTo>
                <a:lnTo>
                  <a:pt x="9680490" y="407638"/>
                </a:lnTo>
                <a:lnTo>
                  <a:pt x="9680490" y="426153"/>
                </a:lnTo>
                <a:lnTo>
                  <a:pt x="9701975" y="426153"/>
                </a:lnTo>
                <a:lnTo>
                  <a:pt x="9752282" y="426153"/>
                </a:lnTo>
                <a:lnTo>
                  <a:pt x="9752282" y="407638"/>
                </a:lnTo>
                <a:lnTo>
                  <a:pt x="9701975" y="407638"/>
                </a:lnTo>
                <a:lnTo>
                  <a:pt x="9701975" y="319601"/>
                </a:lnTo>
                <a:close/>
                <a:moveTo>
                  <a:pt x="10010014" y="319428"/>
                </a:moveTo>
                <a:lnTo>
                  <a:pt x="10010014" y="426067"/>
                </a:lnTo>
                <a:lnTo>
                  <a:pt x="10031499" y="426067"/>
                </a:lnTo>
                <a:lnTo>
                  <a:pt x="10031499" y="384144"/>
                </a:lnTo>
                <a:cubicBezTo>
                  <a:pt x="10031499" y="384144"/>
                  <a:pt x="10050102" y="384144"/>
                  <a:pt x="10050102" y="384144"/>
                </a:cubicBezTo>
                <a:cubicBezTo>
                  <a:pt x="10061106" y="384144"/>
                  <a:pt x="10067133" y="389822"/>
                  <a:pt x="10068967" y="397420"/>
                </a:cubicBezTo>
                <a:cubicBezTo>
                  <a:pt x="10070976" y="405804"/>
                  <a:pt x="10070451" y="418294"/>
                  <a:pt x="10072634" y="426154"/>
                </a:cubicBezTo>
                <a:lnTo>
                  <a:pt x="10094207" y="426154"/>
                </a:lnTo>
                <a:cubicBezTo>
                  <a:pt x="10092111" y="417944"/>
                  <a:pt x="10090889" y="406765"/>
                  <a:pt x="10090451" y="398206"/>
                </a:cubicBezTo>
                <a:cubicBezTo>
                  <a:pt x="10089665" y="383708"/>
                  <a:pt x="10082067" y="377944"/>
                  <a:pt x="10074556" y="375236"/>
                </a:cubicBezTo>
                <a:lnTo>
                  <a:pt x="10074556" y="375061"/>
                </a:lnTo>
                <a:cubicBezTo>
                  <a:pt x="10083639" y="372179"/>
                  <a:pt x="10093421" y="363970"/>
                  <a:pt x="10093421" y="349209"/>
                </a:cubicBezTo>
                <a:cubicBezTo>
                  <a:pt x="10093421" y="330257"/>
                  <a:pt x="10080582" y="319428"/>
                  <a:pt x="10058836" y="319428"/>
                </a:cubicBezTo>
                <a:lnTo>
                  <a:pt x="10031499" y="319428"/>
                </a:lnTo>
                <a:cubicBezTo>
                  <a:pt x="10031499" y="319428"/>
                  <a:pt x="10010189" y="319428"/>
                  <a:pt x="10010189" y="319428"/>
                </a:cubicBezTo>
                <a:close/>
                <a:moveTo>
                  <a:pt x="9886693" y="317155"/>
                </a:moveTo>
                <a:cubicBezTo>
                  <a:pt x="9854116" y="317155"/>
                  <a:pt x="9837697" y="342046"/>
                  <a:pt x="9837697" y="372789"/>
                </a:cubicBezTo>
                <a:cubicBezTo>
                  <a:pt x="9837697" y="403531"/>
                  <a:pt x="9854815" y="428423"/>
                  <a:pt x="9886693" y="428423"/>
                </a:cubicBezTo>
                <a:cubicBezTo>
                  <a:pt x="9912283" y="428423"/>
                  <a:pt x="9929576" y="413750"/>
                  <a:pt x="9932720" y="390868"/>
                </a:cubicBezTo>
                <a:lnTo>
                  <a:pt x="9910275" y="390868"/>
                </a:lnTo>
                <a:cubicBezTo>
                  <a:pt x="9907305" y="401523"/>
                  <a:pt x="9900318" y="409733"/>
                  <a:pt x="9887305" y="409733"/>
                </a:cubicBezTo>
                <a:lnTo>
                  <a:pt x="9887305" y="409645"/>
                </a:lnTo>
                <a:cubicBezTo>
                  <a:pt x="9870011" y="409645"/>
                  <a:pt x="9859793" y="392702"/>
                  <a:pt x="9859793" y="372439"/>
                </a:cubicBezTo>
                <a:cubicBezTo>
                  <a:pt x="9859793" y="352177"/>
                  <a:pt x="9869663" y="335146"/>
                  <a:pt x="9887305" y="335146"/>
                </a:cubicBezTo>
                <a:cubicBezTo>
                  <a:pt x="9900406" y="335146"/>
                  <a:pt x="9907305" y="343356"/>
                  <a:pt x="9910275" y="353400"/>
                </a:cubicBezTo>
                <a:lnTo>
                  <a:pt x="9932546" y="353400"/>
                </a:lnTo>
                <a:cubicBezTo>
                  <a:pt x="9928964" y="332527"/>
                  <a:pt x="9912633" y="317155"/>
                  <a:pt x="9886693" y="317155"/>
                </a:cubicBezTo>
                <a:close/>
                <a:moveTo>
                  <a:pt x="10175344" y="317155"/>
                </a:moveTo>
                <a:cubicBezTo>
                  <a:pt x="10142854" y="317155"/>
                  <a:pt x="10126348" y="342046"/>
                  <a:pt x="10126348" y="372789"/>
                </a:cubicBezTo>
                <a:cubicBezTo>
                  <a:pt x="10126348" y="403531"/>
                  <a:pt x="10143553" y="428423"/>
                  <a:pt x="10175344" y="428423"/>
                </a:cubicBezTo>
                <a:cubicBezTo>
                  <a:pt x="10201196" y="428423"/>
                  <a:pt x="10218401" y="413749"/>
                  <a:pt x="10221545" y="390868"/>
                </a:cubicBezTo>
                <a:lnTo>
                  <a:pt x="10199100" y="390868"/>
                </a:lnTo>
                <a:cubicBezTo>
                  <a:pt x="10195868" y="401523"/>
                  <a:pt x="10188881" y="409732"/>
                  <a:pt x="10175955" y="409732"/>
                </a:cubicBezTo>
                <a:lnTo>
                  <a:pt x="10175955" y="409645"/>
                </a:lnTo>
                <a:cubicBezTo>
                  <a:pt x="10158662" y="409645"/>
                  <a:pt x="10148531" y="392702"/>
                  <a:pt x="10148531" y="372439"/>
                </a:cubicBezTo>
                <a:cubicBezTo>
                  <a:pt x="10148531" y="352177"/>
                  <a:pt x="10158226" y="335146"/>
                  <a:pt x="10175955" y="335146"/>
                </a:cubicBezTo>
                <a:cubicBezTo>
                  <a:pt x="10189144" y="335146"/>
                  <a:pt x="10195868" y="343356"/>
                  <a:pt x="10199100" y="353400"/>
                </a:cubicBezTo>
                <a:lnTo>
                  <a:pt x="10221458" y="353400"/>
                </a:lnTo>
                <a:cubicBezTo>
                  <a:pt x="10217790" y="332526"/>
                  <a:pt x="10201458" y="317155"/>
                  <a:pt x="10175344" y="317155"/>
                </a:cubicBezTo>
                <a:close/>
                <a:moveTo>
                  <a:pt x="9239612" y="316109"/>
                </a:moveTo>
                <a:lnTo>
                  <a:pt x="9176030" y="426154"/>
                </a:lnTo>
                <a:lnTo>
                  <a:pt x="9303193" y="426154"/>
                </a:lnTo>
                <a:lnTo>
                  <a:pt x="9366862" y="316109"/>
                </a:lnTo>
                <a:close/>
                <a:moveTo>
                  <a:pt x="9366863" y="316109"/>
                </a:moveTo>
                <a:lnTo>
                  <a:pt x="9430358" y="426154"/>
                </a:lnTo>
                <a:lnTo>
                  <a:pt x="9557608" y="426154"/>
                </a:lnTo>
                <a:lnTo>
                  <a:pt x="9494026" y="316109"/>
                </a:lnTo>
                <a:close/>
                <a:moveTo>
                  <a:pt x="10013508" y="254710"/>
                </a:moveTo>
                <a:lnTo>
                  <a:pt x="10038399" y="254710"/>
                </a:lnTo>
                <a:cubicBezTo>
                  <a:pt x="10047569" y="254710"/>
                  <a:pt x="10055168" y="259951"/>
                  <a:pt x="10055168" y="270257"/>
                </a:cubicBezTo>
                <a:cubicBezTo>
                  <a:pt x="10055168" y="278991"/>
                  <a:pt x="10048268" y="285628"/>
                  <a:pt x="10038661" y="285628"/>
                </a:cubicBezTo>
                <a:lnTo>
                  <a:pt x="10013508" y="285628"/>
                </a:lnTo>
                <a:cubicBezTo>
                  <a:pt x="10013508" y="285628"/>
                  <a:pt x="10013508" y="254710"/>
                  <a:pt x="10013508" y="254710"/>
                </a:cubicBezTo>
                <a:close/>
                <a:moveTo>
                  <a:pt x="10013595" y="212090"/>
                </a:moveTo>
                <a:lnTo>
                  <a:pt x="10040234" y="212090"/>
                </a:lnTo>
                <a:cubicBezTo>
                  <a:pt x="10046347" y="212090"/>
                  <a:pt x="10052985" y="217679"/>
                  <a:pt x="10052985" y="224753"/>
                </a:cubicBezTo>
                <a:cubicBezTo>
                  <a:pt x="10052985" y="231130"/>
                  <a:pt x="10048356" y="238117"/>
                  <a:pt x="10039098" y="238117"/>
                </a:cubicBezTo>
                <a:lnTo>
                  <a:pt x="10013595" y="238117"/>
                </a:lnTo>
                <a:cubicBezTo>
                  <a:pt x="10013595" y="238117"/>
                  <a:pt x="10013595" y="212090"/>
                  <a:pt x="10013595" y="212090"/>
                </a:cubicBezTo>
                <a:close/>
                <a:moveTo>
                  <a:pt x="9593153" y="195323"/>
                </a:moveTo>
                <a:lnTo>
                  <a:pt x="9593153" y="301787"/>
                </a:lnTo>
                <a:lnTo>
                  <a:pt x="9613241" y="301787"/>
                </a:lnTo>
                <a:lnTo>
                  <a:pt x="9613241" y="222572"/>
                </a:lnTo>
                <a:lnTo>
                  <a:pt x="9635861" y="301787"/>
                </a:lnTo>
                <a:lnTo>
                  <a:pt x="9636734" y="301787"/>
                </a:lnTo>
                <a:lnTo>
                  <a:pt x="9655686" y="301787"/>
                </a:lnTo>
                <a:lnTo>
                  <a:pt x="9656560" y="301787"/>
                </a:lnTo>
                <a:lnTo>
                  <a:pt x="9679180" y="222572"/>
                </a:lnTo>
                <a:lnTo>
                  <a:pt x="9679180" y="301787"/>
                </a:lnTo>
                <a:lnTo>
                  <a:pt x="9699268" y="301787"/>
                </a:lnTo>
                <a:lnTo>
                  <a:pt x="9699268" y="195323"/>
                </a:lnTo>
                <a:lnTo>
                  <a:pt x="9688263" y="195323"/>
                </a:lnTo>
                <a:lnTo>
                  <a:pt x="9678831" y="195323"/>
                </a:lnTo>
                <a:lnTo>
                  <a:pt x="9668525" y="195323"/>
                </a:lnTo>
                <a:lnTo>
                  <a:pt x="9646254" y="270083"/>
                </a:lnTo>
                <a:lnTo>
                  <a:pt x="9623896" y="195323"/>
                </a:lnTo>
                <a:lnTo>
                  <a:pt x="9613590" y="195323"/>
                </a:lnTo>
                <a:lnTo>
                  <a:pt x="9604070" y="195323"/>
                </a:lnTo>
                <a:close/>
                <a:moveTo>
                  <a:pt x="10200846" y="195322"/>
                </a:moveTo>
                <a:lnTo>
                  <a:pt x="10200846" y="301786"/>
                </a:lnTo>
                <a:lnTo>
                  <a:pt x="10221981" y="301786"/>
                </a:lnTo>
                <a:lnTo>
                  <a:pt x="10221981" y="255323"/>
                </a:lnTo>
                <a:lnTo>
                  <a:pt x="10264515" y="255323"/>
                </a:lnTo>
                <a:lnTo>
                  <a:pt x="10264515" y="301786"/>
                </a:lnTo>
                <a:lnTo>
                  <a:pt x="10285651" y="301786"/>
                </a:lnTo>
                <a:lnTo>
                  <a:pt x="10285651" y="195322"/>
                </a:lnTo>
                <a:lnTo>
                  <a:pt x="10264515" y="195322"/>
                </a:lnTo>
                <a:lnTo>
                  <a:pt x="10264515" y="236807"/>
                </a:lnTo>
                <a:lnTo>
                  <a:pt x="10221981" y="236807"/>
                </a:lnTo>
                <a:lnTo>
                  <a:pt x="10221981" y="195322"/>
                </a:lnTo>
                <a:close/>
                <a:moveTo>
                  <a:pt x="9734989" y="195322"/>
                </a:moveTo>
                <a:lnTo>
                  <a:pt x="9734989" y="213662"/>
                </a:lnTo>
                <a:lnTo>
                  <a:pt x="9761103" y="213662"/>
                </a:lnTo>
                <a:lnTo>
                  <a:pt x="9761103" y="301786"/>
                </a:lnTo>
                <a:lnTo>
                  <a:pt x="9782937" y="301786"/>
                </a:lnTo>
                <a:lnTo>
                  <a:pt x="9782937" y="213662"/>
                </a:lnTo>
                <a:lnTo>
                  <a:pt x="9809051" y="213662"/>
                </a:lnTo>
                <a:lnTo>
                  <a:pt x="9809051" y="195322"/>
                </a:lnTo>
                <a:lnTo>
                  <a:pt x="9782937" y="195322"/>
                </a:lnTo>
                <a:lnTo>
                  <a:pt x="9761103" y="195322"/>
                </a:lnTo>
                <a:close/>
                <a:moveTo>
                  <a:pt x="10082242" y="195235"/>
                </a:moveTo>
                <a:lnTo>
                  <a:pt x="10082242" y="301787"/>
                </a:lnTo>
                <a:lnTo>
                  <a:pt x="10103728" y="301787"/>
                </a:lnTo>
                <a:lnTo>
                  <a:pt x="10103728" y="195235"/>
                </a:lnTo>
                <a:close/>
                <a:moveTo>
                  <a:pt x="10294472" y="195234"/>
                </a:moveTo>
                <a:lnTo>
                  <a:pt x="10294472" y="301786"/>
                </a:lnTo>
                <a:lnTo>
                  <a:pt x="10315958" y="301786"/>
                </a:lnTo>
                <a:lnTo>
                  <a:pt x="10315958" y="195234"/>
                </a:lnTo>
                <a:close/>
                <a:moveTo>
                  <a:pt x="9707827" y="195234"/>
                </a:moveTo>
                <a:lnTo>
                  <a:pt x="9707827" y="301786"/>
                </a:lnTo>
                <a:lnTo>
                  <a:pt x="9729312" y="301786"/>
                </a:lnTo>
                <a:lnTo>
                  <a:pt x="9729312" y="195234"/>
                </a:lnTo>
                <a:close/>
                <a:moveTo>
                  <a:pt x="9900144" y="195234"/>
                </a:moveTo>
                <a:lnTo>
                  <a:pt x="9900144" y="268510"/>
                </a:lnTo>
                <a:cubicBezTo>
                  <a:pt x="9900144" y="294100"/>
                  <a:pt x="9916040" y="304843"/>
                  <a:pt x="9942241" y="304843"/>
                </a:cubicBezTo>
                <a:cubicBezTo>
                  <a:pt x="9969490" y="304843"/>
                  <a:pt x="9984686" y="292353"/>
                  <a:pt x="9984686" y="268510"/>
                </a:cubicBezTo>
                <a:lnTo>
                  <a:pt x="9984686" y="195234"/>
                </a:lnTo>
                <a:lnTo>
                  <a:pt x="9963289" y="195234"/>
                </a:lnTo>
                <a:lnTo>
                  <a:pt x="9963289" y="270431"/>
                </a:lnTo>
                <a:cubicBezTo>
                  <a:pt x="9963289" y="279602"/>
                  <a:pt x="9955516" y="287200"/>
                  <a:pt x="9942241" y="287200"/>
                </a:cubicBezTo>
                <a:cubicBezTo>
                  <a:pt x="9926171" y="287200"/>
                  <a:pt x="9921280" y="278205"/>
                  <a:pt x="9921280" y="270431"/>
                </a:cubicBezTo>
                <a:lnTo>
                  <a:pt x="9921280" y="195234"/>
                </a:lnTo>
                <a:close/>
                <a:moveTo>
                  <a:pt x="9992198" y="195234"/>
                </a:moveTo>
                <a:lnTo>
                  <a:pt x="9992198" y="301786"/>
                </a:lnTo>
                <a:lnTo>
                  <a:pt x="9992285" y="301786"/>
                </a:lnTo>
                <a:cubicBezTo>
                  <a:pt x="9992285" y="301786"/>
                  <a:pt x="10014294" y="301786"/>
                  <a:pt x="10014294" y="301786"/>
                </a:cubicBezTo>
                <a:lnTo>
                  <a:pt x="10014381" y="301786"/>
                </a:lnTo>
                <a:lnTo>
                  <a:pt x="10045299" y="301786"/>
                </a:lnTo>
                <a:cubicBezTo>
                  <a:pt x="10065299" y="301786"/>
                  <a:pt x="10077265" y="289733"/>
                  <a:pt x="10077265" y="273052"/>
                </a:cubicBezTo>
                <a:cubicBezTo>
                  <a:pt x="10077265" y="259514"/>
                  <a:pt x="10067395" y="247811"/>
                  <a:pt x="10056740" y="245104"/>
                </a:cubicBezTo>
                <a:cubicBezTo>
                  <a:pt x="10066085" y="242745"/>
                  <a:pt x="10073596" y="233138"/>
                  <a:pt x="10073596" y="221435"/>
                </a:cubicBezTo>
                <a:cubicBezTo>
                  <a:pt x="10073596" y="205714"/>
                  <a:pt x="10061981" y="195234"/>
                  <a:pt x="10040146" y="195234"/>
                </a:cubicBezTo>
                <a:lnTo>
                  <a:pt x="10014294" y="195234"/>
                </a:lnTo>
                <a:cubicBezTo>
                  <a:pt x="10014294" y="195234"/>
                  <a:pt x="9992285" y="195234"/>
                  <a:pt x="9992285" y="195234"/>
                </a:cubicBezTo>
                <a:close/>
                <a:moveTo>
                  <a:pt x="9850187" y="192001"/>
                </a:moveTo>
                <a:cubicBezTo>
                  <a:pt x="9830710" y="192001"/>
                  <a:pt x="9810361" y="203268"/>
                  <a:pt x="9810361" y="224316"/>
                </a:cubicBezTo>
                <a:cubicBezTo>
                  <a:pt x="9810361" y="242046"/>
                  <a:pt x="9823374" y="252963"/>
                  <a:pt x="9845034" y="256805"/>
                </a:cubicBezTo>
                <a:cubicBezTo>
                  <a:pt x="9862327" y="259775"/>
                  <a:pt x="9872196" y="263007"/>
                  <a:pt x="9872196" y="273313"/>
                </a:cubicBezTo>
                <a:cubicBezTo>
                  <a:pt x="9872196" y="280300"/>
                  <a:pt x="9865297" y="286851"/>
                  <a:pt x="9850885" y="286851"/>
                </a:cubicBezTo>
                <a:cubicBezTo>
                  <a:pt x="9836475" y="286851"/>
                  <a:pt x="9829226" y="278727"/>
                  <a:pt x="9829226" y="269034"/>
                </a:cubicBezTo>
                <a:lnTo>
                  <a:pt x="9808527" y="269034"/>
                </a:lnTo>
                <a:cubicBezTo>
                  <a:pt x="9808527" y="287549"/>
                  <a:pt x="9820492" y="304579"/>
                  <a:pt x="9851846" y="304579"/>
                </a:cubicBezTo>
                <a:cubicBezTo>
                  <a:pt x="9883201" y="304579"/>
                  <a:pt x="9894554" y="288684"/>
                  <a:pt x="9894554" y="270780"/>
                </a:cubicBezTo>
                <a:cubicBezTo>
                  <a:pt x="9894554" y="253924"/>
                  <a:pt x="9883462" y="243269"/>
                  <a:pt x="9863811" y="239426"/>
                </a:cubicBezTo>
                <a:cubicBezTo>
                  <a:pt x="9844946" y="235757"/>
                  <a:pt x="9832021" y="234972"/>
                  <a:pt x="9832021" y="222919"/>
                </a:cubicBezTo>
                <a:cubicBezTo>
                  <a:pt x="9832021" y="214709"/>
                  <a:pt x="9839444" y="209818"/>
                  <a:pt x="9851060" y="209818"/>
                </a:cubicBezTo>
                <a:cubicBezTo>
                  <a:pt x="9863375" y="209818"/>
                  <a:pt x="9870536" y="215932"/>
                  <a:pt x="9870536" y="226151"/>
                </a:cubicBezTo>
                <a:lnTo>
                  <a:pt x="9891323" y="226151"/>
                </a:lnTo>
                <a:cubicBezTo>
                  <a:pt x="9891323" y="209294"/>
                  <a:pt x="9878659" y="192001"/>
                  <a:pt x="9850187" y="192001"/>
                </a:cubicBezTo>
                <a:close/>
                <a:moveTo>
                  <a:pt x="10150453" y="192001"/>
                </a:moveTo>
                <a:cubicBezTo>
                  <a:pt x="10130976" y="192001"/>
                  <a:pt x="10110714" y="203268"/>
                  <a:pt x="10110714" y="224316"/>
                </a:cubicBezTo>
                <a:cubicBezTo>
                  <a:pt x="10110714" y="242046"/>
                  <a:pt x="10123727" y="252963"/>
                  <a:pt x="10145299" y="256805"/>
                </a:cubicBezTo>
                <a:lnTo>
                  <a:pt x="10145387" y="256805"/>
                </a:lnTo>
                <a:cubicBezTo>
                  <a:pt x="10162680" y="259775"/>
                  <a:pt x="10172375" y="263007"/>
                  <a:pt x="10172375" y="273313"/>
                </a:cubicBezTo>
                <a:cubicBezTo>
                  <a:pt x="10172375" y="280300"/>
                  <a:pt x="10165562" y="286850"/>
                  <a:pt x="10151151" y="286850"/>
                </a:cubicBezTo>
                <a:cubicBezTo>
                  <a:pt x="10136741" y="286850"/>
                  <a:pt x="10129492" y="278727"/>
                  <a:pt x="10129492" y="269034"/>
                </a:cubicBezTo>
                <a:lnTo>
                  <a:pt x="10108880" y="269034"/>
                </a:lnTo>
                <a:cubicBezTo>
                  <a:pt x="10108880" y="287549"/>
                  <a:pt x="10120845" y="304579"/>
                  <a:pt x="10152112" y="304579"/>
                </a:cubicBezTo>
                <a:cubicBezTo>
                  <a:pt x="10183379" y="304579"/>
                  <a:pt x="10194733" y="288684"/>
                  <a:pt x="10194733" y="270780"/>
                </a:cubicBezTo>
                <a:cubicBezTo>
                  <a:pt x="10194733" y="253923"/>
                  <a:pt x="10183728" y="243269"/>
                  <a:pt x="10164164" y="239426"/>
                </a:cubicBezTo>
                <a:cubicBezTo>
                  <a:pt x="10145212" y="235757"/>
                  <a:pt x="10132286" y="234971"/>
                  <a:pt x="10132286" y="222919"/>
                </a:cubicBezTo>
                <a:cubicBezTo>
                  <a:pt x="10132286" y="214709"/>
                  <a:pt x="10139710" y="209818"/>
                  <a:pt x="10151326" y="209818"/>
                </a:cubicBezTo>
                <a:cubicBezTo>
                  <a:pt x="10163553" y="209818"/>
                  <a:pt x="10170628" y="215932"/>
                  <a:pt x="10170628" y="226151"/>
                </a:cubicBezTo>
                <a:lnTo>
                  <a:pt x="10191501" y="226151"/>
                </a:lnTo>
                <a:cubicBezTo>
                  <a:pt x="10191501" y="209294"/>
                  <a:pt x="10178663" y="192001"/>
                  <a:pt x="10150453" y="192001"/>
                </a:cubicBezTo>
                <a:close/>
                <a:moveTo>
                  <a:pt x="10395347" y="178031"/>
                </a:moveTo>
                <a:lnTo>
                  <a:pt x="10395347" y="559258"/>
                </a:lnTo>
                <a:lnTo>
                  <a:pt x="10401635" y="559258"/>
                </a:lnTo>
                <a:lnTo>
                  <a:pt x="10401635" y="178031"/>
                </a:lnTo>
                <a:close/>
                <a:moveTo>
                  <a:pt x="9366862" y="95670"/>
                </a:moveTo>
                <a:lnTo>
                  <a:pt x="9303193" y="205889"/>
                </a:lnTo>
                <a:lnTo>
                  <a:pt x="9366862" y="316109"/>
                </a:lnTo>
                <a:lnTo>
                  <a:pt x="9430356" y="205889"/>
                </a:lnTo>
                <a:close/>
                <a:moveTo>
                  <a:pt x="0" y="0"/>
                </a:moveTo>
                <a:lnTo>
                  <a:pt x="12191989" y="0"/>
                </a:lnTo>
                <a:lnTo>
                  <a:pt x="12191989" y="6857994"/>
                </a:lnTo>
                <a:lnTo>
                  <a:pt x="11617591" y="6857994"/>
                </a:lnTo>
                <a:lnTo>
                  <a:pt x="11617591" y="6587994"/>
                </a:lnTo>
                <a:lnTo>
                  <a:pt x="11606791" y="6587994"/>
                </a:lnTo>
                <a:lnTo>
                  <a:pt x="11606791" y="6857994"/>
                </a:lnTo>
                <a:lnTo>
                  <a:pt x="0" y="6857994"/>
                </a:lnTo>
                <a:close/>
              </a:path>
            </a:pathLst>
          </a:custGeom>
        </p:spPr>
        <p:txBody>
          <a:bodyPr wrap="square">
            <a:noAutofit/>
          </a:bodyPr>
          <a:lstStyle>
            <a:lvl1pPr>
              <a:defRPr>
                <a:latin typeface="Meiryo UI" panose="020B0604030504040204" pitchFamily="34" charset="-128"/>
                <a:ea typeface="Meiryo UI" panose="020B0604030504040204" pitchFamily="34" charset="-128"/>
              </a:defRPr>
            </a:lvl1pPr>
          </a:lstStyle>
          <a:p>
            <a:endParaRPr lang="en-JP" dirty="0"/>
          </a:p>
        </p:txBody>
      </p:sp>
      <p:sp>
        <p:nvSpPr>
          <p:cNvPr id="73" name="Slide Number Divider with 0.1pt Outline">
            <a:extLst>
              <a:ext uri="{FF2B5EF4-FFF2-40B4-BE49-F238E27FC236}">
                <a16:creationId xmlns:a16="http://schemas.microsoft.com/office/drawing/2014/main" id="{601D0F02-1096-E43B-827E-B94AE1C05E44}"/>
              </a:ext>
            </a:extLst>
          </p:cNvPr>
          <p:cNvSpPr/>
          <p:nvPr userDrawn="1"/>
        </p:nvSpPr>
        <p:spPr>
          <a:xfrm>
            <a:off x="11606802" y="6588000"/>
            <a:ext cx="10800" cy="270535"/>
          </a:xfrm>
          <a:prstGeom prst="rect">
            <a:avLst/>
          </a:prstGeom>
          <a:solidFill>
            <a:srgbClr val="000000"/>
          </a:solidFill>
          <a:ln w="127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92" name="Copyright">
            <a:extLst>
              <a:ext uri="{FF2B5EF4-FFF2-40B4-BE49-F238E27FC236}">
                <a16:creationId xmlns:a16="http://schemas.microsoft.com/office/drawing/2014/main" id="{8A1298CD-DBF1-4AE6-820D-0693425305DC}"/>
              </a:ext>
            </a:extLst>
          </p:cNvPr>
          <p:cNvSpPr txBox="1"/>
          <p:nvPr userDrawn="1"/>
        </p:nvSpPr>
        <p:spPr>
          <a:xfrm>
            <a:off x="180975" y="6645600"/>
            <a:ext cx="1292225" cy="105222"/>
          </a:xfrm>
          <a:prstGeom prst="rect">
            <a:avLst/>
          </a:prstGeom>
          <a:noFill/>
        </p:spPr>
        <p:txBody>
          <a:bodyPr wrap="square" lIns="0" tIns="0" rIns="0" bIns="0" rtlCol="0">
            <a:spAutoFit/>
          </a:bodyPr>
          <a:lstStyle>
            <a:defPPr>
              <a:defRPr lang="ja-JP"/>
            </a:defPPr>
            <a:lvl1pPr defTabSz="914400">
              <a:lnSpc>
                <a:spcPct val="130000"/>
              </a:lnSpc>
              <a:defRPr kumimoji="1" sz="600">
                <a:solidFill>
                  <a:srgbClr val="666666"/>
                </a:solidFill>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lvl="0"/>
            <a:r>
              <a:rPr lang="en-US" altLang="ja-JP" dirty="0">
                <a:solidFill>
                  <a:srgbClr val="000000"/>
                </a:solidFill>
                <a:latin typeface="Meiryo UI" panose="020B0604030504040204" pitchFamily="34" charset="-128"/>
                <a:ea typeface="Meiryo UI" panose="020B0604030504040204" pitchFamily="34" charset="-128"/>
              </a:rPr>
              <a:t>©Mitsubishi</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Electric</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Corporation</a:t>
            </a:r>
            <a:endParaRPr lang="ja-JP" altLang="en-US" dirty="0">
              <a:solidFill>
                <a:srgbClr val="000000"/>
              </a:solidFill>
              <a:latin typeface="Meiryo UI" panose="020B0604030504040204" pitchFamily="34" charset="-128"/>
              <a:ea typeface="Meiryo UI" panose="020B0604030504040204" pitchFamily="34" charset="-128"/>
            </a:endParaRPr>
          </a:p>
        </p:txBody>
      </p:sp>
      <p:pic>
        <p:nvPicPr>
          <p:cNvPr id="69" name="Picture 68">
            <a:extLst>
              <a:ext uri="{FF2B5EF4-FFF2-40B4-BE49-F238E27FC236}">
                <a16:creationId xmlns:a16="http://schemas.microsoft.com/office/drawing/2014/main" id="{499D62EE-8090-3520-60A8-E8798F2B11F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6041" y="89724"/>
            <a:ext cx="2826962" cy="481371"/>
          </a:xfrm>
          <a:prstGeom prst="rect">
            <a:avLst/>
          </a:prstGeom>
        </p:spPr>
      </p:pic>
      <p:sp>
        <p:nvSpPr>
          <p:cNvPr id="90" name="Section Title">
            <a:extLst>
              <a:ext uri="{FF2B5EF4-FFF2-40B4-BE49-F238E27FC236}">
                <a16:creationId xmlns:a16="http://schemas.microsoft.com/office/drawing/2014/main" id="{E2EF5ACD-618B-4007-93C2-5774E9F5BE42}"/>
              </a:ext>
            </a:extLst>
          </p:cNvPr>
          <p:cNvSpPr>
            <a:spLocks noGrp="1"/>
          </p:cNvSpPr>
          <p:nvPr>
            <p:ph type="title"/>
          </p:nvPr>
        </p:nvSpPr>
        <p:spPr>
          <a:xfrm>
            <a:off x="5151083" y="3164553"/>
            <a:ext cx="4575763" cy="537924"/>
          </a:xfrm>
        </p:spPr>
        <p:txBody>
          <a:bodyPr lIns="536400" tIns="0" rIns="0" bIns="0" anchor="t"/>
          <a:lstStyle>
            <a:lvl1pPr>
              <a:defRPr sz="2500" spc="650" baseline="0">
                <a:solidFill>
                  <a:schemeClr val="tx1"/>
                </a:solidFill>
                <a:latin typeface="Meiryo UI" panose="020B0604030504040204" pitchFamily="34" charset="-128"/>
                <a:ea typeface="Meiryo UI" panose="020B0604030504040204" pitchFamily="34" charset="-128"/>
              </a:defRPr>
            </a:lvl1pPr>
          </a:lstStyle>
          <a:p>
            <a:r>
              <a:rPr lang="ja-JP" altLang="en-US" dirty="0"/>
              <a:t>マスター タイトルの書式設定</a:t>
            </a:r>
            <a:endParaRPr lang="en-US" dirty="0"/>
          </a:p>
        </p:txBody>
      </p:sp>
      <p:sp>
        <p:nvSpPr>
          <p:cNvPr id="89" name="Section Subtitle">
            <a:extLst>
              <a:ext uri="{FF2B5EF4-FFF2-40B4-BE49-F238E27FC236}">
                <a16:creationId xmlns:a16="http://schemas.microsoft.com/office/drawing/2014/main" id="{195581CF-3F47-487A-B626-A244C38513FB}"/>
              </a:ext>
            </a:extLst>
          </p:cNvPr>
          <p:cNvSpPr>
            <a:spLocks noGrp="1"/>
          </p:cNvSpPr>
          <p:nvPr>
            <p:ph type="body" idx="17"/>
          </p:nvPr>
        </p:nvSpPr>
        <p:spPr>
          <a:xfrm>
            <a:off x="5151082" y="2799296"/>
            <a:ext cx="4575764" cy="363600"/>
          </a:xfrm>
        </p:spPr>
        <p:txBody>
          <a:bodyPr lIns="565200" tIns="0" rIns="0" bIns="79200" anchor="b">
            <a:normAutofit/>
          </a:bodyPr>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1050" b="1" spc="300" baseline="0">
                <a:solidFill>
                  <a:srgbClr val="E60012"/>
                </a:solidFill>
                <a:latin typeface="Meiryo UI" panose="020B0604030504040204" pitchFamily="34" charset="-128"/>
                <a:ea typeface="Meiryo UI" panose="020B0604030504040204" pitchFamily="34" charset="-128"/>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ja-JP" altLang="en-US" dirty="0"/>
              <a:t>マスター テキストの書式設定</a:t>
            </a:r>
          </a:p>
        </p:txBody>
      </p:sp>
      <p:sp>
        <p:nvSpPr>
          <p:cNvPr id="88" name="Section Number Placeholder">
            <a:extLst>
              <a:ext uri="{FF2B5EF4-FFF2-40B4-BE49-F238E27FC236}">
                <a16:creationId xmlns:a16="http://schemas.microsoft.com/office/drawing/2014/main" id="{535BC3E6-7FCD-4D85-B547-B8873F9ABFE2}"/>
              </a:ext>
            </a:extLst>
          </p:cNvPr>
          <p:cNvSpPr>
            <a:spLocks noGrp="1"/>
          </p:cNvSpPr>
          <p:nvPr>
            <p:ph type="body" sz="quarter" idx="18" hasCustomPrompt="1"/>
          </p:nvPr>
        </p:nvSpPr>
        <p:spPr>
          <a:xfrm>
            <a:off x="3569115" y="2799296"/>
            <a:ext cx="1581968" cy="903181"/>
          </a:xfrm>
          <a:noFill/>
        </p:spPr>
        <p:txBody>
          <a:bodyPr lIns="0" tIns="0" rIns="0" bIns="61200" anchor="ctr">
            <a:noAutofit/>
          </a:bodyPr>
          <a:lstStyle>
            <a:lvl1pPr marL="0" indent="0" algn="ctr">
              <a:buNone/>
              <a:defRPr sz="3600" b="1">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a:p>
        </p:txBody>
      </p:sp>
      <p:sp>
        <p:nvSpPr>
          <p:cNvPr id="4" name="Date Placeholder">
            <a:extLst>
              <a:ext uri="{FF2B5EF4-FFF2-40B4-BE49-F238E27FC236}">
                <a16:creationId xmlns:a16="http://schemas.microsoft.com/office/drawing/2014/main" id="{0FBF3C95-3F81-46A6-98EF-44114F56F020}"/>
              </a:ext>
            </a:extLst>
          </p:cNvPr>
          <p:cNvSpPr>
            <a:spLocks noGrp="1"/>
          </p:cNvSpPr>
          <p:nvPr>
            <p:ph type="dt" sz="half" idx="10"/>
          </p:nvPr>
        </p:nvSpPr>
        <p:spPr/>
        <p:txBody>
          <a:bodyPr vert="horz" lIns="0" tIns="0" rIns="0" bIns="0" rtlCol="0" anchor="ctr"/>
          <a:lstStyle>
            <a:lvl1pPr>
              <a:defRPr lang="ja-JP" altLang="en-US">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8" name="Footer Placeholder">
            <a:extLst>
              <a:ext uri="{FF2B5EF4-FFF2-40B4-BE49-F238E27FC236}">
                <a16:creationId xmlns:a16="http://schemas.microsoft.com/office/drawing/2014/main" id="{FB88C09F-0233-43D7-8C2E-7E87B845C8AC}"/>
              </a:ext>
            </a:extLst>
          </p:cNvPr>
          <p:cNvSpPr>
            <a:spLocks noGrp="1"/>
          </p:cNvSpPr>
          <p:nvPr>
            <p:ph type="ftr" sz="quarter" idx="11"/>
          </p:nvPr>
        </p:nvSpPr>
        <p:spPr/>
        <p:txBody>
          <a:bodyPr vert="horz" lIns="0" tIns="0" rIns="0" bIns="0" rtlCol="0" anchor="ctr"/>
          <a:lstStyle>
            <a:lvl1pPr>
              <a:defRPr lang="ja-JP" altLang="en-US" dirty="0">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9" name="Slide Number Placeholder">
            <a:extLst>
              <a:ext uri="{FF2B5EF4-FFF2-40B4-BE49-F238E27FC236}">
                <a16:creationId xmlns:a16="http://schemas.microsoft.com/office/drawing/2014/main" id="{CB0467C2-4240-4BC1-A723-A6378A4C6416}"/>
              </a:ext>
            </a:extLst>
          </p:cNvPr>
          <p:cNvSpPr>
            <a:spLocks noGrp="1"/>
          </p:cNvSpPr>
          <p:nvPr>
            <p:ph type="sldNum" sz="quarter" idx="12"/>
          </p:nvPr>
        </p:nvSpPr>
        <p:spPr/>
        <p:txBody>
          <a:bodyPr vert="horz" lIns="0" tIns="0" rIns="0" bIns="0" rtlCol="0" anchor="ctr"/>
          <a:lstStyle>
            <a:lvl1pPr>
              <a:defRPr lang="en-US" altLang="ja-JP" smtClean="0">
                <a:solidFill>
                  <a:srgbClr val="000000"/>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grpSp>
        <p:nvGrpSpPr>
          <p:cNvPr id="2" name="Group 18">
            <a:extLst>
              <a:ext uri="{FF2B5EF4-FFF2-40B4-BE49-F238E27FC236}">
                <a16:creationId xmlns:a16="http://schemas.microsoft.com/office/drawing/2014/main" id="{3F74C711-5182-50E4-E10A-90070F074DA3}"/>
              </a:ext>
            </a:extLst>
          </p:cNvPr>
          <p:cNvGrpSpPr/>
          <p:nvPr userDrawn="1"/>
        </p:nvGrpSpPr>
        <p:grpSpPr>
          <a:xfrm>
            <a:off x="12527745" y="1706598"/>
            <a:ext cx="2425636" cy="4834602"/>
            <a:chOff x="12216680" y="2015317"/>
            <a:chExt cx="2425636" cy="4834602"/>
          </a:xfrm>
        </p:grpSpPr>
        <p:sp>
          <p:nvSpPr>
            <p:cNvPr id="3" name="Rectangle 19">
              <a:extLst>
                <a:ext uri="{FF2B5EF4-FFF2-40B4-BE49-F238E27FC236}">
                  <a16:creationId xmlns:a16="http://schemas.microsoft.com/office/drawing/2014/main" id="{48EA7E23-7D27-E953-2260-9A1344F7848D}"/>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5" name="Rectangle 20">
              <a:extLst>
                <a:ext uri="{FF2B5EF4-FFF2-40B4-BE49-F238E27FC236}">
                  <a16:creationId xmlns:a16="http://schemas.microsoft.com/office/drawing/2014/main" id="{B1366022-B8A5-A7FC-3B39-BA31FA05DDBE}"/>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1">
              <a:extLst>
                <a:ext uri="{FF2B5EF4-FFF2-40B4-BE49-F238E27FC236}">
                  <a16:creationId xmlns:a16="http://schemas.microsoft.com/office/drawing/2014/main" id="{28A35167-E515-50CC-8930-C794175A76A3}"/>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 name="Rectangle 22">
              <a:extLst>
                <a:ext uri="{FF2B5EF4-FFF2-40B4-BE49-F238E27FC236}">
                  <a16:creationId xmlns:a16="http://schemas.microsoft.com/office/drawing/2014/main" id="{960D5FA9-8238-FE14-E017-14C35D056D32}"/>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3">
              <a:extLst>
                <a:ext uri="{FF2B5EF4-FFF2-40B4-BE49-F238E27FC236}">
                  <a16:creationId xmlns:a16="http://schemas.microsoft.com/office/drawing/2014/main" id="{7A2B2B75-EE61-F629-CA57-521499445CC3}"/>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TextBox 24">
              <a:extLst>
                <a:ext uri="{FF2B5EF4-FFF2-40B4-BE49-F238E27FC236}">
                  <a16:creationId xmlns:a16="http://schemas.microsoft.com/office/drawing/2014/main" id="{A3D2F291-EA4B-5B4C-9A3F-F819F037A315}"/>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2" name="TextBox 25">
              <a:extLst>
                <a:ext uri="{FF2B5EF4-FFF2-40B4-BE49-F238E27FC236}">
                  <a16:creationId xmlns:a16="http://schemas.microsoft.com/office/drawing/2014/main" id="{8E5AD6EE-EAE8-04E2-DE64-388C3E2BA039}"/>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3" name="TextBox 26">
              <a:extLst>
                <a:ext uri="{FF2B5EF4-FFF2-40B4-BE49-F238E27FC236}">
                  <a16:creationId xmlns:a16="http://schemas.microsoft.com/office/drawing/2014/main" id="{EFB0D095-2DFB-1D79-34A0-034E1DCF95E3}"/>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4" name="TextBox 27">
              <a:extLst>
                <a:ext uri="{FF2B5EF4-FFF2-40B4-BE49-F238E27FC236}">
                  <a16:creationId xmlns:a16="http://schemas.microsoft.com/office/drawing/2014/main" id="{C6969CBD-22D8-AFEF-AC51-0FD098E78D7A}"/>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5" name="TextBox 28">
              <a:extLst>
                <a:ext uri="{FF2B5EF4-FFF2-40B4-BE49-F238E27FC236}">
                  <a16:creationId xmlns:a16="http://schemas.microsoft.com/office/drawing/2014/main" id="{049406B2-AC16-3485-B62C-999D43C65DA3}"/>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6" name="TextBox 29">
              <a:extLst>
                <a:ext uri="{FF2B5EF4-FFF2-40B4-BE49-F238E27FC236}">
                  <a16:creationId xmlns:a16="http://schemas.microsoft.com/office/drawing/2014/main" id="{CED673DB-7FE2-52D5-0834-59E73624E2A6}"/>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7" name="TextBox 30">
              <a:extLst>
                <a:ext uri="{FF2B5EF4-FFF2-40B4-BE49-F238E27FC236}">
                  <a16:creationId xmlns:a16="http://schemas.microsoft.com/office/drawing/2014/main" id="{723D6DD3-BD85-7004-C6C7-0DB052521609}"/>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8" name="Rectangle 31">
              <a:extLst>
                <a:ext uri="{FF2B5EF4-FFF2-40B4-BE49-F238E27FC236}">
                  <a16:creationId xmlns:a16="http://schemas.microsoft.com/office/drawing/2014/main" id="{DF000C48-236B-F31E-CCF8-21AC9149A739}"/>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9" name="Rectangle 32">
              <a:extLst>
                <a:ext uri="{FF2B5EF4-FFF2-40B4-BE49-F238E27FC236}">
                  <a16:creationId xmlns:a16="http://schemas.microsoft.com/office/drawing/2014/main" id="{C51702C4-4213-652E-9341-21373867213E}"/>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3">
              <a:extLst>
                <a:ext uri="{FF2B5EF4-FFF2-40B4-BE49-F238E27FC236}">
                  <a16:creationId xmlns:a16="http://schemas.microsoft.com/office/drawing/2014/main" id="{024CACC5-51FC-D10D-B127-C00358AEFAFE}"/>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4">
              <a:extLst>
                <a:ext uri="{FF2B5EF4-FFF2-40B4-BE49-F238E27FC236}">
                  <a16:creationId xmlns:a16="http://schemas.microsoft.com/office/drawing/2014/main" id="{07D44833-4913-B855-9B30-436E58F5EA5E}"/>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5">
              <a:extLst>
                <a:ext uri="{FF2B5EF4-FFF2-40B4-BE49-F238E27FC236}">
                  <a16:creationId xmlns:a16="http://schemas.microsoft.com/office/drawing/2014/main" id="{F067B087-0CF4-DA62-640E-6422D13758CF}"/>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6">
              <a:extLst>
                <a:ext uri="{FF2B5EF4-FFF2-40B4-BE49-F238E27FC236}">
                  <a16:creationId xmlns:a16="http://schemas.microsoft.com/office/drawing/2014/main" id="{5CDEA1C8-793D-5556-CF6A-613AB008FC24}"/>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7">
              <a:extLst>
                <a:ext uri="{FF2B5EF4-FFF2-40B4-BE49-F238E27FC236}">
                  <a16:creationId xmlns:a16="http://schemas.microsoft.com/office/drawing/2014/main" id="{16C7DC62-0AF9-6280-1DF8-32F3214280A8}"/>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8">
              <a:extLst>
                <a:ext uri="{FF2B5EF4-FFF2-40B4-BE49-F238E27FC236}">
                  <a16:creationId xmlns:a16="http://schemas.microsoft.com/office/drawing/2014/main" id="{BBF4A29E-664D-815D-EF61-9D4A9A3D6354}"/>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9">
              <a:extLst>
                <a:ext uri="{FF2B5EF4-FFF2-40B4-BE49-F238E27FC236}">
                  <a16:creationId xmlns:a16="http://schemas.microsoft.com/office/drawing/2014/main" id="{6781D25B-EE8C-4CC5-84F0-37B6DB11244A}"/>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40">
              <a:extLst>
                <a:ext uri="{FF2B5EF4-FFF2-40B4-BE49-F238E27FC236}">
                  <a16:creationId xmlns:a16="http://schemas.microsoft.com/office/drawing/2014/main" id="{530B25A9-CA40-1899-BB0A-65679E2FC1FF}"/>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1">
              <a:extLst>
                <a:ext uri="{FF2B5EF4-FFF2-40B4-BE49-F238E27FC236}">
                  <a16:creationId xmlns:a16="http://schemas.microsoft.com/office/drawing/2014/main" id="{1B88FFD1-09B8-CAF7-CD5D-42B6509F84F1}"/>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2">
              <a:extLst>
                <a:ext uri="{FF2B5EF4-FFF2-40B4-BE49-F238E27FC236}">
                  <a16:creationId xmlns:a16="http://schemas.microsoft.com/office/drawing/2014/main" id="{8C94F959-01F0-7A37-1FAD-29067753A61E}"/>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3">
              <a:extLst>
                <a:ext uri="{FF2B5EF4-FFF2-40B4-BE49-F238E27FC236}">
                  <a16:creationId xmlns:a16="http://schemas.microsoft.com/office/drawing/2014/main" id="{28C7495B-044A-953F-7527-489416374C80}"/>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4">
              <a:extLst>
                <a:ext uri="{FF2B5EF4-FFF2-40B4-BE49-F238E27FC236}">
                  <a16:creationId xmlns:a16="http://schemas.microsoft.com/office/drawing/2014/main" id="{6A7CC648-DE31-0548-CDD5-15622B1EACB1}"/>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TextBox 45">
              <a:extLst>
                <a:ext uri="{FF2B5EF4-FFF2-40B4-BE49-F238E27FC236}">
                  <a16:creationId xmlns:a16="http://schemas.microsoft.com/office/drawing/2014/main" id="{6385F6CB-EDC4-4AE4-DA52-BA39F7FF4274}"/>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3" name="TextBox 46">
              <a:extLst>
                <a:ext uri="{FF2B5EF4-FFF2-40B4-BE49-F238E27FC236}">
                  <a16:creationId xmlns:a16="http://schemas.microsoft.com/office/drawing/2014/main" id="{CD6054D8-A818-F1BA-3936-C838BB5B1C90}"/>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4" name="TextBox 47">
              <a:extLst>
                <a:ext uri="{FF2B5EF4-FFF2-40B4-BE49-F238E27FC236}">
                  <a16:creationId xmlns:a16="http://schemas.microsoft.com/office/drawing/2014/main" id="{728B5297-D606-FC6C-B4EC-07E15652B81B}"/>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5" name="TextBox 48">
              <a:extLst>
                <a:ext uri="{FF2B5EF4-FFF2-40B4-BE49-F238E27FC236}">
                  <a16:creationId xmlns:a16="http://schemas.microsoft.com/office/drawing/2014/main" id="{06D78E97-9176-6AC8-F33A-C757CB8646CD}"/>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6" name="TextBox 49">
              <a:extLst>
                <a:ext uri="{FF2B5EF4-FFF2-40B4-BE49-F238E27FC236}">
                  <a16:creationId xmlns:a16="http://schemas.microsoft.com/office/drawing/2014/main" id="{419C1129-84C4-C496-5D28-33DE792E201B}"/>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7" name="TextBox 50">
              <a:extLst>
                <a:ext uri="{FF2B5EF4-FFF2-40B4-BE49-F238E27FC236}">
                  <a16:creationId xmlns:a16="http://schemas.microsoft.com/office/drawing/2014/main" id="{5862034F-D9A0-A7BD-4FC0-9ACE0DD0ED7C}"/>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8" name="TextBox 51">
              <a:extLst>
                <a:ext uri="{FF2B5EF4-FFF2-40B4-BE49-F238E27FC236}">
                  <a16:creationId xmlns:a16="http://schemas.microsoft.com/office/drawing/2014/main" id="{D7604728-0A89-A94F-6419-EAE8E581BE84}"/>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39" name="Rectangle 52">
              <a:extLst>
                <a:ext uri="{FF2B5EF4-FFF2-40B4-BE49-F238E27FC236}">
                  <a16:creationId xmlns:a16="http://schemas.microsoft.com/office/drawing/2014/main" id="{867A4153-C632-4327-5A4D-9A3EAFBBD231}"/>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0" name="Rectangle 53">
              <a:extLst>
                <a:ext uri="{FF2B5EF4-FFF2-40B4-BE49-F238E27FC236}">
                  <a16:creationId xmlns:a16="http://schemas.microsoft.com/office/drawing/2014/main" id="{D8875D35-C687-2C83-FA25-84F706F83092}"/>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4">
              <a:extLst>
                <a:ext uri="{FF2B5EF4-FFF2-40B4-BE49-F238E27FC236}">
                  <a16:creationId xmlns:a16="http://schemas.microsoft.com/office/drawing/2014/main" id="{0F26E99C-9637-AEDD-0BAB-C5B9D85EEEF4}"/>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5">
              <a:extLst>
                <a:ext uri="{FF2B5EF4-FFF2-40B4-BE49-F238E27FC236}">
                  <a16:creationId xmlns:a16="http://schemas.microsoft.com/office/drawing/2014/main" id="{5ABC70C1-6C63-BA05-1BBB-0BA2D03915FE}"/>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6">
              <a:extLst>
                <a:ext uri="{FF2B5EF4-FFF2-40B4-BE49-F238E27FC236}">
                  <a16:creationId xmlns:a16="http://schemas.microsoft.com/office/drawing/2014/main" id="{454379AD-C814-0661-61A2-7CFC1F4A8B03}"/>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TextBox 57">
              <a:extLst>
                <a:ext uri="{FF2B5EF4-FFF2-40B4-BE49-F238E27FC236}">
                  <a16:creationId xmlns:a16="http://schemas.microsoft.com/office/drawing/2014/main" id="{FC453AF5-3241-C654-A58D-3E22ABDE61F5}"/>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5" name="TextBox 58">
              <a:extLst>
                <a:ext uri="{FF2B5EF4-FFF2-40B4-BE49-F238E27FC236}">
                  <a16:creationId xmlns:a16="http://schemas.microsoft.com/office/drawing/2014/main" id="{5A969472-2B9B-66FD-333E-FB005B8636A7}"/>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6" name="TextBox 59">
              <a:extLst>
                <a:ext uri="{FF2B5EF4-FFF2-40B4-BE49-F238E27FC236}">
                  <a16:creationId xmlns:a16="http://schemas.microsoft.com/office/drawing/2014/main" id="{B043A9E9-8C7A-7761-0C9B-4724C5FE094C}"/>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7" name="TextBox 60">
              <a:extLst>
                <a:ext uri="{FF2B5EF4-FFF2-40B4-BE49-F238E27FC236}">
                  <a16:creationId xmlns:a16="http://schemas.microsoft.com/office/drawing/2014/main" id="{4F4DB1D4-6110-4E8B-75C8-F0440DB99A55}"/>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8" name="TextBox 61">
              <a:extLst>
                <a:ext uri="{FF2B5EF4-FFF2-40B4-BE49-F238E27FC236}">
                  <a16:creationId xmlns:a16="http://schemas.microsoft.com/office/drawing/2014/main" id="{9B4FF0A1-FBF7-60D4-159D-59F74F245657}"/>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49" name="TextBox 62">
              <a:extLst>
                <a:ext uri="{FF2B5EF4-FFF2-40B4-BE49-F238E27FC236}">
                  <a16:creationId xmlns:a16="http://schemas.microsoft.com/office/drawing/2014/main" id="{B3438CF2-38CB-A542-6A6C-1BA78D99AD83}"/>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0" name="TextBox 63">
              <a:extLst>
                <a:ext uri="{FF2B5EF4-FFF2-40B4-BE49-F238E27FC236}">
                  <a16:creationId xmlns:a16="http://schemas.microsoft.com/office/drawing/2014/main" id="{5AEB9D36-9FB0-13C6-1910-35A665269CB4}"/>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1" name="TextBox 64">
              <a:extLst>
                <a:ext uri="{FF2B5EF4-FFF2-40B4-BE49-F238E27FC236}">
                  <a16:creationId xmlns:a16="http://schemas.microsoft.com/office/drawing/2014/main" id="{E2845BAE-0563-C5C5-069F-64F729747F43}"/>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2" name="TextBox 65">
              <a:extLst>
                <a:ext uri="{FF2B5EF4-FFF2-40B4-BE49-F238E27FC236}">
                  <a16:creationId xmlns:a16="http://schemas.microsoft.com/office/drawing/2014/main" id="{0E2B6E80-DA2B-3525-1698-ACA652EC58F8}"/>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3" name="TextBox 66">
              <a:extLst>
                <a:ext uri="{FF2B5EF4-FFF2-40B4-BE49-F238E27FC236}">
                  <a16:creationId xmlns:a16="http://schemas.microsoft.com/office/drawing/2014/main" id="{3CB28C00-968C-4FD5-6C9F-4A8CF37414D5}"/>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4" name="TextBox 67">
              <a:extLst>
                <a:ext uri="{FF2B5EF4-FFF2-40B4-BE49-F238E27FC236}">
                  <a16:creationId xmlns:a16="http://schemas.microsoft.com/office/drawing/2014/main" id="{49AD71A7-84D4-F5AE-CBD6-2D2610ED2F4D}"/>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5" name="TextBox 68">
              <a:extLst>
                <a:ext uri="{FF2B5EF4-FFF2-40B4-BE49-F238E27FC236}">
                  <a16:creationId xmlns:a16="http://schemas.microsoft.com/office/drawing/2014/main" id="{59AE8A5F-8783-05DD-369A-E6D6681124EE}"/>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6" name="TextBox 69">
              <a:extLst>
                <a:ext uri="{FF2B5EF4-FFF2-40B4-BE49-F238E27FC236}">
                  <a16:creationId xmlns:a16="http://schemas.microsoft.com/office/drawing/2014/main" id="{F905E8DF-855C-0AC3-7A25-8E7462ABDEFB}"/>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7" name="TextBox 70">
              <a:extLst>
                <a:ext uri="{FF2B5EF4-FFF2-40B4-BE49-F238E27FC236}">
                  <a16:creationId xmlns:a16="http://schemas.microsoft.com/office/drawing/2014/main" id="{F8A72261-05E4-F6C3-AD0F-038C0872E448}"/>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58" name="TextBox 71">
              <a:extLst>
                <a:ext uri="{FF2B5EF4-FFF2-40B4-BE49-F238E27FC236}">
                  <a16:creationId xmlns:a16="http://schemas.microsoft.com/office/drawing/2014/main" id="{3429FCDA-2B67-4BAB-2156-D7EC0B877940}"/>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59" name="Rectangle 72">
              <a:extLst>
                <a:ext uri="{FF2B5EF4-FFF2-40B4-BE49-F238E27FC236}">
                  <a16:creationId xmlns:a16="http://schemas.microsoft.com/office/drawing/2014/main" id="{9E552332-BCD6-2F06-566A-8B684C9C3F24}"/>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0" name="Rectangle 73">
              <a:extLst>
                <a:ext uri="{FF2B5EF4-FFF2-40B4-BE49-F238E27FC236}">
                  <a16:creationId xmlns:a16="http://schemas.microsoft.com/office/drawing/2014/main" id="{320DB076-08C2-315C-B6ED-8C8B9D2538DC}"/>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1" name="Rectangle 74">
              <a:extLst>
                <a:ext uri="{FF2B5EF4-FFF2-40B4-BE49-F238E27FC236}">
                  <a16:creationId xmlns:a16="http://schemas.microsoft.com/office/drawing/2014/main" id="{EC883ED8-BD1F-E716-B6DA-98B2E38F1B9C}"/>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5">
              <a:extLst>
                <a:ext uri="{FF2B5EF4-FFF2-40B4-BE49-F238E27FC236}">
                  <a16:creationId xmlns:a16="http://schemas.microsoft.com/office/drawing/2014/main" id="{2D4E26E1-C3B5-E2C0-4817-142EDE7BD065}"/>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6">
              <a:extLst>
                <a:ext uri="{FF2B5EF4-FFF2-40B4-BE49-F238E27FC236}">
                  <a16:creationId xmlns:a16="http://schemas.microsoft.com/office/drawing/2014/main" id="{446BDFA4-F764-C28B-5833-6A7FA8B17C8E}"/>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7">
              <a:extLst>
                <a:ext uri="{FF2B5EF4-FFF2-40B4-BE49-F238E27FC236}">
                  <a16:creationId xmlns:a16="http://schemas.microsoft.com/office/drawing/2014/main" id="{7FBFCD3D-AE44-E2DE-BDF2-889F0ECAC958}"/>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8">
              <a:extLst>
                <a:ext uri="{FF2B5EF4-FFF2-40B4-BE49-F238E27FC236}">
                  <a16:creationId xmlns:a16="http://schemas.microsoft.com/office/drawing/2014/main" id="{CB7FCCCC-4C7B-A176-4D60-E8C088F6BF69}"/>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9">
              <a:extLst>
                <a:ext uri="{FF2B5EF4-FFF2-40B4-BE49-F238E27FC236}">
                  <a16:creationId xmlns:a16="http://schemas.microsoft.com/office/drawing/2014/main" id="{34C62ECA-AE75-03B7-4FC6-01A46935A590}"/>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7" name="Rectangle 80">
              <a:extLst>
                <a:ext uri="{FF2B5EF4-FFF2-40B4-BE49-F238E27FC236}">
                  <a16:creationId xmlns:a16="http://schemas.microsoft.com/office/drawing/2014/main" id="{91E43EEE-CF10-CFC8-437E-4748CE8422CC}"/>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81">
              <a:extLst>
                <a:ext uri="{FF2B5EF4-FFF2-40B4-BE49-F238E27FC236}">
                  <a16:creationId xmlns:a16="http://schemas.microsoft.com/office/drawing/2014/main" id="{CAA797CE-27AE-C2C6-2768-0C2842725199}"/>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82">
              <a:extLst>
                <a:ext uri="{FF2B5EF4-FFF2-40B4-BE49-F238E27FC236}">
                  <a16:creationId xmlns:a16="http://schemas.microsoft.com/office/drawing/2014/main" id="{D447C409-B3ED-6998-9021-53BB9E341B1B}"/>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3">
              <a:extLst>
                <a:ext uri="{FF2B5EF4-FFF2-40B4-BE49-F238E27FC236}">
                  <a16:creationId xmlns:a16="http://schemas.microsoft.com/office/drawing/2014/main" id="{AFD563F7-D450-95BC-8B3C-CA16D986A3D2}"/>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4">
              <a:extLst>
                <a:ext uri="{FF2B5EF4-FFF2-40B4-BE49-F238E27FC236}">
                  <a16:creationId xmlns:a16="http://schemas.microsoft.com/office/drawing/2014/main" id="{0D9F9681-DFC0-39F4-43D0-F6F509FFDBF4}"/>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5">
              <a:extLst>
                <a:ext uri="{FF2B5EF4-FFF2-40B4-BE49-F238E27FC236}">
                  <a16:creationId xmlns:a16="http://schemas.microsoft.com/office/drawing/2014/main" id="{7BD53CEC-F959-49B5-EECF-5D0E79BC2BBE}"/>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6">
              <a:extLst>
                <a:ext uri="{FF2B5EF4-FFF2-40B4-BE49-F238E27FC236}">
                  <a16:creationId xmlns:a16="http://schemas.microsoft.com/office/drawing/2014/main" id="{62EA427A-7C99-DA75-5D09-9729C1894230}"/>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87">
              <a:extLst>
                <a:ext uri="{FF2B5EF4-FFF2-40B4-BE49-F238E27FC236}">
                  <a16:creationId xmlns:a16="http://schemas.microsoft.com/office/drawing/2014/main" id="{C3313929-252E-CE62-8E52-A7B602809B67}"/>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88">
              <a:extLst>
                <a:ext uri="{FF2B5EF4-FFF2-40B4-BE49-F238E27FC236}">
                  <a16:creationId xmlns:a16="http://schemas.microsoft.com/office/drawing/2014/main" id="{956FD94E-2DD0-0CAD-10A6-965E13AF24B8}"/>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89">
              <a:extLst>
                <a:ext uri="{FF2B5EF4-FFF2-40B4-BE49-F238E27FC236}">
                  <a16:creationId xmlns:a16="http://schemas.microsoft.com/office/drawing/2014/main" id="{7C0A6281-3CE7-BDD8-58A4-8463E075B149}"/>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90">
              <a:extLst>
                <a:ext uri="{FF2B5EF4-FFF2-40B4-BE49-F238E27FC236}">
                  <a16:creationId xmlns:a16="http://schemas.microsoft.com/office/drawing/2014/main" id="{E933125D-545E-DAEB-B8E3-DCE27FB501F8}"/>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1">
              <a:extLst>
                <a:ext uri="{FF2B5EF4-FFF2-40B4-BE49-F238E27FC236}">
                  <a16:creationId xmlns:a16="http://schemas.microsoft.com/office/drawing/2014/main" id="{E37113C4-BDCF-15A1-0F52-49793903B5D7}"/>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2">
              <a:extLst>
                <a:ext uri="{FF2B5EF4-FFF2-40B4-BE49-F238E27FC236}">
                  <a16:creationId xmlns:a16="http://schemas.microsoft.com/office/drawing/2014/main" id="{DF13C30B-0BB3-8382-D7EE-CB422622A227}"/>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3">
              <a:extLst>
                <a:ext uri="{FF2B5EF4-FFF2-40B4-BE49-F238E27FC236}">
                  <a16:creationId xmlns:a16="http://schemas.microsoft.com/office/drawing/2014/main" id="{FC58AF43-E03E-97B0-16E3-4D2DF9A87046}"/>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4">
              <a:extLst>
                <a:ext uri="{FF2B5EF4-FFF2-40B4-BE49-F238E27FC236}">
                  <a16:creationId xmlns:a16="http://schemas.microsoft.com/office/drawing/2014/main" id="{81CEA899-1E49-DFBD-C944-0719DD3CDD95}"/>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5">
              <a:extLst>
                <a:ext uri="{FF2B5EF4-FFF2-40B4-BE49-F238E27FC236}">
                  <a16:creationId xmlns:a16="http://schemas.microsoft.com/office/drawing/2014/main" id="{9CC92E07-21B7-2798-1720-3B53D7499D33}"/>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6">
              <a:extLst>
                <a:ext uri="{FF2B5EF4-FFF2-40B4-BE49-F238E27FC236}">
                  <a16:creationId xmlns:a16="http://schemas.microsoft.com/office/drawing/2014/main" id="{3595BAC2-83E6-C8EC-4893-0606F95A5A7E}"/>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97">
              <a:extLst>
                <a:ext uri="{FF2B5EF4-FFF2-40B4-BE49-F238E27FC236}">
                  <a16:creationId xmlns:a16="http://schemas.microsoft.com/office/drawing/2014/main" id="{5D955341-5F0A-C4E6-0063-66429C72042F}"/>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1" name="Rectangle 98">
              <a:extLst>
                <a:ext uri="{FF2B5EF4-FFF2-40B4-BE49-F238E27FC236}">
                  <a16:creationId xmlns:a16="http://schemas.microsoft.com/office/drawing/2014/main" id="{A789DD2C-79BD-9D5A-A119-40C28DB54744}"/>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99">
              <a:extLst>
                <a:ext uri="{FF2B5EF4-FFF2-40B4-BE49-F238E27FC236}">
                  <a16:creationId xmlns:a16="http://schemas.microsoft.com/office/drawing/2014/main" id="{E8AE30FD-33AD-E0C8-AA80-16141201F718}"/>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4" name="Rectangle 100">
              <a:extLst>
                <a:ext uri="{FF2B5EF4-FFF2-40B4-BE49-F238E27FC236}">
                  <a16:creationId xmlns:a16="http://schemas.microsoft.com/office/drawing/2014/main" id="{958DC108-2A1C-2223-4EB7-0B7EC49B2C80}"/>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1">
              <a:extLst>
                <a:ext uri="{FF2B5EF4-FFF2-40B4-BE49-F238E27FC236}">
                  <a16:creationId xmlns:a16="http://schemas.microsoft.com/office/drawing/2014/main" id="{992E9E69-B7AD-D17D-DD79-623777585437}"/>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2">
              <a:extLst>
                <a:ext uri="{FF2B5EF4-FFF2-40B4-BE49-F238E27FC236}">
                  <a16:creationId xmlns:a16="http://schemas.microsoft.com/office/drawing/2014/main" id="{9B7DC980-BC0E-F2C7-5EF9-AF30DD328561}"/>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03">
              <a:extLst>
                <a:ext uri="{FF2B5EF4-FFF2-40B4-BE49-F238E27FC236}">
                  <a16:creationId xmlns:a16="http://schemas.microsoft.com/office/drawing/2014/main" id="{38E47F40-A887-42C1-61FE-DBDF5E442DFC}"/>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04">
              <a:extLst>
                <a:ext uri="{FF2B5EF4-FFF2-40B4-BE49-F238E27FC236}">
                  <a16:creationId xmlns:a16="http://schemas.microsoft.com/office/drawing/2014/main" id="{1D973F75-E8A1-54F1-935B-82DA2ED504A3}"/>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9" name="Rectangle 105">
              <a:extLst>
                <a:ext uri="{FF2B5EF4-FFF2-40B4-BE49-F238E27FC236}">
                  <a16:creationId xmlns:a16="http://schemas.microsoft.com/office/drawing/2014/main" id="{3DBD1FB2-917F-477E-8C20-48C84E879DE0}"/>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0" name="Rectangle 106">
              <a:extLst>
                <a:ext uri="{FF2B5EF4-FFF2-40B4-BE49-F238E27FC236}">
                  <a16:creationId xmlns:a16="http://schemas.microsoft.com/office/drawing/2014/main" id="{9806BEA9-C89A-12BB-72E9-77E19CB4E175}"/>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1" name="Rectangle 107">
              <a:extLst>
                <a:ext uri="{FF2B5EF4-FFF2-40B4-BE49-F238E27FC236}">
                  <a16:creationId xmlns:a16="http://schemas.microsoft.com/office/drawing/2014/main" id="{033008FD-535E-6E95-772C-5FDC0653044C}"/>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2" name="Rectangle 108">
              <a:extLst>
                <a:ext uri="{FF2B5EF4-FFF2-40B4-BE49-F238E27FC236}">
                  <a16:creationId xmlns:a16="http://schemas.microsoft.com/office/drawing/2014/main" id="{8A748240-6E19-7495-E701-666CC48E025D}"/>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3" name="Rectangle 109">
              <a:extLst>
                <a:ext uri="{FF2B5EF4-FFF2-40B4-BE49-F238E27FC236}">
                  <a16:creationId xmlns:a16="http://schemas.microsoft.com/office/drawing/2014/main" id="{4D9DE5AD-9D15-0FD5-032C-506B466BC49E}"/>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4" name="Rectangle 110">
              <a:extLst>
                <a:ext uri="{FF2B5EF4-FFF2-40B4-BE49-F238E27FC236}">
                  <a16:creationId xmlns:a16="http://schemas.microsoft.com/office/drawing/2014/main" id="{BE0647D4-6F8B-2865-8B25-0D1E8ECECA9C}"/>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5" name="Rectangle 111">
              <a:extLst>
                <a:ext uri="{FF2B5EF4-FFF2-40B4-BE49-F238E27FC236}">
                  <a16:creationId xmlns:a16="http://schemas.microsoft.com/office/drawing/2014/main" id="{03BA01E1-0E86-1E35-02FF-D5CA8A2188C4}"/>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6" name="TextBox 112">
              <a:extLst>
                <a:ext uri="{FF2B5EF4-FFF2-40B4-BE49-F238E27FC236}">
                  <a16:creationId xmlns:a16="http://schemas.microsoft.com/office/drawing/2014/main" id="{255845BE-0555-99DF-A41D-5D0E7CFBCC25}"/>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07" name="TextBox 113">
              <a:extLst>
                <a:ext uri="{FF2B5EF4-FFF2-40B4-BE49-F238E27FC236}">
                  <a16:creationId xmlns:a16="http://schemas.microsoft.com/office/drawing/2014/main" id="{41F5C962-02E5-8582-CC79-7C36CC2A08FA}"/>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8" name="TextBox 114">
              <a:extLst>
                <a:ext uri="{FF2B5EF4-FFF2-40B4-BE49-F238E27FC236}">
                  <a16:creationId xmlns:a16="http://schemas.microsoft.com/office/drawing/2014/main" id="{FFB2B1D7-3A0D-C13A-01B7-B852C35ADAC3}"/>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1373479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userDrawn="1">
  <p:cSld name="リーガル">
    <p:spTree>
      <p:nvGrpSpPr>
        <p:cNvPr id="1" name=""/>
        <p:cNvGrpSpPr/>
        <p:nvPr/>
      </p:nvGrpSpPr>
      <p:grpSpPr>
        <a:xfrm>
          <a:off x="0" y="0"/>
          <a:ext cx="0" cy="0"/>
          <a:chOff x="0" y="0"/>
          <a:chExt cx="0" cy="0"/>
        </a:xfrm>
      </p:grpSpPr>
      <p:sp>
        <p:nvSpPr>
          <p:cNvPr id="7" name="Section Number Placeholder">
            <a:extLst>
              <a:ext uri="{FF2B5EF4-FFF2-40B4-BE49-F238E27FC236}">
                <a16:creationId xmlns:a16="http://schemas.microsoft.com/office/drawing/2014/main" id="{FEB47994-8218-48A8-B5DC-CE83CFE4346E}"/>
              </a:ext>
            </a:extLst>
          </p:cNvP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8" name="Section Title Placeholder">
            <a:extLst>
              <a:ext uri="{FF2B5EF4-FFF2-40B4-BE49-F238E27FC236}">
                <a16:creationId xmlns:a16="http://schemas.microsoft.com/office/drawing/2014/main" id="{7E57638C-6F30-4316-BF6D-4ED81EA92BF3}"/>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666666"/>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2" name="Date Placeholder">
            <a:extLst>
              <a:ext uri="{FF2B5EF4-FFF2-40B4-BE49-F238E27FC236}">
                <a16:creationId xmlns:a16="http://schemas.microsoft.com/office/drawing/2014/main" id="{2CF5C90E-3A8F-409C-92D5-FC04FF07F765}"/>
              </a:ext>
            </a:extLst>
          </p:cNvPr>
          <p:cNvSpPr>
            <a:spLocks noGrp="1"/>
          </p:cNvSpPr>
          <p:nvPr>
            <p:ph type="dt" sz="half" idx="16"/>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3" name="Footer Placeholder">
            <a:extLst>
              <a:ext uri="{FF2B5EF4-FFF2-40B4-BE49-F238E27FC236}">
                <a16:creationId xmlns:a16="http://schemas.microsoft.com/office/drawing/2014/main" id="{904D7EA8-F2E5-4DF2-BAC7-8577389719F0}"/>
              </a:ext>
            </a:extLst>
          </p:cNvPr>
          <p:cNvSpPr>
            <a:spLocks noGrp="1"/>
          </p:cNvSpPr>
          <p:nvPr>
            <p:ph type="ftr" sz="quarter" idx="17"/>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4" name="Slide Number Placeholder">
            <a:extLst>
              <a:ext uri="{FF2B5EF4-FFF2-40B4-BE49-F238E27FC236}">
                <a16:creationId xmlns:a16="http://schemas.microsoft.com/office/drawing/2014/main" id="{D8893554-6053-4401-BBD7-A60D255E76F7}"/>
              </a:ext>
            </a:extLst>
          </p:cNvPr>
          <p:cNvSpPr>
            <a:spLocks noGrp="1"/>
          </p:cNvSpPr>
          <p:nvPr>
            <p:ph type="sldNum" sz="quarter" idx="18"/>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sp>
        <p:nvSpPr>
          <p:cNvPr id="6" name="TextBox 5">
            <a:extLst>
              <a:ext uri="{FF2B5EF4-FFF2-40B4-BE49-F238E27FC236}">
                <a16:creationId xmlns:a16="http://schemas.microsoft.com/office/drawing/2014/main" id="{B42BB58F-6A80-BFC3-44E2-D3C663A5DABD}"/>
              </a:ext>
            </a:extLst>
          </p:cNvPr>
          <p:cNvSpPr txBox="1"/>
          <p:nvPr userDrawn="1"/>
        </p:nvSpPr>
        <p:spPr>
          <a:xfrm>
            <a:off x="983432" y="1412776"/>
            <a:ext cx="10225136" cy="4693336"/>
          </a:xfrm>
          <a:prstGeom prst="rect">
            <a:avLst/>
          </a:prstGeom>
          <a:noFill/>
        </p:spPr>
        <p:txBody>
          <a:bodyPr wrap="square" rtlCol="0">
            <a:spAutoFit/>
          </a:bodyPr>
          <a:lstStyle/>
          <a:p>
            <a:pPr marL="0" indent="0">
              <a:lnSpc>
                <a:spcPts val="1180"/>
              </a:lnSpc>
              <a:buNone/>
              <a:defRPr u="sng"/>
            </a:pP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免責事項</a:t>
            </a:r>
            <a:endParaRPr lang="ja-JP" altLang="en-US" sz="1000" u="sng" kern="0">
              <a:latin typeface="Meiryo UI" panose="020B0604030504040204" pitchFamily="50" charset="-128"/>
              <a:ea typeface="Meiryo UI" panose="020B0604030504040204" pitchFamily="50" charset="-128"/>
            </a:endParaRPr>
          </a:p>
          <a:p>
            <a:pPr marL="0" indent="0" algn="just">
              <a:lnSpc>
                <a:spcPts val="1180"/>
              </a:lnSpc>
              <a:buNone/>
            </a:pPr>
            <a:endParaRPr lang="en-US" altLang="ja-JP" sz="900" dirty="0">
              <a:latin typeface="Meiryo UI"/>
              <a:ea typeface="Meiryo UI"/>
            </a:endParaRPr>
          </a:p>
          <a:p>
            <a:pPr marL="0" indent="0" algn="just">
              <a:lnSpc>
                <a:spcPts val="1180"/>
              </a:lnSpc>
              <a:buNone/>
            </a:pPr>
            <a:r>
              <a:rPr lang="ja-JP" altLang="en-US" sz="900">
                <a:latin typeface="Meiryo UI"/>
                <a:ea typeface="Meiryo UI"/>
              </a:rPr>
              <a:t>本</a:t>
            </a:r>
            <a:r>
              <a:rPr lang="ja-JP" altLang="en-US" sz="900" kern="100">
                <a:effectLst/>
                <a:latin typeface="Meiryo UI"/>
                <a:ea typeface="Meiryo UI"/>
                <a:cs typeface="Times New Roman"/>
              </a:rPr>
              <a:t>書に記載されている情報は、</a:t>
            </a:r>
            <a:r>
              <a:rPr lang="en-US" altLang="ja-JP" sz="900" kern="100" dirty="0">
                <a:effectLst/>
                <a:latin typeface="Meiryo UI"/>
                <a:ea typeface="Meiryo UI"/>
                <a:cs typeface="Times New Roman"/>
              </a:rPr>
              <a:t>FA</a:t>
            </a:r>
            <a:r>
              <a:rPr lang="ja-JP" altLang="en-US" sz="900" kern="100">
                <a:effectLst/>
                <a:latin typeface="Meiryo UI"/>
                <a:ea typeface="Meiryo UI"/>
                <a:cs typeface="Times New Roman"/>
              </a:rPr>
              <a:t>事業に関連する資料の説明を目的としたものです。したがって、本書は、明示または黙示を問わず、いかなる知的財産権および本書に記載されている情報の使用を許諾するものではありません。</a:t>
            </a:r>
          </a:p>
          <a:p>
            <a:pPr marL="0" indent="0">
              <a:lnSpc>
                <a:spcPts val="1180"/>
              </a:lnSpc>
              <a:buNone/>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三菱電機およびそのグループ会社は、本書に記載されている三菱電機の製品およびサービスに関して、三菱電機の製品およびサービスの販売条件に規定されている場合を除き、これらの製品およびサービスの販売や使用に関するいかなる明示または黙示の保証</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特定目的への適合性、商品性に関する保証、特許権、著作権、その他、知的所有権を侵害していないことへの保証を含みますが、これらに限定されるものではありません。</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を行うものではなく、一切責任を負わないものとします。</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180"/>
              </a:lnSpc>
              <a:buNone/>
            </a:pP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180"/>
              </a:lnSpc>
              <a:buNone/>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日付、数値、製品仕様、サービスデータなどは、三菱電機が現時点で把握しているものであり、予告なく変更される場合があります。</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gn="just">
              <a:lnSpc>
                <a:spcPts val="1180"/>
              </a:lnSpc>
              <a:buNone/>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著作権に基づき、いかなる場合も本書で使用されている画像の複製、転載、編集、改変、配布などの二次利用を固く禁じます。本件に関するお問合せは、下記宛先にご連絡ください。</a:t>
            </a:r>
          </a:p>
          <a:p>
            <a:pPr marL="0" indent="0">
              <a:lnSpc>
                <a:spcPts val="1180"/>
              </a:lnSpc>
              <a:buNone/>
            </a:pP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100-8310  </a:t>
            </a: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千代田区丸の内</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2-7-3</a:t>
            </a: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　三菱電機株式会社 </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FA</a:t>
            </a: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システム事業本部 </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FA</a:t>
            </a: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本事業推進プロジェクトグループ </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FA</a:t>
            </a:r>
            <a:r>
              <a:rPr lang="ja-JP" altLang="en-US" sz="900" kern="100">
                <a:latin typeface="Meiryo UI" panose="020B0604030504040204" pitchFamily="50" charset="-128"/>
                <a:ea typeface="Meiryo UI" panose="020B0604030504040204" pitchFamily="50" charset="-128"/>
                <a:cs typeface="Times New Roman" panose="02020603050405020304" pitchFamily="18" charset="0"/>
              </a:rPr>
              <a:t>デジタルマーケティングセンター 企画グループマネージャー</a:t>
            </a:r>
          </a:p>
          <a:p>
            <a:pPr marL="0" indent="0">
              <a:lnSpc>
                <a:spcPts val="1180"/>
              </a:lnSpc>
              <a:buNone/>
            </a:pP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180"/>
              </a:lnSpc>
              <a:buNone/>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将来に関する記述や提案は、三菱電機の現在の予測に基づくものであり、その有効性に影響を与えるリスクや不確実性が含まれることをご承知おきください。</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180"/>
              </a:lnSpc>
              <a:buNone/>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影響を与えるリスクや不確実性には、次のものが考えられますが、これらに限定されるものではありません。）</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502444" lvl="1" indent="-171450">
              <a:lnSpc>
                <a:spcPts val="1180"/>
              </a:lnSpc>
              <a:buFont typeface="Arial" panose="020B0604020202020204" pitchFamily="34" charset="0"/>
              <a:buChar char="•"/>
              <a:defRPr sz="600"/>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三菱電機に開示された情報の可用性</a:t>
            </a:r>
            <a:r>
              <a:rPr lang="en-US" altLang="ja-JP" sz="900" kern="100" dirty="0">
                <a:latin typeface="Meiryo UI" panose="020B0604030504040204" pitchFamily="50" charset="-128"/>
                <a:ea typeface="Meiryo UI" panose="020B0604030504040204" pitchFamily="50" charset="-128"/>
                <a:cs typeface="Times New Roman" panose="02020603050405020304" pitchFamily="18" charset="0"/>
              </a:rPr>
              <a:t> </a:t>
            </a:r>
          </a:p>
          <a:p>
            <a:pPr marL="502444" lvl="1" indent="-171450">
              <a:lnSpc>
                <a:spcPts val="1180"/>
              </a:lnSpc>
              <a:buFont typeface="Arial" panose="020B0604020202020204" pitchFamily="34" charset="0"/>
              <a:buChar char="•"/>
              <a:defRPr sz="600"/>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事業および経済環境の状況の変化</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502444" lvl="1" indent="-171450">
              <a:lnSpc>
                <a:spcPts val="1180"/>
              </a:lnSpc>
              <a:buFont typeface="Arial" panose="020B0604020202020204" pitchFamily="34" charset="0"/>
              <a:buChar char="•"/>
              <a:defRPr sz="600"/>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為替レートや金利の変動による影響</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502444" lvl="1" indent="-171450">
              <a:lnSpc>
                <a:spcPts val="1180"/>
              </a:lnSpc>
              <a:buFont typeface="Arial" panose="020B0604020202020204" pitchFamily="34" charset="0"/>
              <a:buChar char="•"/>
              <a:defRPr sz="600"/>
            </a:pPr>
            <a:r>
              <a:rPr lang="ja-JP" altLang="ja-JP" sz="900" kern="100">
                <a:latin typeface="Meiryo UI" panose="020B0604030504040204" pitchFamily="50" charset="-128"/>
                <a:ea typeface="Meiryo UI" panose="020B0604030504040204" pitchFamily="50" charset="-128"/>
                <a:cs typeface="Times New Roman" panose="02020603050405020304" pitchFamily="18" charset="0"/>
              </a:rPr>
              <a:t>新しい技術の開発と採用</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502444" lvl="1" indent="-171450">
              <a:lnSpc>
                <a:spcPts val="1180"/>
              </a:lnSpc>
              <a:buFont typeface="Arial" panose="020B0604020202020204" pitchFamily="34" charset="0"/>
              <a:buChar char="•"/>
              <a:defRPr sz="600"/>
            </a:pPr>
            <a:r>
              <a:rPr lang="ja-JP" altLang="en-US" sz="900">
                <a:latin typeface="Meiryo UI" panose="020B0604030504040204" pitchFamily="50" charset="-128"/>
                <a:ea typeface="Meiryo UI" panose="020B0604030504040204" pitchFamily="50" charset="-128"/>
              </a:rPr>
              <a:t>新しい製品やサービスの導入と受容</a:t>
            </a:r>
            <a:endParaRPr lang="en-US" altLang="ja-JP" sz="9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180"/>
              </a:lnSpc>
              <a:buNone/>
            </a:pPr>
            <a:endParaRPr lang="ja-JP" altLang="en-US" sz="900" kern="0">
              <a:latin typeface="Meiryo UI" panose="020B0604030504040204" pitchFamily="50" charset="-128"/>
              <a:ea typeface="Meiryo UI" panose="020B0604030504040204" pitchFamily="50" charset="-128"/>
            </a:endParaRPr>
          </a:p>
          <a:p>
            <a:pPr marL="0" indent="0">
              <a:lnSpc>
                <a:spcPts val="1180"/>
              </a:lnSpc>
              <a:buNone/>
              <a:defRPr sz="600"/>
            </a:pPr>
            <a:r>
              <a:rPr lang="ja-JP" altLang="ja-JP" sz="900">
                <a:latin typeface="Meiryo UI" panose="020B0604030504040204" pitchFamily="50" charset="-128"/>
                <a:ea typeface="Meiryo UI" panose="020B0604030504040204" pitchFamily="50" charset="-128"/>
              </a:rPr>
              <a:t>本書に例示として、三菱電機のお客様について記載されることがあったとしても、三菱電機は、それらのお客様の製品またはサービスについて、いかなる表明または保証を行うものではありません。</a:t>
            </a:r>
            <a:endParaRPr lang="en-US" altLang="ja-JP" sz="900" dirty="0">
              <a:latin typeface="Meiryo UI" panose="020B0604030504040204" pitchFamily="50" charset="-128"/>
              <a:ea typeface="Meiryo UI" panose="020B0604030504040204" pitchFamily="50" charset="-128"/>
            </a:endParaRPr>
          </a:p>
          <a:p>
            <a:pPr marL="0" indent="0">
              <a:lnSpc>
                <a:spcPts val="1180"/>
              </a:lnSpc>
              <a:buNone/>
              <a:defRPr sz="600"/>
            </a:pPr>
            <a:r>
              <a:rPr lang="ja-JP" altLang="ja-JP" sz="900">
                <a:latin typeface="Meiryo UI" panose="020B0604030504040204" pitchFamily="50" charset="-128"/>
                <a:ea typeface="Meiryo UI" panose="020B0604030504040204" pitchFamily="50" charset="-128"/>
              </a:rPr>
              <a:t>三菱電機は、パートナーおよびサード パーティの製品と連携できることは、自動化システムに不可欠なものであると考えています。ただし、本書に例示として、パートナーおよびサードパーティの製品またはサービスについて記載されることがあったとしても、それら製品またはサービスの品質、信頼性、機能性、互換性、または一般的な適合性に関して、いかなる表明または保証を行うものではありません。 </a:t>
            </a:r>
            <a:r>
              <a:rPr lang="en-US" altLang="ja-JP" sz="900" dirty="0">
                <a:latin typeface="Meiryo UI" panose="020B0604030504040204" pitchFamily="50" charset="-128"/>
                <a:ea typeface="Meiryo UI" panose="020B0604030504040204" pitchFamily="50" charset="-128"/>
              </a:rPr>
              <a:t> </a:t>
            </a:r>
          </a:p>
          <a:p>
            <a:pPr marL="0" indent="0">
              <a:lnSpc>
                <a:spcPts val="1180"/>
              </a:lnSpc>
              <a:buNone/>
              <a:defRPr sz="600"/>
            </a:pPr>
            <a:r>
              <a:rPr lang="ja-JP" altLang="ja-JP" sz="900">
                <a:latin typeface="Meiryo UI" panose="020B0604030504040204" pitchFamily="50" charset="-128"/>
                <a:ea typeface="Meiryo UI" panose="020B0604030504040204" pitchFamily="50" charset="-128"/>
              </a:rPr>
              <a:t>パートナーまたはサードパーティが提供する製品およびサービスに関する記述は、予告なく変更される場合があります。</a:t>
            </a:r>
            <a:endParaRPr lang="en-US" altLang="ja-JP" sz="900" dirty="0">
              <a:latin typeface="Meiryo UI" panose="020B0604030504040204" pitchFamily="50" charset="-128"/>
              <a:ea typeface="Meiryo UI" panose="020B0604030504040204" pitchFamily="50" charset="-128"/>
            </a:endParaRPr>
          </a:p>
          <a:p>
            <a:pPr marL="0" indent="0">
              <a:lnSpc>
                <a:spcPts val="1180"/>
              </a:lnSpc>
              <a:buNone/>
              <a:defRPr sz="600"/>
            </a:pPr>
            <a:endParaRPr lang="en-US" altLang="ja-JP" sz="900" dirty="0">
              <a:latin typeface="Meiryo UI" panose="020B0604030504040204" pitchFamily="50" charset="-128"/>
              <a:ea typeface="Meiryo UI" panose="020B0604030504040204" pitchFamily="50" charset="-128"/>
            </a:endParaRPr>
          </a:p>
          <a:p>
            <a:pPr marL="0" indent="0">
              <a:lnSpc>
                <a:spcPts val="1180"/>
              </a:lnSpc>
              <a:buNone/>
            </a:pPr>
            <a:r>
              <a:rPr lang="ja-JP" altLang="ja-JP" sz="900">
                <a:latin typeface="Meiryo UI" panose="020B0604030504040204" pitchFamily="50" charset="-128"/>
                <a:ea typeface="Meiryo UI" panose="020B0604030504040204" pitchFamily="50" charset="-128"/>
              </a:rPr>
              <a:t>本書に記載されている三菱電機以外の名称、商標、ブランドは、第三者の権利を主張される場合があります。あらかじめご了承ください。 </a:t>
            </a:r>
            <a:r>
              <a:rPr lang="en-US" altLang="ja-JP" sz="900" dirty="0">
                <a:latin typeface="Meiryo UI" panose="020B0604030504040204" pitchFamily="50" charset="-128"/>
                <a:ea typeface="Meiryo UI" panose="020B0604030504040204" pitchFamily="50" charset="-128"/>
              </a:rPr>
              <a:t> </a:t>
            </a:r>
          </a:p>
          <a:p>
            <a:pPr marL="0" indent="0">
              <a:lnSpc>
                <a:spcPts val="1180"/>
              </a:lnSpc>
              <a:buNone/>
            </a:pPr>
            <a:endParaRPr lang="en-US" altLang="ja-JP" sz="900" kern="0" dirty="0">
              <a:latin typeface="Meiryo UI" panose="020B0604030504040204" pitchFamily="50" charset="-128"/>
              <a:ea typeface="Meiryo UI" panose="020B0604030504040204" pitchFamily="50" charset="-128"/>
            </a:endParaRPr>
          </a:p>
          <a:p>
            <a:pPr marL="0" indent="0">
              <a:lnSpc>
                <a:spcPts val="1180"/>
              </a:lnSpc>
              <a:buNone/>
            </a:pPr>
            <a:r>
              <a:rPr lang="ja-JP" altLang="ja-JP" sz="900">
                <a:latin typeface="Meiryo UI" panose="020B0604030504040204" pitchFamily="50" charset="-128"/>
                <a:ea typeface="Meiryo UI" panose="020B0604030504040204" pitchFamily="50" charset="-128"/>
              </a:rPr>
              <a:t>三菱電機、</a:t>
            </a:r>
            <a:r>
              <a:rPr lang="en-US" altLang="ja-JP" sz="900" dirty="0" err="1">
                <a:latin typeface="Meiryo UI" panose="020B0604030504040204" pitchFamily="50" charset="-128"/>
                <a:ea typeface="Meiryo UI" panose="020B0604030504040204" pitchFamily="50" charset="-128"/>
              </a:rPr>
              <a:t>e-F@ctory</a:t>
            </a:r>
            <a:r>
              <a:rPr lang="ja-JP" altLang="ja-JP" sz="900">
                <a:latin typeface="Meiryo UI" panose="020B0604030504040204" pitchFamily="50" charset="-128"/>
                <a:ea typeface="Meiryo UI" panose="020B0604030504040204" pitchFamily="50" charset="-128"/>
              </a:rPr>
              <a:t>、</a:t>
            </a:r>
            <a:r>
              <a:rPr lang="en-US" altLang="ja-JP" sz="900" dirty="0">
                <a:latin typeface="Meiryo UI" panose="020B0604030504040204" pitchFamily="50" charset="-128"/>
                <a:ea typeface="Meiryo UI" panose="020B0604030504040204" pitchFamily="50" charset="-128"/>
              </a:rPr>
              <a:t>MELSEC</a:t>
            </a:r>
            <a:r>
              <a:rPr lang="ja-JP" altLang="ja-JP" sz="900">
                <a:latin typeface="Meiryo UI" panose="020B0604030504040204" pitchFamily="50" charset="-128"/>
                <a:ea typeface="Meiryo UI" panose="020B0604030504040204" pitchFamily="50" charset="-128"/>
              </a:rPr>
              <a:t>、</a:t>
            </a:r>
            <a:r>
              <a:rPr lang="en-US" altLang="ja-JP" sz="900" dirty="0">
                <a:latin typeface="Meiryo UI" panose="020B0604030504040204" pitchFamily="50" charset="-128"/>
                <a:ea typeface="Meiryo UI" panose="020B0604030504040204" pitchFamily="50" charset="-128"/>
              </a:rPr>
              <a:t>MELSERVO</a:t>
            </a:r>
            <a:r>
              <a:rPr lang="ja-JP" altLang="ja-JP" sz="900">
                <a:latin typeface="Meiryo UI" panose="020B0604030504040204" pitchFamily="50" charset="-128"/>
                <a:ea typeface="Meiryo UI" panose="020B0604030504040204" pitchFamily="50" charset="-128"/>
              </a:rPr>
              <a:t>、</a:t>
            </a:r>
            <a:r>
              <a:rPr lang="en-US" altLang="ja-JP" sz="900" dirty="0">
                <a:latin typeface="Meiryo UI" panose="020B0604030504040204" pitchFamily="50" charset="-128"/>
                <a:ea typeface="Meiryo UI" panose="020B0604030504040204" pitchFamily="50" charset="-128"/>
              </a:rPr>
              <a:t>FREQROL</a:t>
            </a:r>
            <a:r>
              <a:rPr lang="ja-JP" altLang="ja-JP" sz="900">
                <a:latin typeface="Meiryo UI" panose="020B0604030504040204" pitchFamily="50" charset="-128"/>
                <a:ea typeface="Meiryo UI" panose="020B0604030504040204" pitchFamily="50" charset="-128"/>
              </a:rPr>
              <a:t>、</a:t>
            </a:r>
            <a:r>
              <a:rPr lang="en-US" altLang="ja-JP" sz="900" dirty="0">
                <a:latin typeface="Meiryo UI" panose="020B0604030504040204" pitchFamily="50" charset="-128"/>
                <a:ea typeface="Meiryo UI" panose="020B0604030504040204" pitchFamily="50" charset="-128"/>
              </a:rPr>
              <a:t>MELFA</a:t>
            </a:r>
            <a:r>
              <a:rPr lang="ja-JP" altLang="ja-JP" sz="900">
                <a:latin typeface="Meiryo UI" panose="020B0604030504040204" pitchFamily="50" charset="-128"/>
                <a:ea typeface="Meiryo UI" panose="020B0604030504040204" pitchFamily="50" charset="-128"/>
              </a:rPr>
              <a:t>、</a:t>
            </a:r>
            <a:r>
              <a:rPr lang="en-US" altLang="ja-JP" sz="900" dirty="0" err="1">
                <a:latin typeface="Meiryo UI" panose="020B0604030504040204" pitchFamily="50" charset="-128"/>
                <a:ea typeface="Meiryo UI" panose="020B0604030504040204" pitchFamily="50" charset="-128"/>
              </a:rPr>
              <a:t>iQ</a:t>
            </a:r>
            <a:r>
              <a:rPr lang="en-US" altLang="ja-JP" sz="900" dirty="0">
                <a:latin typeface="Meiryo UI" panose="020B0604030504040204" pitchFamily="50" charset="-128"/>
                <a:ea typeface="Meiryo UI" panose="020B0604030504040204" pitchFamily="50" charset="-128"/>
              </a:rPr>
              <a:t> Platform</a:t>
            </a:r>
            <a:r>
              <a:rPr lang="ja-JP" altLang="ja-JP" sz="900">
                <a:latin typeface="Meiryo UI" panose="020B0604030504040204" pitchFamily="50" charset="-128"/>
                <a:ea typeface="Meiryo UI" panose="020B0604030504040204" pitchFamily="50" charset="-128"/>
              </a:rPr>
              <a:t>およびそれらに関連するロゴは、日本国およびその他の国における三菱電機株式会社の登録商標または商標です。</a:t>
            </a:r>
            <a:endParaRPr lang="ja-JP" altLang="en-US" sz="900">
              <a:latin typeface="Meiryo UI" panose="020B0604030504040204" pitchFamily="50" charset="-128"/>
              <a:ea typeface="Meiryo UI" panose="020B0604030504040204" pitchFamily="50" charset="-128"/>
            </a:endParaRPr>
          </a:p>
          <a:p>
            <a:pPr marL="0" indent="0">
              <a:lnSpc>
                <a:spcPts val="1180"/>
              </a:lnSpc>
              <a:buNone/>
              <a:defRPr sz="600"/>
            </a:pPr>
            <a:r>
              <a:rPr lang="en-US" altLang="ja-JP" sz="900" dirty="0">
                <a:latin typeface="Meiryo UI" panose="020B0604030504040204" pitchFamily="50" charset="-128"/>
                <a:ea typeface="Meiryo UI" panose="020B0604030504040204" pitchFamily="50" charset="-128"/>
              </a:rPr>
              <a:t>Copyright ©</a:t>
            </a:r>
            <a:r>
              <a:rPr lang="ja-JP" altLang="en-US" sz="900">
                <a:latin typeface="Meiryo UI" panose="020B0604030504040204" pitchFamily="50" charset="-128"/>
                <a:ea typeface="Meiryo UI" panose="020B0604030504040204" pitchFamily="50" charset="-128"/>
              </a:rPr>
              <a:t> </a:t>
            </a:r>
            <a:r>
              <a:rPr lang="en-US" altLang="ja-JP" sz="900" dirty="0">
                <a:latin typeface="Meiryo UI" panose="020B0604030504040204" pitchFamily="50" charset="-128"/>
                <a:ea typeface="Meiryo UI" panose="020B0604030504040204" pitchFamily="50" charset="-128"/>
              </a:rPr>
              <a:t>Mitsubishi Electric Corporation.</a:t>
            </a:r>
          </a:p>
          <a:p>
            <a:pPr marL="0" indent="0">
              <a:lnSpc>
                <a:spcPts val="1180"/>
              </a:lnSpc>
              <a:buNone/>
              <a:defRPr sz="600"/>
            </a:pPr>
            <a:r>
              <a:rPr lang="en-US" altLang="ja-JP" sz="900" dirty="0">
                <a:latin typeface="Meiryo UI" panose="020B0604030504040204" pitchFamily="50" charset="-128"/>
                <a:ea typeface="Meiryo UI" panose="020B0604030504040204" pitchFamily="50" charset="-128"/>
              </a:rPr>
              <a:t>All rights reserved (</a:t>
            </a:r>
            <a:r>
              <a:rPr lang="ja-JP" altLang="en-US" sz="900">
                <a:latin typeface="Meiryo UI" panose="020B0604030504040204" pitchFamily="50" charset="-128"/>
                <a:ea typeface="Meiryo UI" panose="020B0604030504040204" pitchFamily="50" charset="-128"/>
              </a:rPr>
              <a:t>不許複製・禁無断転載</a:t>
            </a:r>
            <a:r>
              <a:rPr lang="en-US" altLang="ja-JP" sz="900" dirty="0">
                <a:latin typeface="Meiryo UI" panose="020B0604030504040204" pitchFamily="50" charset="-128"/>
                <a:ea typeface="Meiryo UI" panose="020B0604030504040204" pitchFamily="50" charset="-128"/>
              </a:rPr>
              <a:t>) </a:t>
            </a:r>
          </a:p>
          <a:p>
            <a:pPr>
              <a:lnSpc>
                <a:spcPts val="1180"/>
              </a:lnSpc>
            </a:pPr>
            <a:endParaRPr lang="en-US" altLang="ja-JP" sz="900" b="0" i="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875895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エンディング">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28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18596997"/>
              </p:ext>
            </p:ext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957" y="1592"/>
                        <a:ext cx="1953"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a:xfrm>
            <a:off x="78764" y="6654007"/>
            <a:ext cx="198772" cy="115416"/>
          </a:xfrm>
        </p:spPr>
        <p:txBody>
          <a:bodyPr wrap="none" lIns="0" tIns="0" rIns="0" bIns="0">
            <a:spAutoFit/>
          </a:bodyPr>
          <a:lstStyle>
            <a:lvl1pPr algn="ctr">
              <a:defRPr sz="750" b="0">
                <a:solidFill>
                  <a:schemeClr val="tx1"/>
                </a:solidFill>
                <a:latin typeface="Meiryo UI" panose="020B0604030504040204" pitchFamily="50" charset="-128"/>
                <a:ea typeface="Meiryo UI" panose="020B0604030504040204" pitchFamily="50" charset="-128"/>
              </a:defRPr>
            </a:lvl1pPr>
          </a:lstStyle>
          <a:p>
            <a:fld id="{AA5FCFE5-FE56-4EF1-80A8-07776887C2A1}" type="slidenum">
              <a:rPr lang="ja-JP" altLang="en-US" smtClean="0">
                <a:solidFill>
                  <a:prstClr val="black"/>
                </a:solidFill>
              </a:rPr>
              <a:pPr/>
              <a:t>‹#›</a:t>
            </a:fld>
            <a:endParaRPr lang="ja-JP" altLang="en-US">
              <a:solidFill>
                <a:prstClr val="black"/>
              </a:solidFill>
            </a:endParaRPr>
          </a:p>
        </p:txBody>
      </p:sp>
      <p:sp>
        <p:nvSpPr>
          <p:cNvPr id="9" name="テキスト プレースホルダー 2"/>
          <p:cNvSpPr>
            <a:spLocks noGrp="1"/>
          </p:cNvSpPr>
          <p:nvPr>
            <p:ph type="body" sz="quarter" idx="15"/>
          </p:nvPr>
        </p:nvSpPr>
        <p:spPr bwMode="gray">
          <a:xfrm>
            <a:off x="513232" y="830747"/>
            <a:ext cx="11165539" cy="432000"/>
          </a:xfrm>
          <a:prstGeom prst="rect">
            <a:avLst/>
          </a:prstGeom>
        </p:spPr>
        <p:txBody>
          <a:bodyPr/>
          <a:lstStyle>
            <a:lvl1pPr>
              <a:lnSpc>
                <a:spcPct val="100000"/>
              </a:lnSpc>
              <a:spcBef>
                <a:spcPts val="0"/>
              </a:spcBef>
              <a:defRPr lang="ja-JP" altLang="en-US" sz="1200" dirty="0">
                <a:latin typeface="Meiryo UI" panose="020B0604030504040204" pitchFamily="50" charset="-128"/>
                <a:ea typeface="Meiryo UI" panose="020B0604030504040204" pitchFamily="50" charset="-128"/>
              </a:defRPr>
            </a:lvl1pPr>
            <a:lvl2pPr marL="128588" indent="-128588">
              <a:lnSpc>
                <a:spcPct val="100000"/>
              </a:lnSpc>
              <a:spcBef>
                <a:spcPts val="0"/>
              </a:spcBef>
              <a:buFont typeface="Wingdings" panose="05000000000000000000" pitchFamily="2" charset="2"/>
              <a:buChar char="Ø"/>
              <a:defRPr>
                <a:latin typeface="Yu Gothic UI" panose="020B0500000000000000" pitchFamily="50" charset="-128"/>
                <a:ea typeface="Yu Gothic UI" panose="020B0500000000000000" pitchFamily="50" charset="-128"/>
              </a:defRPr>
            </a:lvl2pPr>
            <a:lvl3pPr marL="248221" indent="-128588">
              <a:lnSpc>
                <a:spcPct val="100000"/>
              </a:lnSpc>
              <a:buFont typeface="Wingdings" panose="05000000000000000000" pitchFamily="2" charset="2"/>
              <a:buChar char="Ø"/>
              <a:defRPr>
                <a:latin typeface="Yu Gothic UI" panose="020B0500000000000000" pitchFamily="50" charset="-128"/>
                <a:ea typeface="Yu Gothic UI" panose="020B0500000000000000" pitchFamily="50" charset="-128"/>
              </a:defRPr>
            </a:lvl3pPr>
            <a:lvl4pPr marL="358901" indent="-119634">
              <a:lnSpc>
                <a:spcPct val="100000"/>
              </a:lnSpc>
              <a:buFont typeface="Wingdings" panose="05000000000000000000" pitchFamily="2" charset="2"/>
              <a:buChar char="Ø"/>
              <a:defRPr>
                <a:latin typeface="Yu Gothic UI" panose="020B0500000000000000" pitchFamily="50" charset="-128"/>
                <a:ea typeface="Yu Gothic UI" panose="020B0500000000000000" pitchFamily="50" charset="-128"/>
              </a:defRPr>
            </a:lvl4pPr>
          </a:lstStyle>
          <a:p>
            <a:pPr lvl="0"/>
            <a:r>
              <a:rPr kumimoji="1" lang="ja-JP" altLang="en-US"/>
              <a:t>マスター テキストの書式設定</a:t>
            </a:r>
          </a:p>
        </p:txBody>
      </p:sp>
      <p:sp>
        <p:nvSpPr>
          <p:cNvPr id="6" name="タイトル 5"/>
          <p:cNvSpPr>
            <a:spLocks noGrp="1"/>
          </p:cNvSpPr>
          <p:nvPr>
            <p:ph type="title"/>
          </p:nvPr>
        </p:nvSpPr>
        <p:spPr bwMode="gray">
          <a:xfrm>
            <a:off x="513232" y="136800"/>
            <a:ext cx="11165539" cy="597356"/>
          </a:xfrm>
          <a:prstGeom prst="rect">
            <a:avLst/>
          </a:prstGeom>
        </p:spPr>
        <p:txBody>
          <a:bodyPr vert="horz" anchor="b" anchorCtr="0">
            <a:normAutofit/>
          </a:bodyPr>
          <a:lstStyle>
            <a:lvl1pPr algn="ctr">
              <a:defRPr sz="1800" b="1">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4019897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309461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8350048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420125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userDrawn="1">
  <p:cSld name="タイトルとコンテンツ">
    <p:bg>
      <p:bgRef idx="1001">
        <a:schemeClr val="bg1"/>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78D2F2A8-C7DF-48DB-BEDC-771522B70F8C}"/>
              </a:ext>
            </a:extLst>
          </p:cNvPr>
          <p:cNvSpPr>
            <a:spLocks noGrp="1"/>
          </p:cNvSpPr>
          <p:nvPr>
            <p:ph type="title"/>
          </p:nvPr>
        </p:nvSpPr>
        <p:spPr/>
        <p:txBody>
          <a:bodyPr/>
          <a:lstStyle>
            <a:lvl1pPr>
              <a:defRPr>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26" name="Content Placeholder">
            <a:extLst>
              <a:ext uri="{FF2B5EF4-FFF2-40B4-BE49-F238E27FC236}">
                <a16:creationId xmlns:a16="http://schemas.microsoft.com/office/drawing/2014/main" id="{3C290BA6-E604-47E8-834E-2672972673E1}"/>
              </a:ext>
            </a:extLst>
          </p:cNvPr>
          <p:cNvSpPr>
            <a:spLocks noGrp="1"/>
          </p:cNvSpPr>
          <p:nvPr>
            <p:ph sz="quarter" idx="1"/>
          </p:nvPr>
        </p:nvSpPr>
        <p:spPr>
          <a:xfrm>
            <a:off x="431639" y="1053619"/>
            <a:ext cx="11332800" cy="5432400"/>
          </a:xfrm>
        </p:spPr>
        <p:txBody>
          <a:bodyPr/>
          <a:lstStyle>
            <a:lvl1pPr>
              <a:defRPr>
                <a:latin typeface="Meiryo UI" panose="020B0604030504040204" pitchFamily="34" charset="-128"/>
                <a:ea typeface="Meiryo UI" panose="020B0604030504040204" pitchFamily="34" charset="-128"/>
              </a:defRPr>
            </a:lvl1pPr>
            <a:lvl2pPr>
              <a:defRPr>
                <a:latin typeface="Meiryo UI" panose="020B0604030504040204" pitchFamily="34" charset="-128"/>
                <a:ea typeface="Meiryo UI" panose="020B0604030504040204" pitchFamily="34" charset="-128"/>
              </a:defRPr>
            </a:lvl2pPr>
            <a:lvl3pPr>
              <a:defRPr>
                <a:latin typeface="Meiryo UI" panose="020B0604030504040204" pitchFamily="34" charset="-128"/>
                <a:ea typeface="Meiryo UI" panose="020B0604030504040204" pitchFamily="34" charset="-128"/>
              </a:defRPr>
            </a:lvl3pPr>
            <a:lvl4pPr>
              <a:defRPr>
                <a:latin typeface="Meiryo UI" panose="020B0604030504040204" pitchFamily="34" charset="-128"/>
                <a:ea typeface="Meiryo UI" panose="020B0604030504040204" pitchFamily="34" charset="-128"/>
              </a:defRPr>
            </a:lvl4pPr>
            <a:lvl5pPr>
              <a:defRPr>
                <a:latin typeface="Meiryo UI" panose="020B0604030504040204" pitchFamily="34" charset="-128"/>
                <a:ea typeface="Meiryo UI" panose="020B0604030504040204" pitchFamily="34"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2" name="Section Number Placeholde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33" name="Section Title Placeholder">
            <a:extLst>
              <a:ext uri="{FF2B5EF4-FFF2-40B4-BE49-F238E27FC236}">
                <a16:creationId xmlns:a16="http://schemas.microsoft.com/office/drawing/2014/main" id="{65285717-CA89-4E25-B366-4A31229362E3}"/>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666666"/>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5" name="Date Placeholder">
            <a:extLst>
              <a:ext uri="{FF2B5EF4-FFF2-40B4-BE49-F238E27FC236}">
                <a16:creationId xmlns:a16="http://schemas.microsoft.com/office/drawing/2014/main" id="{CDBC942B-DFE9-4136-8139-B7B68BD2CFAC}"/>
              </a:ext>
            </a:extLst>
          </p:cNvPr>
          <p:cNvSpPr>
            <a:spLocks noGrp="1"/>
          </p:cNvSpPr>
          <p:nvPr>
            <p:ph type="dt" sz="half" idx="20"/>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6" name="Footer Placeholder">
            <a:extLst>
              <a:ext uri="{FF2B5EF4-FFF2-40B4-BE49-F238E27FC236}">
                <a16:creationId xmlns:a16="http://schemas.microsoft.com/office/drawing/2014/main" id="{0532C597-0488-4D22-9DC0-B8E18A4BC96F}"/>
              </a:ext>
            </a:extLst>
          </p:cNvPr>
          <p:cNvSpPr>
            <a:spLocks noGrp="1"/>
          </p:cNvSpPr>
          <p:nvPr>
            <p:ph type="ftr" sz="quarter" idx="21"/>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7" name="Slide Number Placeholder">
            <a:extLst>
              <a:ext uri="{FF2B5EF4-FFF2-40B4-BE49-F238E27FC236}">
                <a16:creationId xmlns:a16="http://schemas.microsoft.com/office/drawing/2014/main" id="{44AE72FE-FB06-4900-BADB-EF2032B7687A}"/>
              </a:ext>
            </a:extLst>
          </p:cNvPr>
          <p:cNvSpPr>
            <a:spLocks noGrp="1"/>
          </p:cNvSpPr>
          <p:nvPr>
            <p:ph type="sldNum" sz="quarter" idx="22"/>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spTree>
    <p:extLst>
      <p:ext uri="{BB962C8B-B14F-4D97-AF65-F5344CB8AC3E}">
        <p14:creationId xmlns:p14="http://schemas.microsoft.com/office/powerpoint/2010/main" val="22977799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1759437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602091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593853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1883596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タイトルのみ">
    <p:spTree>
      <p:nvGrpSpPr>
        <p:cNvPr id="1" name=""/>
        <p:cNvGrpSpPr/>
        <p:nvPr/>
      </p:nvGrpSpPr>
      <p:grpSpPr>
        <a:xfrm>
          <a:off x="0" y="0"/>
          <a:ext cx="0" cy="0"/>
          <a:chOff x="0" y="0"/>
          <a:chExt cx="0" cy="0"/>
        </a:xfrm>
      </p:grpSpPr>
      <p:sp>
        <p:nvSpPr>
          <p:cNvPr id="11" name="Section Number Placeholder">
            <a:extLst>
              <a:ext uri="{FF2B5EF4-FFF2-40B4-BE49-F238E27FC236}">
                <a16:creationId xmlns:a16="http://schemas.microsoft.com/office/drawing/2014/main" id="{C49864A7-A1C0-418A-8CD6-4A99CA9AFDAE}"/>
              </a:ext>
            </a:extLst>
          </p:cNvPr>
          <p:cNvSpPr>
            <a:spLocks noGrp="1"/>
          </p:cNvSpPr>
          <p:nvPr>
            <p:ph type="body" sz="quarter" idx="14" hasCustomPrompt="1"/>
          </p:nvPr>
        </p:nvSpPr>
        <p:spPr>
          <a:xfrm>
            <a:off x="1" y="0"/>
            <a:ext cx="1567543" cy="691200"/>
          </a:xfrm>
        </p:spPr>
        <p:txBody>
          <a:bodyPr lIns="0" tIns="36000" rIns="0" bIns="72000" anchor="ctr">
            <a:normAutofit/>
          </a:bodyPr>
          <a:lstStyle>
            <a:lvl1pPr marL="0" indent="0" algn="ctr">
              <a:lnSpc>
                <a:spcPct val="130000"/>
              </a:lnSpc>
              <a:buNone/>
              <a:defRPr sz="2400" b="1" spc="100" baseline="0">
                <a:solidFill>
                  <a:schemeClr val="tx1">
                    <a:lumMod val="75000"/>
                    <a:lumOff val="25000"/>
                  </a:schemeClr>
                </a:solidFill>
                <a:latin typeface="Yu Gothic UI" panose="020B0500000000000000" pitchFamily="50" charset="-128"/>
                <a:ea typeface="Yu Gothic UI" panose="020B0500000000000000" pitchFamily="50" charset="-128"/>
              </a:defRPr>
            </a:lvl1pPr>
          </a:lstStyle>
          <a:p>
            <a:pPr lvl="0"/>
            <a:r>
              <a:rPr kumimoji="1" lang="ja-JP" altLang="en-US" dirty="0"/>
              <a:t>＃</a:t>
            </a:r>
          </a:p>
        </p:txBody>
      </p:sp>
      <p:sp>
        <p:nvSpPr>
          <p:cNvPr id="17" name="Slide Number Placeholder">
            <a:extLst>
              <a:ext uri="{FF2B5EF4-FFF2-40B4-BE49-F238E27FC236}">
                <a16:creationId xmlns:a16="http://schemas.microsoft.com/office/drawing/2014/main" id="{DDFBEAE7-AA23-4390-A274-7C53AFFFB366}"/>
              </a:ext>
            </a:extLst>
          </p:cNvPr>
          <p:cNvSpPr>
            <a:spLocks noGrp="1"/>
          </p:cNvSpPr>
          <p:nvPr>
            <p:ph type="sldNum" sz="quarter" idx="18"/>
          </p:nvPr>
        </p:nvSpPr>
        <p:spPr>
          <a:xfrm>
            <a:off x="11426137" y="6541200"/>
            <a:ext cx="549705" cy="266936"/>
          </a:xfrm>
          <a:prstGeom prst="rect">
            <a:avLst/>
          </a:prstGeom>
        </p:spPr>
        <p:txBody>
          <a:bodyPr/>
          <a:lstStyle>
            <a:lvl1pPr>
              <a:defRPr>
                <a:solidFill>
                  <a:srgbClr val="666666"/>
                </a:solidFill>
                <a:latin typeface="Yu Gothic UI" panose="020B0500000000000000" pitchFamily="50" charset="-128"/>
                <a:ea typeface="Yu Gothic UI" panose="020B0500000000000000" pitchFamily="50" charset="-128"/>
              </a:defRPr>
            </a:lvl1pPr>
          </a:lstStyle>
          <a:p>
            <a:fld id="{8E309D18-5CEC-4165-B971-DC4DA761F26D}" type="slidenum">
              <a:rPr lang="ja-JP" altLang="en-US" smtClean="0"/>
              <a:pPr/>
              <a:t>‹#›</a:t>
            </a:fld>
            <a:endParaRPr lang="ja-JP" altLang="en-US" dirty="0"/>
          </a:p>
        </p:txBody>
      </p:sp>
      <p:sp>
        <p:nvSpPr>
          <p:cNvPr id="2" name="Title Placeholder">
            <a:extLst>
              <a:ext uri="{FF2B5EF4-FFF2-40B4-BE49-F238E27FC236}">
                <a16:creationId xmlns:a16="http://schemas.microsoft.com/office/drawing/2014/main" id="{A7640F30-5BAC-1D91-45C6-6E0D6E859D9F}"/>
              </a:ext>
            </a:extLst>
          </p:cNvPr>
          <p:cNvSpPr>
            <a:spLocks noGrp="1"/>
          </p:cNvSpPr>
          <p:nvPr>
            <p:ph type="title"/>
          </p:nvPr>
        </p:nvSpPr>
        <p:spPr>
          <a:xfrm>
            <a:off x="1567543" y="1"/>
            <a:ext cx="8906024" cy="685800"/>
          </a:xfrm>
          <a:prstGeom prst="rect">
            <a:avLst/>
          </a:prstGeom>
        </p:spPr>
        <p:txBody>
          <a:bodyPr vert="horz" lIns="284400" tIns="72000" rIns="284400" bIns="72000" rtlCol="0" anchor="ctr">
            <a:normAutofit/>
          </a:bodyPr>
          <a:lstStyle>
            <a:lvl1pPr>
              <a:lnSpc>
                <a:spcPct val="100000"/>
              </a:lnSpc>
              <a:defRPr sz="2000">
                <a:solidFill>
                  <a:schemeClr val="tx1">
                    <a:lumMod val="75000"/>
                    <a:lumOff val="25000"/>
                  </a:schemeClr>
                </a:solidFill>
                <a:latin typeface="Yu Gothic UI" panose="020B0500000000000000" pitchFamily="50" charset="-128"/>
                <a:ea typeface="Yu Gothic UI" panose="020B0500000000000000" pitchFamily="50" charset="-128"/>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85091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図">
    <p:spTree>
      <p:nvGrpSpPr>
        <p:cNvPr id="1" name=""/>
        <p:cNvGrpSpPr/>
        <p:nvPr/>
      </p:nvGrpSpPr>
      <p:grpSpPr>
        <a:xfrm>
          <a:off x="0" y="0"/>
          <a:ext cx="0" cy="0"/>
          <a:chOff x="0" y="0"/>
          <a:chExt cx="0" cy="0"/>
        </a:xfrm>
      </p:grpSpPr>
      <p:sp>
        <p:nvSpPr>
          <p:cNvPr id="91" name="Picture Placeholder">
            <a:extLst>
              <a:ext uri="{FF2B5EF4-FFF2-40B4-BE49-F238E27FC236}">
                <a16:creationId xmlns:a16="http://schemas.microsoft.com/office/drawing/2014/main" id="{71648B28-78BE-4785-A243-9AB60F5CC873}"/>
              </a:ext>
            </a:extLst>
          </p:cNvPr>
          <p:cNvSpPr>
            <a:spLocks noGrp="1"/>
          </p:cNvSpPr>
          <p:nvPr>
            <p:ph type="pic" sz="quarter" idx="16"/>
          </p:nvPr>
        </p:nvSpPr>
        <p:spPr>
          <a:xfrm>
            <a:off x="6" y="680404"/>
            <a:ext cx="12191995" cy="6177597"/>
          </a:xfrm>
          <a:custGeom>
            <a:avLst/>
            <a:gdLst>
              <a:gd name="connsiteX0" fmla="*/ 0 w 12191995"/>
              <a:gd name="connsiteY0" fmla="*/ 0 h 6177597"/>
              <a:gd name="connsiteX1" fmla="*/ 12191995 w 12191995"/>
              <a:gd name="connsiteY1" fmla="*/ 0 h 6177597"/>
              <a:gd name="connsiteX2" fmla="*/ 12191995 w 12191995"/>
              <a:gd name="connsiteY2" fmla="*/ 6177597 h 6177597"/>
              <a:gd name="connsiteX3" fmla="*/ 11617596 w 12191995"/>
              <a:gd name="connsiteY3" fmla="*/ 6177597 h 6177597"/>
              <a:gd name="connsiteX4" fmla="*/ 11617596 w 12191995"/>
              <a:gd name="connsiteY4" fmla="*/ 5907597 h 6177597"/>
              <a:gd name="connsiteX5" fmla="*/ 11606796 w 12191995"/>
              <a:gd name="connsiteY5" fmla="*/ 5907597 h 6177597"/>
              <a:gd name="connsiteX6" fmla="*/ 11606796 w 12191995"/>
              <a:gd name="connsiteY6" fmla="*/ 6177597 h 6177597"/>
              <a:gd name="connsiteX7" fmla="*/ 0 w 12191995"/>
              <a:gd name="connsiteY7" fmla="*/ 6177597 h 61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5" h="6177597">
                <a:moveTo>
                  <a:pt x="0" y="0"/>
                </a:moveTo>
                <a:lnTo>
                  <a:pt x="12191995" y="0"/>
                </a:lnTo>
                <a:lnTo>
                  <a:pt x="12191995" y="6177597"/>
                </a:lnTo>
                <a:lnTo>
                  <a:pt x="11617596" y="6177597"/>
                </a:lnTo>
                <a:lnTo>
                  <a:pt x="11617596" y="5907597"/>
                </a:lnTo>
                <a:lnTo>
                  <a:pt x="11606796" y="5907597"/>
                </a:lnTo>
                <a:lnTo>
                  <a:pt x="11606796" y="6177597"/>
                </a:lnTo>
                <a:lnTo>
                  <a:pt x="0" y="6177597"/>
                </a:lnTo>
                <a:close/>
              </a:path>
            </a:pathLst>
          </a:custGeom>
        </p:spPr>
        <p:txBody>
          <a:bodyPr wrap="square">
            <a:noAutofit/>
          </a:bodyPr>
          <a:lstStyle>
            <a:lvl1pPr>
              <a:defRPr>
                <a:latin typeface="Meiryo UI" panose="020B0604030504040204" pitchFamily="34" charset="-128"/>
                <a:ea typeface="Meiryo UI" panose="020B0604030504040204" pitchFamily="34" charset="-128"/>
              </a:defRPr>
            </a:lvl1pPr>
          </a:lstStyle>
          <a:p>
            <a:endParaRPr kumimoji="1" lang="ja-JP" altLang="en-US"/>
          </a:p>
        </p:txBody>
      </p:sp>
      <p:sp>
        <p:nvSpPr>
          <p:cNvPr id="92" name="Slide Number Divider with 0.1pt Outline">
            <a:extLst>
              <a:ext uri="{FF2B5EF4-FFF2-40B4-BE49-F238E27FC236}">
                <a16:creationId xmlns:a16="http://schemas.microsoft.com/office/drawing/2014/main" id="{4CD6B862-B15B-45C8-9F34-37995B79669B}"/>
              </a:ext>
            </a:extLst>
          </p:cNvPr>
          <p:cNvSpPr/>
          <p:nvPr/>
        </p:nvSpPr>
        <p:spPr>
          <a:xfrm>
            <a:off x="11606802" y="6588000"/>
            <a:ext cx="10800" cy="270535"/>
          </a:xfrm>
          <a:prstGeom prst="rect">
            <a:avLst/>
          </a:prstGeom>
          <a:solidFill>
            <a:srgbClr val="000000"/>
          </a:solidFill>
          <a:ln w="127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cxnSp>
        <p:nvCxnSpPr>
          <p:cNvPr id="8" name="Header Divider">
            <a:extLst>
              <a:ext uri="{FF2B5EF4-FFF2-40B4-BE49-F238E27FC236}">
                <a16:creationId xmlns:a16="http://schemas.microsoft.com/office/drawing/2014/main" id="{387E6CE0-3809-4DF2-8632-16B1CF260389}"/>
              </a:ext>
            </a:extLst>
          </p:cNvPr>
          <p:cNvCxnSpPr/>
          <p:nvPr userDrawn="1"/>
        </p:nvCxnSpPr>
        <p:spPr>
          <a:xfrm>
            <a:off x="0" y="689613"/>
            <a:ext cx="12192000" cy="0"/>
          </a:xfrm>
          <a:prstGeom prst="line">
            <a:avLst/>
          </a:prstGeom>
          <a:ln w="19050">
            <a:solidFill>
              <a:srgbClr val="E1E1E1"/>
            </a:solidFill>
          </a:ln>
        </p:spPr>
        <p:style>
          <a:lnRef idx="1">
            <a:schemeClr val="accent1"/>
          </a:lnRef>
          <a:fillRef idx="0">
            <a:schemeClr val="accent1"/>
          </a:fillRef>
          <a:effectRef idx="0">
            <a:schemeClr val="accent1"/>
          </a:effectRef>
          <a:fontRef idx="minor">
            <a:schemeClr val="tx1"/>
          </a:fontRef>
        </p:style>
      </p:cxnSp>
      <p:sp>
        <p:nvSpPr>
          <p:cNvPr id="7" name="Section Number Background">
            <a:extLst>
              <a:ext uri="{FF2B5EF4-FFF2-40B4-BE49-F238E27FC236}">
                <a16:creationId xmlns:a16="http://schemas.microsoft.com/office/drawing/2014/main" id="{260F5D9F-3B7E-4BA7-8EF9-3A3175A7B8DA}"/>
              </a:ext>
            </a:extLst>
          </p:cNvPr>
          <p:cNvSpPr>
            <a:spLocks noChangeAspect="1"/>
          </p:cNvSpPr>
          <p:nvPr userDrawn="1"/>
        </p:nvSpPr>
        <p:spPr>
          <a:xfrm>
            <a:off x="0" y="71"/>
            <a:ext cx="1177200" cy="68947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latin typeface="Meiryo UI" panose="020B0604030504040204" pitchFamily="34" charset="-128"/>
              <a:ea typeface="Meiryo UI" panose="020B0604030504040204" pitchFamily="34" charset="-128"/>
            </a:endParaRPr>
          </a:p>
        </p:txBody>
      </p:sp>
      <p:sp>
        <p:nvSpPr>
          <p:cNvPr id="2" name="Title">
            <a:extLst>
              <a:ext uri="{FF2B5EF4-FFF2-40B4-BE49-F238E27FC236}">
                <a16:creationId xmlns:a16="http://schemas.microsoft.com/office/drawing/2014/main" id="{826DC3C1-0EA2-407D-B244-D507E83CB33E}"/>
              </a:ext>
            </a:extLst>
          </p:cNvPr>
          <p:cNvSpPr>
            <a:spLocks noGrp="1"/>
          </p:cNvSpPr>
          <p:nvPr>
            <p:ph type="title"/>
          </p:nvPr>
        </p:nvSpPr>
        <p:spPr/>
        <p:txBody>
          <a:bodyPr/>
          <a:lstStyle>
            <a:lvl1pPr>
              <a:defRPr>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6" name="Section Number Placeholder">
            <a:extLst>
              <a:ext uri="{FF2B5EF4-FFF2-40B4-BE49-F238E27FC236}">
                <a16:creationId xmlns:a16="http://schemas.microsoft.com/office/drawing/2014/main" id="{2C0342D6-E7A1-4CA9-AC6B-F0975E5CB352}"/>
              </a:ext>
            </a:extLst>
          </p:cNvP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i="0"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88" name="Section Title Placeholder">
            <a:extLst>
              <a:ext uri="{FF2B5EF4-FFF2-40B4-BE49-F238E27FC236}">
                <a16:creationId xmlns:a16="http://schemas.microsoft.com/office/drawing/2014/main" id="{547818CD-F1B4-41D9-A9F2-C48BA5CC047E}"/>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000000"/>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5" name="Date Placeholder">
            <a:extLst>
              <a:ext uri="{FF2B5EF4-FFF2-40B4-BE49-F238E27FC236}">
                <a16:creationId xmlns:a16="http://schemas.microsoft.com/office/drawing/2014/main" id="{5568E473-E119-44CE-BABA-8A7AFCB51C77}"/>
              </a:ext>
            </a:extLst>
          </p:cNvPr>
          <p:cNvSpPr>
            <a:spLocks noGrp="1"/>
          </p:cNvSpPr>
          <p:nvPr>
            <p:ph type="dt" sz="half" idx="12"/>
          </p:nvPr>
        </p:nvSpPr>
        <p:spPr/>
        <p:txBody>
          <a:bodyPr/>
          <a:lstStyle>
            <a:lvl1pPr>
              <a:defRPr>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dirty="0"/>
          </a:p>
        </p:txBody>
      </p:sp>
      <p:sp>
        <p:nvSpPr>
          <p:cNvPr id="4" name="Footer Placeholder">
            <a:extLst>
              <a:ext uri="{FF2B5EF4-FFF2-40B4-BE49-F238E27FC236}">
                <a16:creationId xmlns:a16="http://schemas.microsoft.com/office/drawing/2014/main" id="{4B6AFA1E-DEDE-4D02-8BE9-6404831E2584}"/>
              </a:ext>
            </a:extLst>
          </p:cNvPr>
          <p:cNvSpPr>
            <a:spLocks noGrp="1"/>
          </p:cNvSpPr>
          <p:nvPr>
            <p:ph type="ftr" sz="quarter" idx="11"/>
          </p:nvPr>
        </p:nvSpPr>
        <p:spPr/>
        <p:txBody>
          <a:bodyPr/>
          <a:lstStyle>
            <a:lvl1pPr>
              <a:defRPr>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3" name="Slide Number Placeholder">
            <a:extLst>
              <a:ext uri="{FF2B5EF4-FFF2-40B4-BE49-F238E27FC236}">
                <a16:creationId xmlns:a16="http://schemas.microsoft.com/office/drawing/2014/main" id="{65639B2E-D26F-473A-BE81-4DB7ED74E886}"/>
              </a:ext>
            </a:extLst>
          </p:cNvPr>
          <p:cNvSpPr>
            <a:spLocks noGrp="1"/>
          </p:cNvSpPr>
          <p:nvPr>
            <p:ph type="sldNum" sz="quarter" idx="10"/>
          </p:nvPr>
        </p:nvSpPr>
        <p:spPr/>
        <p:txBody>
          <a:bodyPr/>
          <a:lstStyle>
            <a:lvl1pPr>
              <a:defRPr>
                <a:solidFill>
                  <a:srgbClr val="000000"/>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dirty="0"/>
          </a:p>
        </p:txBody>
      </p:sp>
    </p:spTree>
    <p:extLst>
      <p:ext uri="{BB962C8B-B14F-4D97-AF65-F5344CB8AC3E}">
        <p14:creationId xmlns:p14="http://schemas.microsoft.com/office/powerpoint/2010/main" val="835926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図">
    <p:bg>
      <p:bgPr>
        <a:solidFill>
          <a:schemeClr val="bg1"/>
        </a:solidFill>
        <a:effectLst/>
      </p:bgPr>
    </p:bg>
    <p:spTree>
      <p:nvGrpSpPr>
        <p:cNvPr id="1" name=""/>
        <p:cNvGrpSpPr/>
        <p:nvPr/>
      </p:nvGrpSpPr>
      <p:grpSpPr>
        <a:xfrm>
          <a:off x="0" y="0"/>
          <a:ext cx="0" cy="0"/>
          <a:chOff x="0" y="0"/>
          <a:chExt cx="0" cy="0"/>
        </a:xfrm>
      </p:grpSpPr>
      <p:sp>
        <p:nvSpPr>
          <p:cNvPr id="43" name="Picture Placeholder">
            <a:extLst>
              <a:ext uri="{FF2B5EF4-FFF2-40B4-BE49-F238E27FC236}">
                <a16:creationId xmlns:a16="http://schemas.microsoft.com/office/drawing/2014/main" id="{E0DB792A-C08C-4A31-8CFA-D8A213F16629}"/>
              </a:ext>
            </a:extLst>
          </p:cNvPr>
          <p:cNvSpPr>
            <a:spLocks noGrp="1"/>
          </p:cNvSpPr>
          <p:nvPr>
            <p:ph type="pic" sz="quarter" idx="10"/>
          </p:nvPr>
        </p:nvSpPr>
        <p:spPr>
          <a:xfrm>
            <a:off x="0" y="3"/>
            <a:ext cx="12191995" cy="6857997"/>
          </a:xfrm>
          <a:custGeom>
            <a:avLst/>
            <a:gdLst>
              <a:gd name="connsiteX0" fmla="*/ 0 w 12191995"/>
              <a:gd name="connsiteY0" fmla="*/ 0 h 6857997"/>
              <a:gd name="connsiteX1" fmla="*/ 12191995 w 12191995"/>
              <a:gd name="connsiteY1" fmla="*/ 0 h 6857997"/>
              <a:gd name="connsiteX2" fmla="*/ 12191995 w 12191995"/>
              <a:gd name="connsiteY2" fmla="*/ 6857997 h 6857997"/>
              <a:gd name="connsiteX3" fmla="*/ 11617596 w 12191995"/>
              <a:gd name="connsiteY3" fmla="*/ 6857997 h 6857997"/>
              <a:gd name="connsiteX4" fmla="*/ 11617596 w 12191995"/>
              <a:gd name="connsiteY4" fmla="*/ 6587996 h 6857997"/>
              <a:gd name="connsiteX5" fmla="*/ 11606796 w 12191995"/>
              <a:gd name="connsiteY5" fmla="*/ 6587996 h 6857997"/>
              <a:gd name="connsiteX6" fmla="*/ 11606796 w 12191995"/>
              <a:gd name="connsiteY6" fmla="*/ 6857997 h 6857997"/>
              <a:gd name="connsiteX7" fmla="*/ 0 w 12191995"/>
              <a:gd name="connsiteY7"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5" h="6857997">
                <a:moveTo>
                  <a:pt x="0" y="0"/>
                </a:moveTo>
                <a:lnTo>
                  <a:pt x="12191995" y="0"/>
                </a:lnTo>
                <a:lnTo>
                  <a:pt x="12191995" y="6857997"/>
                </a:lnTo>
                <a:lnTo>
                  <a:pt x="11617596" y="6857997"/>
                </a:lnTo>
                <a:lnTo>
                  <a:pt x="11617596" y="6587996"/>
                </a:lnTo>
                <a:lnTo>
                  <a:pt x="11606796" y="6587996"/>
                </a:lnTo>
                <a:lnTo>
                  <a:pt x="11606796" y="6857997"/>
                </a:lnTo>
                <a:lnTo>
                  <a:pt x="0" y="6857997"/>
                </a:lnTo>
                <a:close/>
              </a:path>
            </a:pathLst>
          </a:custGeom>
        </p:spPr>
        <p:txBody>
          <a:bodyPr wrap="square">
            <a:noAutofit/>
          </a:bodyPr>
          <a:lstStyle>
            <a:lvl1pPr>
              <a:defRPr>
                <a:latin typeface="Meiryo UI" panose="020B0604030504040204" pitchFamily="34" charset="-128"/>
                <a:ea typeface="Meiryo UI" panose="020B0604030504040204" pitchFamily="34" charset="-128"/>
              </a:defRPr>
            </a:lvl1pPr>
          </a:lstStyle>
          <a:p>
            <a:endParaRPr kumimoji="1" lang="ja-JP" altLang="en-US"/>
          </a:p>
        </p:txBody>
      </p:sp>
      <p:sp>
        <p:nvSpPr>
          <p:cNvPr id="153" name="Slide Number Divider with 0.1pt Outline">
            <a:extLst>
              <a:ext uri="{FF2B5EF4-FFF2-40B4-BE49-F238E27FC236}">
                <a16:creationId xmlns:a16="http://schemas.microsoft.com/office/drawing/2014/main" id="{A39F0699-A345-48AC-B361-BB873B0C2D7E}"/>
              </a:ext>
            </a:extLst>
          </p:cNvPr>
          <p:cNvSpPr/>
          <p:nvPr userDrawn="1"/>
        </p:nvSpPr>
        <p:spPr>
          <a:xfrm>
            <a:off x="11606802" y="6588000"/>
            <a:ext cx="10800" cy="270535"/>
          </a:xfrm>
          <a:prstGeom prst="rect">
            <a:avLst/>
          </a:prstGeom>
          <a:solidFill>
            <a:srgbClr val="000000"/>
          </a:solidFill>
          <a:ln w="127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44" name="Copyright">
            <a:extLst>
              <a:ext uri="{FF2B5EF4-FFF2-40B4-BE49-F238E27FC236}">
                <a16:creationId xmlns:a16="http://schemas.microsoft.com/office/drawing/2014/main" id="{19072553-EA4B-4616-B3F8-E89E9E99F5CA}"/>
              </a:ext>
            </a:extLst>
          </p:cNvPr>
          <p:cNvSpPr txBox="1"/>
          <p:nvPr userDrawn="1"/>
        </p:nvSpPr>
        <p:spPr>
          <a:xfrm>
            <a:off x="180975" y="6645600"/>
            <a:ext cx="1292225" cy="105222"/>
          </a:xfrm>
          <a:prstGeom prst="rect">
            <a:avLst/>
          </a:prstGeom>
          <a:noFill/>
        </p:spPr>
        <p:txBody>
          <a:bodyPr wrap="square" lIns="0" tIns="0" rIns="0" bIns="0" rtlCol="0">
            <a:spAutoFit/>
          </a:bodyPr>
          <a:lstStyle>
            <a:defPPr>
              <a:defRPr lang="ja-JP"/>
            </a:defPPr>
            <a:lvl1pPr defTabSz="914400">
              <a:lnSpc>
                <a:spcPct val="130000"/>
              </a:lnSpc>
              <a:defRPr kumimoji="1" sz="600">
                <a:solidFill>
                  <a:srgbClr val="666666"/>
                </a:solidFill>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lvl="0"/>
            <a:r>
              <a:rPr lang="en-US" altLang="ja-JP" dirty="0">
                <a:solidFill>
                  <a:srgbClr val="000000"/>
                </a:solidFill>
                <a:latin typeface="Meiryo UI" panose="020B0604030504040204" pitchFamily="34" charset="-128"/>
                <a:ea typeface="Meiryo UI" panose="020B0604030504040204" pitchFamily="34" charset="-128"/>
              </a:rPr>
              <a:t>©Mitsubishi</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Electric</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Corporation</a:t>
            </a:r>
            <a:endParaRPr lang="ja-JP" altLang="en-US" dirty="0">
              <a:solidFill>
                <a:srgbClr val="000000"/>
              </a:solidFill>
              <a:latin typeface="Meiryo UI" panose="020B0604030504040204" pitchFamily="34" charset="-128"/>
              <a:ea typeface="Meiryo UI" panose="020B0604030504040204" pitchFamily="34" charset="-128"/>
            </a:endParaRPr>
          </a:p>
        </p:txBody>
      </p:sp>
      <p:sp>
        <p:nvSpPr>
          <p:cNvPr id="42" name="Section Title Placeholder">
            <a:extLst>
              <a:ext uri="{FF2B5EF4-FFF2-40B4-BE49-F238E27FC236}">
                <a16:creationId xmlns:a16="http://schemas.microsoft.com/office/drawing/2014/main" id="{5FE568B2-F138-4DDB-81AF-88B41A58DDFF}"/>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000000"/>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2" name="Date Placeholder">
            <a:extLst>
              <a:ext uri="{FF2B5EF4-FFF2-40B4-BE49-F238E27FC236}">
                <a16:creationId xmlns:a16="http://schemas.microsoft.com/office/drawing/2014/main" id="{C1FD5225-3AEB-43EF-B061-54AFA35C8F59}"/>
              </a:ext>
            </a:extLst>
          </p:cNvPr>
          <p:cNvSpPr>
            <a:spLocks noGrp="1"/>
          </p:cNvSpPr>
          <p:nvPr>
            <p:ph type="dt" sz="half" idx="16"/>
          </p:nvPr>
        </p:nvSpPr>
        <p:spPr/>
        <p:txBody>
          <a:bodyPr vert="horz" lIns="0" tIns="0" rIns="0" bIns="0" rtlCol="0" anchor="ctr"/>
          <a:lstStyle>
            <a:lvl1pPr>
              <a:defRPr lang="ja-JP" altLang="en-US">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3" name="Footer Placeholder">
            <a:extLst>
              <a:ext uri="{FF2B5EF4-FFF2-40B4-BE49-F238E27FC236}">
                <a16:creationId xmlns:a16="http://schemas.microsoft.com/office/drawing/2014/main" id="{3AA0D1C0-9443-4F0A-974A-4CDFA1BEBBDE}"/>
              </a:ext>
            </a:extLst>
          </p:cNvPr>
          <p:cNvSpPr>
            <a:spLocks noGrp="1"/>
          </p:cNvSpPr>
          <p:nvPr>
            <p:ph type="ftr" sz="quarter" idx="17"/>
          </p:nvPr>
        </p:nvSpPr>
        <p:spPr/>
        <p:txBody>
          <a:bodyPr vert="horz" lIns="0" tIns="0" rIns="0" bIns="0" rtlCol="0" anchor="ctr"/>
          <a:lstStyle>
            <a:lvl1pPr>
              <a:defRPr lang="ja-JP" altLang="en-US" dirty="0">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4" name="Slide Number Placeholder">
            <a:extLst>
              <a:ext uri="{FF2B5EF4-FFF2-40B4-BE49-F238E27FC236}">
                <a16:creationId xmlns:a16="http://schemas.microsoft.com/office/drawing/2014/main" id="{AC4DDDFD-6B29-4F59-97B9-EB81EACE258F}"/>
              </a:ext>
            </a:extLst>
          </p:cNvPr>
          <p:cNvSpPr>
            <a:spLocks noGrp="1"/>
          </p:cNvSpPr>
          <p:nvPr>
            <p:ph type="sldNum" sz="quarter" idx="18"/>
          </p:nvPr>
        </p:nvSpPr>
        <p:spPr/>
        <p:txBody>
          <a:bodyPr vert="horz" lIns="0" tIns="0" rIns="0" bIns="0" rtlCol="0" anchor="ctr"/>
          <a:lstStyle>
            <a:lvl1pPr>
              <a:defRPr lang="en-US" altLang="ja-JP" smtClean="0">
                <a:solidFill>
                  <a:srgbClr val="000000"/>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dirty="0"/>
          </a:p>
        </p:txBody>
      </p:sp>
      <p:grpSp>
        <p:nvGrpSpPr>
          <p:cNvPr id="5" name="Group 18">
            <a:extLst>
              <a:ext uri="{FF2B5EF4-FFF2-40B4-BE49-F238E27FC236}">
                <a16:creationId xmlns:a16="http://schemas.microsoft.com/office/drawing/2014/main" id="{E7AE9F20-2922-356F-E197-39BC171F382C}"/>
              </a:ext>
            </a:extLst>
          </p:cNvPr>
          <p:cNvGrpSpPr/>
          <p:nvPr userDrawn="1"/>
        </p:nvGrpSpPr>
        <p:grpSpPr>
          <a:xfrm>
            <a:off x="12527745" y="1706598"/>
            <a:ext cx="2425636" cy="4834602"/>
            <a:chOff x="12216680" y="2015317"/>
            <a:chExt cx="2425636" cy="4834602"/>
          </a:xfrm>
        </p:grpSpPr>
        <p:sp>
          <p:nvSpPr>
            <p:cNvPr id="6" name="Rectangle 19">
              <a:extLst>
                <a:ext uri="{FF2B5EF4-FFF2-40B4-BE49-F238E27FC236}">
                  <a16:creationId xmlns:a16="http://schemas.microsoft.com/office/drawing/2014/main" id="{E4147731-4819-CB1B-D3CC-6B8F402EEE9C}"/>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 name="Rectangle 20">
              <a:extLst>
                <a:ext uri="{FF2B5EF4-FFF2-40B4-BE49-F238E27FC236}">
                  <a16:creationId xmlns:a16="http://schemas.microsoft.com/office/drawing/2014/main" id="{D2C5BE94-55DD-8A23-5054-54FFF542CE74}"/>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 name="Rectangle 21">
              <a:extLst>
                <a:ext uri="{FF2B5EF4-FFF2-40B4-BE49-F238E27FC236}">
                  <a16:creationId xmlns:a16="http://schemas.microsoft.com/office/drawing/2014/main" id="{8E7334BE-5775-34E9-B153-93773671BC3A}"/>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 name="Rectangle 22">
              <a:extLst>
                <a:ext uri="{FF2B5EF4-FFF2-40B4-BE49-F238E27FC236}">
                  <a16:creationId xmlns:a16="http://schemas.microsoft.com/office/drawing/2014/main" id="{04E4D248-E2F8-01BC-31F4-8B68C270B5A9}"/>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3">
              <a:extLst>
                <a:ext uri="{FF2B5EF4-FFF2-40B4-BE49-F238E27FC236}">
                  <a16:creationId xmlns:a16="http://schemas.microsoft.com/office/drawing/2014/main" id="{667B706C-A558-AB46-56A4-2DCFA7750E83}"/>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TextBox 24">
              <a:extLst>
                <a:ext uri="{FF2B5EF4-FFF2-40B4-BE49-F238E27FC236}">
                  <a16:creationId xmlns:a16="http://schemas.microsoft.com/office/drawing/2014/main" id="{7B791E40-F8EC-A7AC-918B-3F3BB3E2E264}"/>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2" name="TextBox 25">
              <a:extLst>
                <a:ext uri="{FF2B5EF4-FFF2-40B4-BE49-F238E27FC236}">
                  <a16:creationId xmlns:a16="http://schemas.microsoft.com/office/drawing/2014/main" id="{C5C25C8C-3DED-2137-4BCC-95F2C22067CD}"/>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3" name="TextBox 26">
              <a:extLst>
                <a:ext uri="{FF2B5EF4-FFF2-40B4-BE49-F238E27FC236}">
                  <a16:creationId xmlns:a16="http://schemas.microsoft.com/office/drawing/2014/main" id="{C1459B92-31ED-B707-3D3E-B33ABA5F8B86}"/>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4" name="TextBox 27">
              <a:extLst>
                <a:ext uri="{FF2B5EF4-FFF2-40B4-BE49-F238E27FC236}">
                  <a16:creationId xmlns:a16="http://schemas.microsoft.com/office/drawing/2014/main" id="{6AB2A865-61D2-AD28-661F-EC15B822944C}"/>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5" name="TextBox 28">
              <a:extLst>
                <a:ext uri="{FF2B5EF4-FFF2-40B4-BE49-F238E27FC236}">
                  <a16:creationId xmlns:a16="http://schemas.microsoft.com/office/drawing/2014/main" id="{351D65F1-A4F5-8A2D-E588-13BAF84C57BB}"/>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6" name="TextBox 29">
              <a:extLst>
                <a:ext uri="{FF2B5EF4-FFF2-40B4-BE49-F238E27FC236}">
                  <a16:creationId xmlns:a16="http://schemas.microsoft.com/office/drawing/2014/main" id="{0755FD10-0A3D-4AA6-6F37-BD39BE0B7B4A}"/>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7" name="TextBox 30">
              <a:extLst>
                <a:ext uri="{FF2B5EF4-FFF2-40B4-BE49-F238E27FC236}">
                  <a16:creationId xmlns:a16="http://schemas.microsoft.com/office/drawing/2014/main" id="{7C7A05B0-06AF-B001-BFC3-61A0C8D488E0}"/>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8" name="Rectangle 31">
              <a:extLst>
                <a:ext uri="{FF2B5EF4-FFF2-40B4-BE49-F238E27FC236}">
                  <a16:creationId xmlns:a16="http://schemas.microsoft.com/office/drawing/2014/main" id="{77563C90-156D-E684-6786-0F3897442E46}"/>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9" name="Rectangle 32">
              <a:extLst>
                <a:ext uri="{FF2B5EF4-FFF2-40B4-BE49-F238E27FC236}">
                  <a16:creationId xmlns:a16="http://schemas.microsoft.com/office/drawing/2014/main" id="{FD244D76-31ED-8F09-49BA-1352D0239B5E}"/>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3">
              <a:extLst>
                <a:ext uri="{FF2B5EF4-FFF2-40B4-BE49-F238E27FC236}">
                  <a16:creationId xmlns:a16="http://schemas.microsoft.com/office/drawing/2014/main" id="{87C0BC55-AEEA-C6B4-7DAD-E20D8B9B8BCA}"/>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4">
              <a:extLst>
                <a:ext uri="{FF2B5EF4-FFF2-40B4-BE49-F238E27FC236}">
                  <a16:creationId xmlns:a16="http://schemas.microsoft.com/office/drawing/2014/main" id="{172D5060-C9A2-4B03-9785-B40E55C61802}"/>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5">
              <a:extLst>
                <a:ext uri="{FF2B5EF4-FFF2-40B4-BE49-F238E27FC236}">
                  <a16:creationId xmlns:a16="http://schemas.microsoft.com/office/drawing/2014/main" id="{B4DF9778-0CE4-1D9E-8DF8-8BA6F7D3B451}"/>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6">
              <a:extLst>
                <a:ext uri="{FF2B5EF4-FFF2-40B4-BE49-F238E27FC236}">
                  <a16:creationId xmlns:a16="http://schemas.microsoft.com/office/drawing/2014/main" id="{7A1F6E23-41E3-5374-8181-F77677B82BDA}"/>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7">
              <a:extLst>
                <a:ext uri="{FF2B5EF4-FFF2-40B4-BE49-F238E27FC236}">
                  <a16:creationId xmlns:a16="http://schemas.microsoft.com/office/drawing/2014/main" id="{3CE4EE57-EE7D-1428-9A77-BFC221BAC688}"/>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8">
              <a:extLst>
                <a:ext uri="{FF2B5EF4-FFF2-40B4-BE49-F238E27FC236}">
                  <a16:creationId xmlns:a16="http://schemas.microsoft.com/office/drawing/2014/main" id="{36D9A1B3-2C21-80F5-0634-903089D0A2D9}"/>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9">
              <a:extLst>
                <a:ext uri="{FF2B5EF4-FFF2-40B4-BE49-F238E27FC236}">
                  <a16:creationId xmlns:a16="http://schemas.microsoft.com/office/drawing/2014/main" id="{E2DB6A4F-B6D0-6372-2D87-1ACA7DE862E5}"/>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40">
              <a:extLst>
                <a:ext uri="{FF2B5EF4-FFF2-40B4-BE49-F238E27FC236}">
                  <a16:creationId xmlns:a16="http://schemas.microsoft.com/office/drawing/2014/main" id="{D350B57A-1C95-E552-A646-574876C9467B}"/>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1">
              <a:extLst>
                <a:ext uri="{FF2B5EF4-FFF2-40B4-BE49-F238E27FC236}">
                  <a16:creationId xmlns:a16="http://schemas.microsoft.com/office/drawing/2014/main" id="{890B0636-482E-814E-B4DA-BC13C21F3EF8}"/>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2">
              <a:extLst>
                <a:ext uri="{FF2B5EF4-FFF2-40B4-BE49-F238E27FC236}">
                  <a16:creationId xmlns:a16="http://schemas.microsoft.com/office/drawing/2014/main" id="{349DD1C4-B06D-67E4-54F2-DA52CC3DE381}"/>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3">
              <a:extLst>
                <a:ext uri="{FF2B5EF4-FFF2-40B4-BE49-F238E27FC236}">
                  <a16:creationId xmlns:a16="http://schemas.microsoft.com/office/drawing/2014/main" id="{DDEA2FC7-4E6D-5E01-21FC-AD791E8B9842}"/>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4">
              <a:extLst>
                <a:ext uri="{FF2B5EF4-FFF2-40B4-BE49-F238E27FC236}">
                  <a16:creationId xmlns:a16="http://schemas.microsoft.com/office/drawing/2014/main" id="{24AB764D-8C24-672F-5D01-0924D19BE1CB}"/>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TextBox 45">
              <a:extLst>
                <a:ext uri="{FF2B5EF4-FFF2-40B4-BE49-F238E27FC236}">
                  <a16:creationId xmlns:a16="http://schemas.microsoft.com/office/drawing/2014/main" id="{168B1218-E77F-7ADA-31FE-AAAEF7715F5E}"/>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3" name="TextBox 46">
              <a:extLst>
                <a:ext uri="{FF2B5EF4-FFF2-40B4-BE49-F238E27FC236}">
                  <a16:creationId xmlns:a16="http://schemas.microsoft.com/office/drawing/2014/main" id="{3AC2658F-5E35-C8E3-E8DF-89EB711F9E01}"/>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4" name="TextBox 47">
              <a:extLst>
                <a:ext uri="{FF2B5EF4-FFF2-40B4-BE49-F238E27FC236}">
                  <a16:creationId xmlns:a16="http://schemas.microsoft.com/office/drawing/2014/main" id="{16ACA616-A1C2-F9C8-613F-C862912148C9}"/>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5" name="TextBox 48">
              <a:extLst>
                <a:ext uri="{FF2B5EF4-FFF2-40B4-BE49-F238E27FC236}">
                  <a16:creationId xmlns:a16="http://schemas.microsoft.com/office/drawing/2014/main" id="{D3D49410-EDB1-81B2-CC19-77CE73ED369E}"/>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6" name="TextBox 49">
              <a:extLst>
                <a:ext uri="{FF2B5EF4-FFF2-40B4-BE49-F238E27FC236}">
                  <a16:creationId xmlns:a16="http://schemas.microsoft.com/office/drawing/2014/main" id="{5173673B-C1D2-0BE7-36F1-EBD5A3E7346C}"/>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7" name="TextBox 50">
              <a:extLst>
                <a:ext uri="{FF2B5EF4-FFF2-40B4-BE49-F238E27FC236}">
                  <a16:creationId xmlns:a16="http://schemas.microsoft.com/office/drawing/2014/main" id="{82041353-0AFA-A7D6-B911-5AD899F9BD74}"/>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8" name="TextBox 51">
              <a:extLst>
                <a:ext uri="{FF2B5EF4-FFF2-40B4-BE49-F238E27FC236}">
                  <a16:creationId xmlns:a16="http://schemas.microsoft.com/office/drawing/2014/main" id="{B049A2A7-5078-26D5-ABAE-C00E6CACEE35}"/>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39" name="Rectangle 52">
              <a:extLst>
                <a:ext uri="{FF2B5EF4-FFF2-40B4-BE49-F238E27FC236}">
                  <a16:creationId xmlns:a16="http://schemas.microsoft.com/office/drawing/2014/main" id="{8858F2CA-BF69-6805-E842-7633CD79ED16}"/>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0" name="Rectangle 53">
              <a:extLst>
                <a:ext uri="{FF2B5EF4-FFF2-40B4-BE49-F238E27FC236}">
                  <a16:creationId xmlns:a16="http://schemas.microsoft.com/office/drawing/2014/main" id="{73335288-4261-D9C2-A7FE-A67DF7D3001A}"/>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4">
              <a:extLst>
                <a:ext uri="{FF2B5EF4-FFF2-40B4-BE49-F238E27FC236}">
                  <a16:creationId xmlns:a16="http://schemas.microsoft.com/office/drawing/2014/main" id="{B2803168-4A38-199E-142C-4ACFD0C543DF}"/>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 name="Rectangle 55">
              <a:extLst>
                <a:ext uri="{FF2B5EF4-FFF2-40B4-BE49-F238E27FC236}">
                  <a16:creationId xmlns:a16="http://schemas.microsoft.com/office/drawing/2014/main" id="{D62C7F09-FB83-5DD4-2085-C4D16ABD6AE4}"/>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 name="Rectangle 56">
              <a:extLst>
                <a:ext uri="{FF2B5EF4-FFF2-40B4-BE49-F238E27FC236}">
                  <a16:creationId xmlns:a16="http://schemas.microsoft.com/office/drawing/2014/main" id="{6A73BD0C-E459-0442-0272-4C8FC0F86107}"/>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 name="TextBox 57">
              <a:extLst>
                <a:ext uri="{FF2B5EF4-FFF2-40B4-BE49-F238E27FC236}">
                  <a16:creationId xmlns:a16="http://schemas.microsoft.com/office/drawing/2014/main" id="{D3DA4083-149C-99C3-90DD-D8561F61408D}"/>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8" name="TextBox 58">
              <a:extLst>
                <a:ext uri="{FF2B5EF4-FFF2-40B4-BE49-F238E27FC236}">
                  <a16:creationId xmlns:a16="http://schemas.microsoft.com/office/drawing/2014/main" id="{3872365F-5B4A-CE54-154B-9EC4E0483661}"/>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9" name="TextBox 59">
              <a:extLst>
                <a:ext uri="{FF2B5EF4-FFF2-40B4-BE49-F238E27FC236}">
                  <a16:creationId xmlns:a16="http://schemas.microsoft.com/office/drawing/2014/main" id="{B19617E0-C3CC-2D37-2072-A6509E7F4C7B}"/>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50" name="TextBox 60">
              <a:extLst>
                <a:ext uri="{FF2B5EF4-FFF2-40B4-BE49-F238E27FC236}">
                  <a16:creationId xmlns:a16="http://schemas.microsoft.com/office/drawing/2014/main" id="{24BBDB37-98E8-636E-37E5-D26C3B3251F9}"/>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51" name="TextBox 61">
              <a:extLst>
                <a:ext uri="{FF2B5EF4-FFF2-40B4-BE49-F238E27FC236}">
                  <a16:creationId xmlns:a16="http://schemas.microsoft.com/office/drawing/2014/main" id="{C47EDA79-44E7-6BFE-D1C3-C5DE2198CF3E}"/>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52" name="TextBox 62">
              <a:extLst>
                <a:ext uri="{FF2B5EF4-FFF2-40B4-BE49-F238E27FC236}">
                  <a16:creationId xmlns:a16="http://schemas.microsoft.com/office/drawing/2014/main" id="{FAECE6CF-6406-2897-617F-C15AF470EA8D}"/>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3" name="TextBox 63">
              <a:extLst>
                <a:ext uri="{FF2B5EF4-FFF2-40B4-BE49-F238E27FC236}">
                  <a16:creationId xmlns:a16="http://schemas.microsoft.com/office/drawing/2014/main" id="{F5CEC667-AF41-62F6-CFB3-9C09503946D4}"/>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4" name="TextBox 64">
              <a:extLst>
                <a:ext uri="{FF2B5EF4-FFF2-40B4-BE49-F238E27FC236}">
                  <a16:creationId xmlns:a16="http://schemas.microsoft.com/office/drawing/2014/main" id="{439F927B-B63B-FEB9-B636-0C7476D638D1}"/>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5" name="TextBox 65">
              <a:extLst>
                <a:ext uri="{FF2B5EF4-FFF2-40B4-BE49-F238E27FC236}">
                  <a16:creationId xmlns:a16="http://schemas.microsoft.com/office/drawing/2014/main" id="{9879713A-CA2C-EC0E-852E-05FEE4281170}"/>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6" name="TextBox 66">
              <a:extLst>
                <a:ext uri="{FF2B5EF4-FFF2-40B4-BE49-F238E27FC236}">
                  <a16:creationId xmlns:a16="http://schemas.microsoft.com/office/drawing/2014/main" id="{DBA8C3B7-329A-6D41-DB9C-EED6B48D0D42}"/>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7" name="TextBox 67">
              <a:extLst>
                <a:ext uri="{FF2B5EF4-FFF2-40B4-BE49-F238E27FC236}">
                  <a16:creationId xmlns:a16="http://schemas.microsoft.com/office/drawing/2014/main" id="{1C67DD1C-B312-041E-4356-F07844CA0614}"/>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8" name="TextBox 68">
              <a:extLst>
                <a:ext uri="{FF2B5EF4-FFF2-40B4-BE49-F238E27FC236}">
                  <a16:creationId xmlns:a16="http://schemas.microsoft.com/office/drawing/2014/main" id="{2FAA5BD4-2723-8D3F-13E6-CBBCA133B054}"/>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9" name="TextBox 69">
              <a:extLst>
                <a:ext uri="{FF2B5EF4-FFF2-40B4-BE49-F238E27FC236}">
                  <a16:creationId xmlns:a16="http://schemas.microsoft.com/office/drawing/2014/main" id="{48DD42AA-DCD2-5FC1-5FD2-DA4F74B301ED}"/>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60" name="TextBox 70">
              <a:extLst>
                <a:ext uri="{FF2B5EF4-FFF2-40B4-BE49-F238E27FC236}">
                  <a16:creationId xmlns:a16="http://schemas.microsoft.com/office/drawing/2014/main" id="{DC4B8150-5C96-42F0-EBEC-21E9F50F5E13}"/>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61" name="TextBox 71">
              <a:extLst>
                <a:ext uri="{FF2B5EF4-FFF2-40B4-BE49-F238E27FC236}">
                  <a16:creationId xmlns:a16="http://schemas.microsoft.com/office/drawing/2014/main" id="{81E1BF72-4D95-AAB0-A218-567F29EE0EFB}"/>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62" name="Rectangle 72">
              <a:extLst>
                <a:ext uri="{FF2B5EF4-FFF2-40B4-BE49-F238E27FC236}">
                  <a16:creationId xmlns:a16="http://schemas.microsoft.com/office/drawing/2014/main" id="{26A350D7-259A-E68B-27E1-D110FF7763A4}"/>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3">
              <a:extLst>
                <a:ext uri="{FF2B5EF4-FFF2-40B4-BE49-F238E27FC236}">
                  <a16:creationId xmlns:a16="http://schemas.microsoft.com/office/drawing/2014/main" id="{402D9B1C-8510-326D-FDB2-9490887F2B23}"/>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8" name="Rectangle 74">
              <a:extLst>
                <a:ext uri="{FF2B5EF4-FFF2-40B4-BE49-F238E27FC236}">
                  <a16:creationId xmlns:a16="http://schemas.microsoft.com/office/drawing/2014/main" id="{3677F766-8516-56EF-6618-CB3FD6A46DEF}"/>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29" name="Rectangle 75">
              <a:extLst>
                <a:ext uri="{FF2B5EF4-FFF2-40B4-BE49-F238E27FC236}">
                  <a16:creationId xmlns:a16="http://schemas.microsoft.com/office/drawing/2014/main" id="{DC5AE6C2-3919-5E4D-2711-0F7E44E0E6F9}"/>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0" name="Rectangle 76">
              <a:extLst>
                <a:ext uri="{FF2B5EF4-FFF2-40B4-BE49-F238E27FC236}">
                  <a16:creationId xmlns:a16="http://schemas.microsoft.com/office/drawing/2014/main" id="{82AEBFDD-7E00-1A31-F078-A42A71C2D049}"/>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1" name="Rectangle 77">
              <a:extLst>
                <a:ext uri="{FF2B5EF4-FFF2-40B4-BE49-F238E27FC236}">
                  <a16:creationId xmlns:a16="http://schemas.microsoft.com/office/drawing/2014/main" id="{6BCF39DB-76A9-C8E5-DFA7-14DF207E1392}"/>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2" name="Rectangle 78">
              <a:extLst>
                <a:ext uri="{FF2B5EF4-FFF2-40B4-BE49-F238E27FC236}">
                  <a16:creationId xmlns:a16="http://schemas.microsoft.com/office/drawing/2014/main" id="{379D40F5-A1AD-C8FE-C40A-2D7D5EFD99E9}"/>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3" name="Rectangle 79">
              <a:extLst>
                <a:ext uri="{FF2B5EF4-FFF2-40B4-BE49-F238E27FC236}">
                  <a16:creationId xmlns:a16="http://schemas.microsoft.com/office/drawing/2014/main" id="{808938AA-2614-71FB-3860-0439CA0079F1}"/>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4" name="Rectangle 80">
              <a:extLst>
                <a:ext uri="{FF2B5EF4-FFF2-40B4-BE49-F238E27FC236}">
                  <a16:creationId xmlns:a16="http://schemas.microsoft.com/office/drawing/2014/main" id="{70A32C33-6FFA-C82C-325A-8789FCE3B619}"/>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5" name="Rectangle 81">
              <a:extLst>
                <a:ext uri="{FF2B5EF4-FFF2-40B4-BE49-F238E27FC236}">
                  <a16:creationId xmlns:a16="http://schemas.microsoft.com/office/drawing/2014/main" id="{AB39C1B3-955B-486C-41A3-5A328F54B941}"/>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6" name="Rectangle 82">
              <a:extLst>
                <a:ext uri="{FF2B5EF4-FFF2-40B4-BE49-F238E27FC236}">
                  <a16:creationId xmlns:a16="http://schemas.microsoft.com/office/drawing/2014/main" id="{2523108D-AD23-10CE-9E2F-4A66E73DC762}"/>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7" name="Rectangle 83">
              <a:extLst>
                <a:ext uri="{FF2B5EF4-FFF2-40B4-BE49-F238E27FC236}">
                  <a16:creationId xmlns:a16="http://schemas.microsoft.com/office/drawing/2014/main" id="{8379341D-7A9F-ED20-0A2A-7DF72E056EF9}"/>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8" name="Rectangle 84">
              <a:extLst>
                <a:ext uri="{FF2B5EF4-FFF2-40B4-BE49-F238E27FC236}">
                  <a16:creationId xmlns:a16="http://schemas.microsoft.com/office/drawing/2014/main" id="{2DF6F18C-43B7-2ED5-508B-7C51B24493B8}"/>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39" name="Rectangle 85">
              <a:extLst>
                <a:ext uri="{FF2B5EF4-FFF2-40B4-BE49-F238E27FC236}">
                  <a16:creationId xmlns:a16="http://schemas.microsoft.com/office/drawing/2014/main" id="{6182B883-C490-6619-9D38-3F55ACC67A6E}"/>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0" name="Rectangle 86">
              <a:extLst>
                <a:ext uri="{FF2B5EF4-FFF2-40B4-BE49-F238E27FC236}">
                  <a16:creationId xmlns:a16="http://schemas.microsoft.com/office/drawing/2014/main" id="{4CA51554-3071-1018-3C1B-A21773299036}"/>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1" name="Rectangle 87">
              <a:extLst>
                <a:ext uri="{FF2B5EF4-FFF2-40B4-BE49-F238E27FC236}">
                  <a16:creationId xmlns:a16="http://schemas.microsoft.com/office/drawing/2014/main" id="{8DEB810A-0218-F668-6706-3D98142FCA9D}"/>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2" name="Rectangle 88">
              <a:extLst>
                <a:ext uri="{FF2B5EF4-FFF2-40B4-BE49-F238E27FC236}">
                  <a16:creationId xmlns:a16="http://schemas.microsoft.com/office/drawing/2014/main" id="{B4CE0809-8E77-3730-372E-75B15E78E24B}"/>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3" name="Rectangle 89">
              <a:extLst>
                <a:ext uri="{FF2B5EF4-FFF2-40B4-BE49-F238E27FC236}">
                  <a16:creationId xmlns:a16="http://schemas.microsoft.com/office/drawing/2014/main" id="{60750D46-373D-4555-782A-C0910DC7373F}"/>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4" name="Rectangle 90">
              <a:extLst>
                <a:ext uri="{FF2B5EF4-FFF2-40B4-BE49-F238E27FC236}">
                  <a16:creationId xmlns:a16="http://schemas.microsoft.com/office/drawing/2014/main" id="{C6D79AE5-EFEC-6108-D973-F2F0A74C752B}"/>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5" name="Rectangle 91">
              <a:extLst>
                <a:ext uri="{FF2B5EF4-FFF2-40B4-BE49-F238E27FC236}">
                  <a16:creationId xmlns:a16="http://schemas.microsoft.com/office/drawing/2014/main" id="{AE5EBBF0-4FD1-BD15-795B-3D9DE9A27076}"/>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6" name="Rectangle 92">
              <a:extLst>
                <a:ext uri="{FF2B5EF4-FFF2-40B4-BE49-F238E27FC236}">
                  <a16:creationId xmlns:a16="http://schemas.microsoft.com/office/drawing/2014/main" id="{023A9EF5-521D-CBF0-4192-15B2244EC3B2}"/>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7" name="Rectangle 93">
              <a:extLst>
                <a:ext uri="{FF2B5EF4-FFF2-40B4-BE49-F238E27FC236}">
                  <a16:creationId xmlns:a16="http://schemas.microsoft.com/office/drawing/2014/main" id="{4CD85A7D-5BD1-9581-5200-82DB6A2B3AAB}"/>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8" name="Rectangle 94">
              <a:extLst>
                <a:ext uri="{FF2B5EF4-FFF2-40B4-BE49-F238E27FC236}">
                  <a16:creationId xmlns:a16="http://schemas.microsoft.com/office/drawing/2014/main" id="{A5F5BE91-955A-374F-BAA4-6BC6B7C52062}"/>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49" name="Rectangle 95">
              <a:extLst>
                <a:ext uri="{FF2B5EF4-FFF2-40B4-BE49-F238E27FC236}">
                  <a16:creationId xmlns:a16="http://schemas.microsoft.com/office/drawing/2014/main" id="{09E128B3-6E06-0216-DD24-D94088748AF4}"/>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0" name="Rectangle 96">
              <a:extLst>
                <a:ext uri="{FF2B5EF4-FFF2-40B4-BE49-F238E27FC236}">
                  <a16:creationId xmlns:a16="http://schemas.microsoft.com/office/drawing/2014/main" id="{693127F2-77C8-F0DA-FE55-855BF69C0042}"/>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1" name="Rectangle 97">
              <a:extLst>
                <a:ext uri="{FF2B5EF4-FFF2-40B4-BE49-F238E27FC236}">
                  <a16:creationId xmlns:a16="http://schemas.microsoft.com/office/drawing/2014/main" id="{0B2369C4-6B8F-C45E-AC1A-FAA2FF116679}"/>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2" name="Rectangle 98">
              <a:extLst>
                <a:ext uri="{FF2B5EF4-FFF2-40B4-BE49-F238E27FC236}">
                  <a16:creationId xmlns:a16="http://schemas.microsoft.com/office/drawing/2014/main" id="{C5CFB813-FBB2-A34A-80B1-966FB6C54512}"/>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4" name="Rectangle 99">
              <a:extLst>
                <a:ext uri="{FF2B5EF4-FFF2-40B4-BE49-F238E27FC236}">
                  <a16:creationId xmlns:a16="http://schemas.microsoft.com/office/drawing/2014/main" id="{FB46FF0D-DFA0-BB83-D504-1378607F0133}"/>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5" name="Rectangle 100">
              <a:extLst>
                <a:ext uri="{FF2B5EF4-FFF2-40B4-BE49-F238E27FC236}">
                  <a16:creationId xmlns:a16="http://schemas.microsoft.com/office/drawing/2014/main" id="{83EFBCFC-7D78-2BB8-D424-27420C7DC54D}"/>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6" name="Rectangle 101">
              <a:extLst>
                <a:ext uri="{FF2B5EF4-FFF2-40B4-BE49-F238E27FC236}">
                  <a16:creationId xmlns:a16="http://schemas.microsoft.com/office/drawing/2014/main" id="{B2413B0F-50E3-A27F-D232-8278FD56E0AA}"/>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7" name="Rectangle 102">
              <a:extLst>
                <a:ext uri="{FF2B5EF4-FFF2-40B4-BE49-F238E27FC236}">
                  <a16:creationId xmlns:a16="http://schemas.microsoft.com/office/drawing/2014/main" id="{7D691337-80C0-CA01-DE50-90E9405CBDD6}"/>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8" name="Rectangle 103">
              <a:extLst>
                <a:ext uri="{FF2B5EF4-FFF2-40B4-BE49-F238E27FC236}">
                  <a16:creationId xmlns:a16="http://schemas.microsoft.com/office/drawing/2014/main" id="{EE2C99C1-0D60-D520-A78D-37C6A2EEDF7C}"/>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59" name="Rectangle 104">
              <a:extLst>
                <a:ext uri="{FF2B5EF4-FFF2-40B4-BE49-F238E27FC236}">
                  <a16:creationId xmlns:a16="http://schemas.microsoft.com/office/drawing/2014/main" id="{60B3BEA5-4F28-CBE7-D903-D16C8315F23C}"/>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0" name="Rectangle 105">
              <a:extLst>
                <a:ext uri="{FF2B5EF4-FFF2-40B4-BE49-F238E27FC236}">
                  <a16:creationId xmlns:a16="http://schemas.microsoft.com/office/drawing/2014/main" id="{C99B7C4E-1A6A-80F4-2FA8-A49441A73EB2}"/>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1" name="Rectangle 106">
              <a:extLst>
                <a:ext uri="{FF2B5EF4-FFF2-40B4-BE49-F238E27FC236}">
                  <a16:creationId xmlns:a16="http://schemas.microsoft.com/office/drawing/2014/main" id="{02EE6856-0870-B11E-28AE-52C660887314}"/>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2" name="Rectangle 107">
              <a:extLst>
                <a:ext uri="{FF2B5EF4-FFF2-40B4-BE49-F238E27FC236}">
                  <a16:creationId xmlns:a16="http://schemas.microsoft.com/office/drawing/2014/main" id="{87243CFB-B1DC-C278-A4A8-1A0BBEDA8196}"/>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3" name="Rectangle 108">
              <a:extLst>
                <a:ext uri="{FF2B5EF4-FFF2-40B4-BE49-F238E27FC236}">
                  <a16:creationId xmlns:a16="http://schemas.microsoft.com/office/drawing/2014/main" id="{67A35457-336B-A26F-688A-5E4209C55131}"/>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4" name="Rectangle 109">
              <a:extLst>
                <a:ext uri="{FF2B5EF4-FFF2-40B4-BE49-F238E27FC236}">
                  <a16:creationId xmlns:a16="http://schemas.microsoft.com/office/drawing/2014/main" id="{D34A9D9A-50CC-282F-CBB8-4610D13DFF45}"/>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5" name="Rectangle 110">
              <a:extLst>
                <a:ext uri="{FF2B5EF4-FFF2-40B4-BE49-F238E27FC236}">
                  <a16:creationId xmlns:a16="http://schemas.microsoft.com/office/drawing/2014/main" id="{D4A052E6-6A9D-3A0B-88CD-F76B31933452}"/>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6" name="Rectangle 111">
              <a:extLst>
                <a:ext uri="{FF2B5EF4-FFF2-40B4-BE49-F238E27FC236}">
                  <a16:creationId xmlns:a16="http://schemas.microsoft.com/office/drawing/2014/main" id="{1170A744-6D00-7BB2-C4D9-A0D9D6F9507A}"/>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67" name="TextBox 112">
              <a:extLst>
                <a:ext uri="{FF2B5EF4-FFF2-40B4-BE49-F238E27FC236}">
                  <a16:creationId xmlns:a16="http://schemas.microsoft.com/office/drawing/2014/main" id="{72BA1BB3-F036-2DF3-EAF4-EA387B5AB5C4}"/>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68" name="TextBox 113">
              <a:extLst>
                <a:ext uri="{FF2B5EF4-FFF2-40B4-BE49-F238E27FC236}">
                  <a16:creationId xmlns:a16="http://schemas.microsoft.com/office/drawing/2014/main" id="{2DBBCA1A-A5A6-6000-E7FB-9A54306947CC}"/>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69" name="TextBox 114">
              <a:extLst>
                <a:ext uri="{FF2B5EF4-FFF2-40B4-BE49-F238E27FC236}">
                  <a16:creationId xmlns:a16="http://schemas.microsoft.com/office/drawing/2014/main" id="{716A8AB7-9BCF-D95F-F3C3-FE8C5C13280F}"/>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1290266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userDrawn="1">
  <p:cSld name="2 つのコンテンツ">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E51C2D7-A6BE-4511-BC13-0F1741BD1C95}"/>
              </a:ext>
            </a:extLst>
          </p:cNvPr>
          <p:cNvSpPr>
            <a:spLocks noGrp="1"/>
          </p:cNvSpPr>
          <p:nvPr>
            <p:ph type="title"/>
          </p:nvPr>
        </p:nvSpPr>
        <p:spPr/>
        <p:txBody>
          <a:bodyPr/>
          <a:lstStyle>
            <a:lvl1pPr>
              <a:defRPr>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3" name="Content Placeholder 1"/>
          <p:cNvSpPr>
            <a:spLocks noGrp="1"/>
          </p:cNvSpPr>
          <p:nvPr>
            <p:ph sz="half" idx="1"/>
          </p:nvPr>
        </p:nvSpPr>
        <p:spPr>
          <a:xfrm>
            <a:off x="431639" y="1056386"/>
            <a:ext cx="5448539" cy="5433661"/>
          </a:xfrm>
          <a:prstGeom prst="rect">
            <a:avLst/>
          </a:prstGeom>
        </p:spPr>
        <p:txBody>
          <a:bodyPr/>
          <a:lstStyle>
            <a:lvl1pPr>
              <a:defRPr>
                <a:latin typeface="Meiryo UI" panose="020B0604030504040204" pitchFamily="34" charset="-128"/>
                <a:ea typeface="Meiryo UI" panose="020B0604030504040204" pitchFamily="34" charset="-128"/>
              </a:defRPr>
            </a:lvl1pPr>
            <a:lvl2pPr>
              <a:defRPr>
                <a:latin typeface="Meiryo UI" panose="020B0604030504040204" pitchFamily="34" charset="-128"/>
                <a:ea typeface="Meiryo UI" panose="020B0604030504040204" pitchFamily="34" charset="-128"/>
              </a:defRPr>
            </a:lvl2pPr>
            <a:lvl3pPr>
              <a:defRPr>
                <a:latin typeface="Meiryo UI" panose="020B0604030504040204" pitchFamily="34" charset="-128"/>
                <a:ea typeface="Meiryo UI" panose="020B0604030504040204" pitchFamily="34" charset="-128"/>
              </a:defRPr>
            </a:lvl3pPr>
            <a:lvl4pPr>
              <a:defRPr>
                <a:latin typeface="Meiryo UI" panose="020B0604030504040204" pitchFamily="34" charset="-128"/>
                <a:ea typeface="Meiryo UI" panose="020B0604030504040204" pitchFamily="34" charset="-128"/>
              </a:defRPr>
            </a:lvl4pPr>
            <a:lvl5pPr>
              <a:defRPr>
                <a:latin typeface="Meiryo UI" panose="020B0604030504040204" pitchFamily="34" charset="-128"/>
                <a:ea typeface="Meiryo UI" panose="020B0604030504040204" pitchFamily="34"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2"/>
          <p:cNvSpPr>
            <a:spLocks noGrp="1"/>
          </p:cNvSpPr>
          <p:nvPr>
            <p:ph sz="half" idx="2"/>
          </p:nvPr>
        </p:nvSpPr>
        <p:spPr>
          <a:xfrm>
            <a:off x="6311820" y="1056386"/>
            <a:ext cx="5448539" cy="5433661"/>
          </a:xfrm>
          <a:prstGeom prst="rect">
            <a:avLst/>
          </a:prstGeom>
        </p:spPr>
        <p:txBody>
          <a:bodyPr/>
          <a:lstStyle>
            <a:lvl1pPr>
              <a:defRPr>
                <a:latin typeface="Meiryo UI" panose="020B0604030504040204" pitchFamily="34" charset="-128"/>
                <a:ea typeface="Meiryo UI" panose="020B0604030504040204" pitchFamily="34" charset="-128"/>
              </a:defRPr>
            </a:lvl1pPr>
            <a:lvl2pPr>
              <a:defRPr>
                <a:latin typeface="Meiryo UI" panose="020B0604030504040204" pitchFamily="34" charset="-128"/>
                <a:ea typeface="Meiryo UI" panose="020B0604030504040204" pitchFamily="34" charset="-128"/>
              </a:defRPr>
            </a:lvl2pPr>
            <a:lvl3pPr>
              <a:defRPr>
                <a:latin typeface="Meiryo UI" panose="020B0604030504040204" pitchFamily="34" charset="-128"/>
                <a:ea typeface="Meiryo UI" panose="020B0604030504040204" pitchFamily="34" charset="-128"/>
              </a:defRPr>
            </a:lvl3pPr>
            <a:lvl4pPr>
              <a:defRPr>
                <a:latin typeface="Meiryo UI" panose="020B0604030504040204" pitchFamily="34" charset="-128"/>
                <a:ea typeface="Meiryo UI" panose="020B0604030504040204" pitchFamily="34" charset="-128"/>
              </a:defRPr>
            </a:lvl4pPr>
            <a:lvl5pPr>
              <a:defRPr>
                <a:latin typeface="Meiryo UI" panose="020B0604030504040204" pitchFamily="34" charset="-128"/>
                <a:ea typeface="Meiryo UI" panose="020B0604030504040204" pitchFamily="34"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20" name="Section Number Placeholder">
            <a:extLst>
              <a:ext uri="{FF2B5EF4-FFF2-40B4-BE49-F238E27FC236}">
                <a16:creationId xmlns:a16="http://schemas.microsoft.com/office/drawing/2014/main" id="{50BAD850-F947-4439-A384-32DB07B01F5E}"/>
              </a:ext>
            </a:extLst>
          </p:cNvP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10" name="Section Title Placeholder">
            <a:extLst>
              <a:ext uri="{FF2B5EF4-FFF2-40B4-BE49-F238E27FC236}">
                <a16:creationId xmlns:a16="http://schemas.microsoft.com/office/drawing/2014/main" id="{2A40006A-A372-4D6E-A60F-E9637D6F95A9}"/>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666666"/>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2" name="Date Placeholder">
            <a:extLst>
              <a:ext uri="{FF2B5EF4-FFF2-40B4-BE49-F238E27FC236}">
                <a16:creationId xmlns:a16="http://schemas.microsoft.com/office/drawing/2014/main" id="{7675231B-FA3E-4734-9B26-40EE261C1C36}"/>
              </a:ext>
            </a:extLst>
          </p:cNvPr>
          <p:cNvSpPr>
            <a:spLocks noGrp="1"/>
          </p:cNvSpPr>
          <p:nvPr>
            <p:ph type="dt" sz="half" idx="16"/>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9" name="Footer Placeholder">
            <a:extLst>
              <a:ext uri="{FF2B5EF4-FFF2-40B4-BE49-F238E27FC236}">
                <a16:creationId xmlns:a16="http://schemas.microsoft.com/office/drawing/2014/main" id="{6A037FDD-3326-4574-8C77-A118B87CBB64}"/>
              </a:ext>
            </a:extLst>
          </p:cNvPr>
          <p:cNvSpPr>
            <a:spLocks noGrp="1"/>
          </p:cNvSpPr>
          <p:nvPr>
            <p:ph type="ftr" sz="quarter" idx="17"/>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11" name="Slide Number Placeholder">
            <a:extLst>
              <a:ext uri="{FF2B5EF4-FFF2-40B4-BE49-F238E27FC236}">
                <a16:creationId xmlns:a16="http://schemas.microsoft.com/office/drawing/2014/main" id="{1462A680-5710-40D9-A62D-D0FC1EDA097D}"/>
              </a:ext>
            </a:extLst>
          </p:cNvPr>
          <p:cNvSpPr>
            <a:spLocks noGrp="1"/>
          </p:cNvSpPr>
          <p:nvPr>
            <p:ph type="sldNum" sz="quarter" idx="18"/>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spTree>
    <p:extLst>
      <p:ext uri="{BB962C8B-B14F-4D97-AF65-F5344CB8AC3E}">
        <p14:creationId xmlns:p14="http://schemas.microsoft.com/office/powerpoint/2010/main" val="2940928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userDrawn="1">
  <p:cSld name="タイトルのみ">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4BDD6F8C-B501-4A7B-BFFC-8DBA79A9DBCE}"/>
              </a:ext>
            </a:extLst>
          </p:cNvPr>
          <p:cNvSpPr>
            <a:spLocks noGrp="1"/>
          </p:cNvSpPr>
          <p:nvPr>
            <p:ph type="title"/>
          </p:nvPr>
        </p:nvSpPr>
        <p:spPr/>
        <p:txBody>
          <a:bodyPr/>
          <a:lstStyle>
            <a:lvl1pPr>
              <a:defRPr>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2" name="Section Number Placeholder">
            <a:extLst>
              <a:ext uri="{FF2B5EF4-FFF2-40B4-BE49-F238E27FC236}">
                <a16:creationId xmlns:a16="http://schemas.microsoft.com/office/drawing/2014/main" id="{6694A28A-19C8-4CD3-B349-4FC5855953A3}"/>
              </a:ext>
            </a:extLst>
          </p:cNvP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8" name="Section Title Placeholder">
            <a:extLst>
              <a:ext uri="{FF2B5EF4-FFF2-40B4-BE49-F238E27FC236}">
                <a16:creationId xmlns:a16="http://schemas.microsoft.com/office/drawing/2014/main" id="{9ACB906D-077E-42ED-A0A7-0F26342770B4}"/>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666666"/>
                </a:solidFill>
                <a:latin typeface="Meiryo UI" panose="020B0604030504040204" pitchFamily="34" charset="-128"/>
                <a:ea typeface="Meiryo UI" panose="020B0604030504040204" pitchFamily="34" charset="-128"/>
              </a:defRPr>
            </a:lvl1pPr>
          </a:lstStyle>
          <a:p>
            <a:pPr lvl="0"/>
            <a:r>
              <a:rPr kumimoji="1" lang="ja-JP" altLang="en-US" dirty="0"/>
              <a:t>セクション名</a:t>
            </a:r>
          </a:p>
        </p:txBody>
      </p:sp>
      <p:sp>
        <p:nvSpPr>
          <p:cNvPr id="2" name="Date Placeholder">
            <a:extLst>
              <a:ext uri="{FF2B5EF4-FFF2-40B4-BE49-F238E27FC236}">
                <a16:creationId xmlns:a16="http://schemas.microsoft.com/office/drawing/2014/main" id="{3F3F96B2-4DE7-4C94-A1DC-D4E2B0F3BCC5}"/>
              </a:ext>
            </a:extLst>
          </p:cNvPr>
          <p:cNvSpPr>
            <a:spLocks noGrp="1"/>
          </p:cNvSpPr>
          <p:nvPr>
            <p:ph type="dt" sz="half" idx="16"/>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3" name="Footer Placeholder">
            <a:extLst>
              <a:ext uri="{FF2B5EF4-FFF2-40B4-BE49-F238E27FC236}">
                <a16:creationId xmlns:a16="http://schemas.microsoft.com/office/drawing/2014/main" id="{33383D94-48B1-4F10-9E02-AE5D894430FE}"/>
              </a:ext>
            </a:extLst>
          </p:cNvPr>
          <p:cNvSpPr>
            <a:spLocks noGrp="1"/>
          </p:cNvSpPr>
          <p:nvPr>
            <p:ph type="ftr" sz="quarter" idx="17"/>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4" name="Slide Number Placeholder">
            <a:extLst>
              <a:ext uri="{FF2B5EF4-FFF2-40B4-BE49-F238E27FC236}">
                <a16:creationId xmlns:a16="http://schemas.microsoft.com/office/drawing/2014/main" id="{5D7002AC-042E-47BF-96AB-6489515B140A}"/>
              </a:ext>
            </a:extLst>
          </p:cNvPr>
          <p:cNvSpPr>
            <a:spLocks noGrp="1"/>
          </p:cNvSpPr>
          <p:nvPr>
            <p:ph type="sldNum" sz="quarter" idx="18"/>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spTree>
    <p:extLst>
      <p:ext uri="{BB962C8B-B14F-4D97-AF65-F5344CB8AC3E}">
        <p14:creationId xmlns:p14="http://schemas.microsoft.com/office/powerpoint/2010/main" val="2539254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userDrawn="1">
  <p:cSld name="白紙">
    <p:spTree>
      <p:nvGrpSpPr>
        <p:cNvPr id="1" name=""/>
        <p:cNvGrpSpPr/>
        <p:nvPr/>
      </p:nvGrpSpPr>
      <p:grpSpPr>
        <a:xfrm>
          <a:off x="0" y="0"/>
          <a:ext cx="0" cy="0"/>
          <a:chOff x="0" y="0"/>
          <a:chExt cx="0" cy="0"/>
        </a:xfrm>
      </p:grpSpPr>
      <p:sp>
        <p:nvSpPr>
          <p:cNvPr id="7" name="Section Number Placeholder">
            <a:extLst>
              <a:ext uri="{FF2B5EF4-FFF2-40B4-BE49-F238E27FC236}">
                <a16:creationId xmlns:a16="http://schemas.microsoft.com/office/drawing/2014/main" id="{FEB47994-8218-48A8-B5DC-CE83CFE4346E}"/>
              </a:ext>
            </a:extLst>
          </p:cNvPr>
          <p:cNvSpPr>
            <a:spLocks noGrp="1"/>
          </p:cNvSpPr>
          <p:nvPr>
            <p:ph type="body" sz="quarter" idx="14" hasCustomPrompt="1"/>
          </p:nvPr>
        </p:nvSpPr>
        <p:spPr>
          <a:xfrm>
            <a:off x="2" y="-1"/>
            <a:ext cx="1177846" cy="691200"/>
          </a:xfrm>
          <a:prstGeom prst="rect">
            <a:avLst/>
          </a:prstGeom>
        </p:spPr>
        <p:txBody>
          <a:bodyPr lIns="0" tIns="0" rIns="0" bIns="0" anchor="ctr">
            <a:normAutofit/>
          </a:bodyPr>
          <a:lstStyle>
            <a:lvl1pPr marL="0" indent="0" algn="ctr">
              <a:lnSpc>
                <a:spcPct val="130000"/>
              </a:lnSpc>
              <a:buNone/>
              <a:defRPr sz="2800" b="1" spc="100" baseline="0">
                <a:solidFill>
                  <a:schemeClr val="tx1"/>
                </a:solidFill>
                <a:latin typeface="Meiryo UI" panose="020B0604030504040204" pitchFamily="34" charset="-128"/>
                <a:ea typeface="Meiryo UI" panose="020B0604030504040204" pitchFamily="34" charset="-128"/>
              </a:defRPr>
            </a:lvl1pPr>
          </a:lstStyle>
          <a:p>
            <a:pPr lvl="0"/>
            <a:r>
              <a:rPr kumimoji="1" lang="en-US" altLang="ja-JP" dirty="0"/>
              <a:t>#</a:t>
            </a:r>
            <a:endParaRPr kumimoji="1" lang="ja-JP" altLang="en-US" dirty="0"/>
          </a:p>
        </p:txBody>
      </p:sp>
      <p:sp>
        <p:nvSpPr>
          <p:cNvPr id="8" name="Section Title Placeholder">
            <a:extLst>
              <a:ext uri="{FF2B5EF4-FFF2-40B4-BE49-F238E27FC236}">
                <a16:creationId xmlns:a16="http://schemas.microsoft.com/office/drawing/2014/main" id="{7E57638C-6F30-4316-BF6D-4ED81EA92BF3}"/>
              </a:ext>
            </a:extLst>
          </p:cNvPr>
          <p:cNvSpPr>
            <a:spLocks noGrp="1"/>
          </p:cNvSpPr>
          <p:nvPr>
            <p:ph type="body" sz="quarter" idx="15" hasCustomPrompt="1"/>
          </p:nvPr>
        </p:nvSpPr>
        <p:spPr>
          <a:xfrm>
            <a:off x="7310438" y="6541201"/>
            <a:ext cx="4148929" cy="266937"/>
          </a:xfrm>
          <a:prstGeom prst="rect">
            <a:avLst/>
          </a:prstGeom>
          <a:ln>
            <a:noFill/>
          </a:ln>
        </p:spPr>
        <p:txBody>
          <a:bodyPr lIns="0" tIns="0" rIns="0" bIns="0" anchor="ctr">
            <a:noAutofit/>
          </a:bodyPr>
          <a:lstStyle>
            <a:lvl1pPr marL="0" indent="0" algn="r">
              <a:lnSpc>
                <a:spcPct val="130000"/>
              </a:lnSpc>
              <a:buNone/>
              <a:defRPr sz="1000" b="0" spc="300">
                <a:solidFill>
                  <a:srgbClr val="666666"/>
                </a:solidFill>
                <a:latin typeface="Meiryo UI" panose="020B0604030504040204" pitchFamily="34" charset="-128"/>
                <a:ea typeface="Meiryo UI" panose="020B0604030504040204" pitchFamily="34" charset="-128"/>
              </a:defRPr>
            </a:lvl1pPr>
          </a:lstStyle>
          <a:p>
            <a:pPr lvl="0"/>
            <a:r>
              <a:rPr kumimoji="1" lang="ja-JP" altLang="en-US"/>
              <a:t>セクション名</a:t>
            </a:r>
          </a:p>
        </p:txBody>
      </p:sp>
      <p:sp>
        <p:nvSpPr>
          <p:cNvPr id="2" name="Date Placeholder">
            <a:extLst>
              <a:ext uri="{FF2B5EF4-FFF2-40B4-BE49-F238E27FC236}">
                <a16:creationId xmlns:a16="http://schemas.microsoft.com/office/drawing/2014/main" id="{2CF5C90E-3A8F-409C-92D5-FC04FF07F765}"/>
              </a:ext>
            </a:extLst>
          </p:cNvPr>
          <p:cNvSpPr>
            <a:spLocks noGrp="1"/>
          </p:cNvSpPr>
          <p:nvPr>
            <p:ph type="dt" sz="half" idx="16"/>
          </p:nvPr>
        </p:nvSpPr>
        <p:spPr/>
        <p:txBody>
          <a:bodyPr vert="horz" lIns="0" tIns="0" rIns="0" bIns="0" rtlCol="0" anchor="ctr"/>
          <a:lstStyle>
            <a:lvl1pPr>
              <a:defRPr lang="ja-JP" altLang="en-US">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3" name="Footer Placeholder">
            <a:extLst>
              <a:ext uri="{FF2B5EF4-FFF2-40B4-BE49-F238E27FC236}">
                <a16:creationId xmlns:a16="http://schemas.microsoft.com/office/drawing/2014/main" id="{904D7EA8-F2E5-4DF2-BAC7-8577389719F0}"/>
              </a:ext>
            </a:extLst>
          </p:cNvPr>
          <p:cNvSpPr>
            <a:spLocks noGrp="1"/>
          </p:cNvSpPr>
          <p:nvPr>
            <p:ph type="ftr" sz="quarter" idx="17"/>
          </p:nvPr>
        </p:nvSpPr>
        <p:spPr/>
        <p:txBody>
          <a:bodyPr vert="horz" lIns="0" tIns="0" rIns="0" bIns="0" rtlCol="0" anchor="ctr"/>
          <a:lstStyle>
            <a:lvl1pPr>
              <a:defRPr lang="ja-JP" altLang="en-US" dirty="0">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4" name="Slide Number Placeholder">
            <a:extLst>
              <a:ext uri="{FF2B5EF4-FFF2-40B4-BE49-F238E27FC236}">
                <a16:creationId xmlns:a16="http://schemas.microsoft.com/office/drawing/2014/main" id="{D8893554-6053-4401-BBD7-A60D255E76F7}"/>
              </a:ext>
            </a:extLst>
          </p:cNvPr>
          <p:cNvSpPr>
            <a:spLocks noGrp="1"/>
          </p:cNvSpPr>
          <p:nvPr>
            <p:ph type="sldNum" sz="quarter" idx="18"/>
          </p:nvPr>
        </p:nvSpPr>
        <p:spPr/>
        <p:txBody>
          <a:bodyPr vert="horz" lIns="0" tIns="0" rIns="0" bIns="0" rtlCol="0" anchor="ctr"/>
          <a:lstStyle>
            <a:lvl1pPr>
              <a:defRPr lang="en-US" altLang="ja-JP" smtClean="0">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spTree>
    <p:extLst>
      <p:ext uri="{BB962C8B-B14F-4D97-AF65-F5344CB8AC3E}">
        <p14:creationId xmlns:p14="http://schemas.microsoft.com/office/powerpoint/2010/main" val="627950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白紙 ヘッダ・フッタなし">
    <p:spTree>
      <p:nvGrpSpPr>
        <p:cNvPr id="1" name=""/>
        <p:cNvGrpSpPr/>
        <p:nvPr/>
      </p:nvGrpSpPr>
      <p:grpSpPr>
        <a:xfrm>
          <a:off x="0" y="0"/>
          <a:ext cx="0" cy="0"/>
          <a:chOff x="0" y="0"/>
          <a:chExt cx="0" cy="0"/>
        </a:xfrm>
      </p:grpSpPr>
      <p:sp>
        <p:nvSpPr>
          <p:cNvPr id="2" name="Date Placeholder">
            <a:extLst>
              <a:ext uri="{FF2B5EF4-FFF2-40B4-BE49-F238E27FC236}">
                <a16:creationId xmlns:a16="http://schemas.microsoft.com/office/drawing/2014/main" id="{885D7EF0-4C03-466A-BA72-8EC9AD434D60}"/>
              </a:ext>
            </a:extLst>
          </p:cNvPr>
          <p:cNvSpPr>
            <a:spLocks noGrp="1"/>
          </p:cNvSpPr>
          <p:nvPr>
            <p:ph type="dt" sz="half" idx="13"/>
          </p:nvPr>
        </p:nvSpPr>
        <p:spPr/>
        <p:txBody>
          <a:bodyPr/>
          <a:lstStyle/>
          <a:p>
            <a:pPr defTabSz="914400">
              <a:lnSpc>
                <a:spcPct val="130000"/>
              </a:lnSpc>
            </a:pPr>
            <a:endParaRPr lang="ja-JP" altLang="en-US"/>
          </a:p>
        </p:txBody>
      </p:sp>
      <p:sp>
        <p:nvSpPr>
          <p:cNvPr id="3" name="Footer Placeholder">
            <a:extLst>
              <a:ext uri="{FF2B5EF4-FFF2-40B4-BE49-F238E27FC236}">
                <a16:creationId xmlns:a16="http://schemas.microsoft.com/office/drawing/2014/main" id="{9636E708-4D38-4C89-B1B2-05F6379C0423}"/>
              </a:ext>
            </a:extLst>
          </p:cNvPr>
          <p:cNvSpPr>
            <a:spLocks noGrp="1"/>
          </p:cNvSpPr>
          <p:nvPr>
            <p:ph type="ftr" sz="quarter" idx="14"/>
          </p:nvPr>
        </p:nvSpPr>
        <p:spPr/>
        <p:txBody>
          <a:bodyPr/>
          <a:lstStyle/>
          <a:p>
            <a:pPr defTabSz="914400">
              <a:lnSpc>
                <a:spcPct val="130000"/>
              </a:lnSpc>
            </a:pPr>
            <a:endParaRPr lang="ja-JP" altLang="en-US"/>
          </a:p>
        </p:txBody>
      </p:sp>
      <p:sp>
        <p:nvSpPr>
          <p:cNvPr id="9" name="Slide Number Placeholder">
            <a:extLst>
              <a:ext uri="{FF2B5EF4-FFF2-40B4-BE49-F238E27FC236}">
                <a16:creationId xmlns:a16="http://schemas.microsoft.com/office/drawing/2014/main" id="{8E84A365-93FC-4870-97EF-B21FEC96F028}"/>
              </a:ext>
            </a:extLst>
          </p:cNvPr>
          <p:cNvSpPr>
            <a:spLocks noGrp="1"/>
          </p:cNvSpPr>
          <p:nvPr>
            <p:ph type="sldNum" sz="quarter" idx="12"/>
          </p:nvPr>
        </p:nvSpPr>
        <p:spPr/>
        <p:txBody>
          <a:bodyPr vert="horz" lIns="0" tIns="0" rIns="0" bIns="0" rtlCol="0" anchor="ctr"/>
          <a:lstStyle>
            <a:lvl1pPr>
              <a:defRPr lang="en-US" altLang="ja-JP" smtClean="0"/>
            </a:lvl1pPr>
          </a:lstStyle>
          <a:p>
            <a:pPr algn="r" defTabSz="914400"/>
            <a:fld id="{FE1C4BCE-2E77-4226-B375-D90E70797D62}" type="slidenum">
              <a:rPr lang="en-US" altLang="ja-JP" smtClean="0"/>
              <a:pPr algn="r" defTabSz="914400"/>
              <a:t>‹#›</a:t>
            </a:fld>
            <a:endParaRPr lang="ja-JP" altLang="en-US" dirty="0"/>
          </a:p>
        </p:txBody>
      </p:sp>
      <p:grpSp>
        <p:nvGrpSpPr>
          <p:cNvPr id="4" name="Group 18">
            <a:extLst>
              <a:ext uri="{FF2B5EF4-FFF2-40B4-BE49-F238E27FC236}">
                <a16:creationId xmlns:a16="http://schemas.microsoft.com/office/drawing/2014/main" id="{1F754E4A-E75C-44EB-D583-9D253F230C41}"/>
              </a:ext>
            </a:extLst>
          </p:cNvPr>
          <p:cNvGrpSpPr/>
          <p:nvPr userDrawn="1"/>
        </p:nvGrpSpPr>
        <p:grpSpPr>
          <a:xfrm>
            <a:off x="12527745" y="1706598"/>
            <a:ext cx="2425636" cy="4834602"/>
            <a:chOff x="12216680" y="2015317"/>
            <a:chExt cx="2425636" cy="4834602"/>
          </a:xfrm>
        </p:grpSpPr>
        <p:sp>
          <p:nvSpPr>
            <p:cNvPr id="5" name="Rectangle 19">
              <a:extLst>
                <a:ext uri="{FF2B5EF4-FFF2-40B4-BE49-F238E27FC236}">
                  <a16:creationId xmlns:a16="http://schemas.microsoft.com/office/drawing/2014/main" id="{90B313FA-9514-AF6E-3838-6FFA32966B33}"/>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0">
              <a:extLst>
                <a:ext uri="{FF2B5EF4-FFF2-40B4-BE49-F238E27FC236}">
                  <a16:creationId xmlns:a16="http://schemas.microsoft.com/office/drawing/2014/main" id="{C3E8AC7D-E472-60DB-A3B6-823432062F96}"/>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 name="Rectangle 21">
              <a:extLst>
                <a:ext uri="{FF2B5EF4-FFF2-40B4-BE49-F238E27FC236}">
                  <a16:creationId xmlns:a16="http://schemas.microsoft.com/office/drawing/2014/main" id="{FC8C44F5-A9D7-84EB-9B33-F3844A8D4941}"/>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 name="Rectangle 22">
              <a:extLst>
                <a:ext uri="{FF2B5EF4-FFF2-40B4-BE49-F238E27FC236}">
                  <a16:creationId xmlns:a16="http://schemas.microsoft.com/office/drawing/2014/main" id="{D4671FE2-740A-66EE-257C-16FF51AB896A}"/>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Rectangle 23">
              <a:extLst>
                <a:ext uri="{FF2B5EF4-FFF2-40B4-BE49-F238E27FC236}">
                  <a16:creationId xmlns:a16="http://schemas.microsoft.com/office/drawing/2014/main" id="{48C0C2FA-4990-A01E-E0A1-C7BC5A6395BC}"/>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1" name="TextBox 24">
              <a:extLst>
                <a:ext uri="{FF2B5EF4-FFF2-40B4-BE49-F238E27FC236}">
                  <a16:creationId xmlns:a16="http://schemas.microsoft.com/office/drawing/2014/main" id="{CB88E18B-648E-E227-B00D-8E84259A51D9}"/>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2" name="TextBox 25">
              <a:extLst>
                <a:ext uri="{FF2B5EF4-FFF2-40B4-BE49-F238E27FC236}">
                  <a16:creationId xmlns:a16="http://schemas.microsoft.com/office/drawing/2014/main" id="{8C818CDF-0E35-3373-0D6A-266E65AA902C}"/>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3" name="TextBox 26">
              <a:extLst>
                <a:ext uri="{FF2B5EF4-FFF2-40B4-BE49-F238E27FC236}">
                  <a16:creationId xmlns:a16="http://schemas.microsoft.com/office/drawing/2014/main" id="{5C87DECC-9C3E-8D55-076B-0DE180C6E6EE}"/>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4" name="TextBox 27">
              <a:extLst>
                <a:ext uri="{FF2B5EF4-FFF2-40B4-BE49-F238E27FC236}">
                  <a16:creationId xmlns:a16="http://schemas.microsoft.com/office/drawing/2014/main" id="{B646D96C-25ED-9688-D9B6-FBD1D1CC534D}"/>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5" name="TextBox 28">
              <a:extLst>
                <a:ext uri="{FF2B5EF4-FFF2-40B4-BE49-F238E27FC236}">
                  <a16:creationId xmlns:a16="http://schemas.microsoft.com/office/drawing/2014/main" id="{C3B169E8-0953-6E35-4D5E-7129F8B12A2B}"/>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6" name="TextBox 29">
              <a:extLst>
                <a:ext uri="{FF2B5EF4-FFF2-40B4-BE49-F238E27FC236}">
                  <a16:creationId xmlns:a16="http://schemas.microsoft.com/office/drawing/2014/main" id="{EB56AF86-41C4-F297-AC2B-C0FB70F9DA13}"/>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7" name="TextBox 30">
              <a:extLst>
                <a:ext uri="{FF2B5EF4-FFF2-40B4-BE49-F238E27FC236}">
                  <a16:creationId xmlns:a16="http://schemas.microsoft.com/office/drawing/2014/main" id="{88C985CA-08B3-9B58-EC23-BFDF3763EEF6}"/>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8" name="Rectangle 31">
              <a:extLst>
                <a:ext uri="{FF2B5EF4-FFF2-40B4-BE49-F238E27FC236}">
                  <a16:creationId xmlns:a16="http://schemas.microsoft.com/office/drawing/2014/main" id="{E6623DA7-CCFE-23A0-3E1A-71468F67ED40}"/>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9" name="Rectangle 32">
              <a:extLst>
                <a:ext uri="{FF2B5EF4-FFF2-40B4-BE49-F238E27FC236}">
                  <a16:creationId xmlns:a16="http://schemas.microsoft.com/office/drawing/2014/main" id="{6A7D01BB-BD05-02B8-CDFB-B2A147EC2C2C}"/>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3">
              <a:extLst>
                <a:ext uri="{FF2B5EF4-FFF2-40B4-BE49-F238E27FC236}">
                  <a16:creationId xmlns:a16="http://schemas.microsoft.com/office/drawing/2014/main" id="{1BFE7A57-D9A4-87C1-18CD-9BE1C7FA136D}"/>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4">
              <a:extLst>
                <a:ext uri="{FF2B5EF4-FFF2-40B4-BE49-F238E27FC236}">
                  <a16:creationId xmlns:a16="http://schemas.microsoft.com/office/drawing/2014/main" id="{452121A5-3A9A-A106-CBAE-078C1E7762EF}"/>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5">
              <a:extLst>
                <a:ext uri="{FF2B5EF4-FFF2-40B4-BE49-F238E27FC236}">
                  <a16:creationId xmlns:a16="http://schemas.microsoft.com/office/drawing/2014/main" id="{D66CB1CE-B0A4-88BD-45F4-97E4FA373CAB}"/>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6">
              <a:extLst>
                <a:ext uri="{FF2B5EF4-FFF2-40B4-BE49-F238E27FC236}">
                  <a16:creationId xmlns:a16="http://schemas.microsoft.com/office/drawing/2014/main" id="{1F044D7E-B771-BF8D-1A7A-BF167C36E862}"/>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7">
              <a:extLst>
                <a:ext uri="{FF2B5EF4-FFF2-40B4-BE49-F238E27FC236}">
                  <a16:creationId xmlns:a16="http://schemas.microsoft.com/office/drawing/2014/main" id="{93D77BC3-F46D-E860-69D6-4E4190311B9A}"/>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8">
              <a:extLst>
                <a:ext uri="{FF2B5EF4-FFF2-40B4-BE49-F238E27FC236}">
                  <a16:creationId xmlns:a16="http://schemas.microsoft.com/office/drawing/2014/main" id="{E6A6C37A-164D-1021-1F05-CE6F85B506EE}"/>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39">
              <a:extLst>
                <a:ext uri="{FF2B5EF4-FFF2-40B4-BE49-F238E27FC236}">
                  <a16:creationId xmlns:a16="http://schemas.microsoft.com/office/drawing/2014/main" id="{56B36E35-BE62-9B04-6704-85C4FEF84A16}"/>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40">
              <a:extLst>
                <a:ext uri="{FF2B5EF4-FFF2-40B4-BE49-F238E27FC236}">
                  <a16:creationId xmlns:a16="http://schemas.microsoft.com/office/drawing/2014/main" id="{B1A0A1F1-71DB-0387-9CF7-687FE08F93F4}"/>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1">
              <a:extLst>
                <a:ext uri="{FF2B5EF4-FFF2-40B4-BE49-F238E27FC236}">
                  <a16:creationId xmlns:a16="http://schemas.microsoft.com/office/drawing/2014/main" id="{5090EA23-59C0-B419-2903-1DC77DEF8DC7}"/>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2">
              <a:extLst>
                <a:ext uri="{FF2B5EF4-FFF2-40B4-BE49-F238E27FC236}">
                  <a16:creationId xmlns:a16="http://schemas.microsoft.com/office/drawing/2014/main" id="{E9AD4002-172B-0339-99BE-A8EFB1AE67EC}"/>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3">
              <a:extLst>
                <a:ext uri="{FF2B5EF4-FFF2-40B4-BE49-F238E27FC236}">
                  <a16:creationId xmlns:a16="http://schemas.microsoft.com/office/drawing/2014/main" id="{1AE51CB4-2D27-8153-B5DB-8A859C3D1FFF}"/>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Rectangle 44">
              <a:extLst>
                <a:ext uri="{FF2B5EF4-FFF2-40B4-BE49-F238E27FC236}">
                  <a16:creationId xmlns:a16="http://schemas.microsoft.com/office/drawing/2014/main" id="{865F82CE-9868-55E1-505E-250AF8841113}"/>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 name="TextBox 45">
              <a:extLst>
                <a:ext uri="{FF2B5EF4-FFF2-40B4-BE49-F238E27FC236}">
                  <a16:creationId xmlns:a16="http://schemas.microsoft.com/office/drawing/2014/main" id="{C9871D9E-5499-FFD3-125D-7502CDC592ED}"/>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3" name="TextBox 46">
              <a:extLst>
                <a:ext uri="{FF2B5EF4-FFF2-40B4-BE49-F238E27FC236}">
                  <a16:creationId xmlns:a16="http://schemas.microsoft.com/office/drawing/2014/main" id="{FB040839-6979-349E-C5CA-A09B17B80269}"/>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4" name="TextBox 47">
              <a:extLst>
                <a:ext uri="{FF2B5EF4-FFF2-40B4-BE49-F238E27FC236}">
                  <a16:creationId xmlns:a16="http://schemas.microsoft.com/office/drawing/2014/main" id="{98ED36D6-0C00-C754-AA8B-6E8C293D1B73}"/>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5" name="TextBox 48">
              <a:extLst>
                <a:ext uri="{FF2B5EF4-FFF2-40B4-BE49-F238E27FC236}">
                  <a16:creationId xmlns:a16="http://schemas.microsoft.com/office/drawing/2014/main" id="{516D2F81-2802-75DE-DE87-CD4B1D3DD124}"/>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6" name="TextBox 49">
              <a:extLst>
                <a:ext uri="{FF2B5EF4-FFF2-40B4-BE49-F238E27FC236}">
                  <a16:creationId xmlns:a16="http://schemas.microsoft.com/office/drawing/2014/main" id="{E7A8022D-E2B7-438F-9B99-294A26293A87}"/>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7" name="TextBox 50">
              <a:extLst>
                <a:ext uri="{FF2B5EF4-FFF2-40B4-BE49-F238E27FC236}">
                  <a16:creationId xmlns:a16="http://schemas.microsoft.com/office/drawing/2014/main" id="{877BFEA9-A3B4-52D8-5F34-B91B06377AA2}"/>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8" name="TextBox 51">
              <a:extLst>
                <a:ext uri="{FF2B5EF4-FFF2-40B4-BE49-F238E27FC236}">
                  <a16:creationId xmlns:a16="http://schemas.microsoft.com/office/drawing/2014/main" id="{BE81C6A0-EC29-3819-A037-B6F198F81353}"/>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39" name="Rectangle 52">
              <a:extLst>
                <a:ext uri="{FF2B5EF4-FFF2-40B4-BE49-F238E27FC236}">
                  <a16:creationId xmlns:a16="http://schemas.microsoft.com/office/drawing/2014/main" id="{00B9F5E6-053E-64E8-F892-DB66F04B5214}"/>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0" name="Rectangle 53">
              <a:extLst>
                <a:ext uri="{FF2B5EF4-FFF2-40B4-BE49-F238E27FC236}">
                  <a16:creationId xmlns:a16="http://schemas.microsoft.com/office/drawing/2014/main" id="{8EB307E7-664E-6746-B9E3-C69F4674CC77}"/>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4">
              <a:extLst>
                <a:ext uri="{FF2B5EF4-FFF2-40B4-BE49-F238E27FC236}">
                  <a16:creationId xmlns:a16="http://schemas.microsoft.com/office/drawing/2014/main" id="{BD1C1DD4-9EC7-04A9-D830-DB18BDE0659A}"/>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5">
              <a:extLst>
                <a:ext uri="{FF2B5EF4-FFF2-40B4-BE49-F238E27FC236}">
                  <a16:creationId xmlns:a16="http://schemas.microsoft.com/office/drawing/2014/main" id="{FD87E5A2-3D93-F5BF-0056-8BCB7BCB0E06}"/>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Rectangle 56">
              <a:extLst>
                <a:ext uri="{FF2B5EF4-FFF2-40B4-BE49-F238E27FC236}">
                  <a16:creationId xmlns:a16="http://schemas.microsoft.com/office/drawing/2014/main" id="{6088305E-2D9E-77F2-D385-7D1B58A506A3}"/>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 name="TextBox 57">
              <a:extLst>
                <a:ext uri="{FF2B5EF4-FFF2-40B4-BE49-F238E27FC236}">
                  <a16:creationId xmlns:a16="http://schemas.microsoft.com/office/drawing/2014/main" id="{BB028069-C35C-DE2D-0C4C-D8F8375AF538}"/>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5" name="TextBox 58">
              <a:extLst>
                <a:ext uri="{FF2B5EF4-FFF2-40B4-BE49-F238E27FC236}">
                  <a16:creationId xmlns:a16="http://schemas.microsoft.com/office/drawing/2014/main" id="{398A6E8E-6B4A-E69D-7FDE-1AFE04276426}"/>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6" name="TextBox 59">
              <a:extLst>
                <a:ext uri="{FF2B5EF4-FFF2-40B4-BE49-F238E27FC236}">
                  <a16:creationId xmlns:a16="http://schemas.microsoft.com/office/drawing/2014/main" id="{8D6F22E3-1D62-1490-5A2E-8D70E5813CB8}"/>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7" name="TextBox 60">
              <a:extLst>
                <a:ext uri="{FF2B5EF4-FFF2-40B4-BE49-F238E27FC236}">
                  <a16:creationId xmlns:a16="http://schemas.microsoft.com/office/drawing/2014/main" id="{5CBBF486-3EA1-44E6-C0D7-F31A44847C16}"/>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8" name="TextBox 61">
              <a:extLst>
                <a:ext uri="{FF2B5EF4-FFF2-40B4-BE49-F238E27FC236}">
                  <a16:creationId xmlns:a16="http://schemas.microsoft.com/office/drawing/2014/main" id="{BA54E32A-54ED-C6F1-BC62-5754843D0580}"/>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49" name="TextBox 62">
              <a:extLst>
                <a:ext uri="{FF2B5EF4-FFF2-40B4-BE49-F238E27FC236}">
                  <a16:creationId xmlns:a16="http://schemas.microsoft.com/office/drawing/2014/main" id="{7A42CACC-D85F-7C96-DB59-1B801C30D0FE}"/>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50" name="TextBox 63">
              <a:extLst>
                <a:ext uri="{FF2B5EF4-FFF2-40B4-BE49-F238E27FC236}">
                  <a16:creationId xmlns:a16="http://schemas.microsoft.com/office/drawing/2014/main" id="{9836DDD9-517C-5A7E-1AFA-86EB6B3E4806}"/>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1" name="TextBox 64">
              <a:extLst>
                <a:ext uri="{FF2B5EF4-FFF2-40B4-BE49-F238E27FC236}">
                  <a16:creationId xmlns:a16="http://schemas.microsoft.com/office/drawing/2014/main" id="{772BA113-D7F2-4484-DC58-0F8021DB8E69}"/>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2" name="TextBox 65">
              <a:extLst>
                <a:ext uri="{FF2B5EF4-FFF2-40B4-BE49-F238E27FC236}">
                  <a16:creationId xmlns:a16="http://schemas.microsoft.com/office/drawing/2014/main" id="{11A458EA-87A0-C33C-610B-D1DBC9337682}"/>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3" name="TextBox 66">
              <a:extLst>
                <a:ext uri="{FF2B5EF4-FFF2-40B4-BE49-F238E27FC236}">
                  <a16:creationId xmlns:a16="http://schemas.microsoft.com/office/drawing/2014/main" id="{DD585006-5DC2-DB39-9A41-7F16BFE4A4E1}"/>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4" name="TextBox 67">
              <a:extLst>
                <a:ext uri="{FF2B5EF4-FFF2-40B4-BE49-F238E27FC236}">
                  <a16:creationId xmlns:a16="http://schemas.microsoft.com/office/drawing/2014/main" id="{E2A7F5EE-1135-8DE1-919E-E744DB0244A9}"/>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5" name="TextBox 68">
              <a:extLst>
                <a:ext uri="{FF2B5EF4-FFF2-40B4-BE49-F238E27FC236}">
                  <a16:creationId xmlns:a16="http://schemas.microsoft.com/office/drawing/2014/main" id="{9B527568-DB20-D6AA-8B4C-1529B9F96750}"/>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6" name="TextBox 69">
              <a:extLst>
                <a:ext uri="{FF2B5EF4-FFF2-40B4-BE49-F238E27FC236}">
                  <a16:creationId xmlns:a16="http://schemas.microsoft.com/office/drawing/2014/main" id="{96CD9D13-68C3-494B-D3B6-067FAA7058A0}"/>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7" name="TextBox 70">
              <a:extLst>
                <a:ext uri="{FF2B5EF4-FFF2-40B4-BE49-F238E27FC236}">
                  <a16:creationId xmlns:a16="http://schemas.microsoft.com/office/drawing/2014/main" id="{69FFA223-212F-755D-0183-DFE1588369DE}"/>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58" name="TextBox 71">
              <a:extLst>
                <a:ext uri="{FF2B5EF4-FFF2-40B4-BE49-F238E27FC236}">
                  <a16:creationId xmlns:a16="http://schemas.microsoft.com/office/drawing/2014/main" id="{C9011AEA-4ABD-7EC4-FA0F-71D93D93AB70}"/>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59" name="Rectangle 72">
              <a:extLst>
                <a:ext uri="{FF2B5EF4-FFF2-40B4-BE49-F238E27FC236}">
                  <a16:creationId xmlns:a16="http://schemas.microsoft.com/office/drawing/2014/main" id="{488F00D4-9DBA-2569-A055-14C5D628828C}"/>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0" name="Rectangle 73">
              <a:extLst>
                <a:ext uri="{FF2B5EF4-FFF2-40B4-BE49-F238E27FC236}">
                  <a16:creationId xmlns:a16="http://schemas.microsoft.com/office/drawing/2014/main" id="{0CBDFD35-877C-EE9E-28BB-2D80099F0E01}"/>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1" name="Rectangle 74">
              <a:extLst>
                <a:ext uri="{FF2B5EF4-FFF2-40B4-BE49-F238E27FC236}">
                  <a16:creationId xmlns:a16="http://schemas.microsoft.com/office/drawing/2014/main" id="{113ECDB2-4E02-AF1A-18B6-DF63C65CB2BA}"/>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5">
              <a:extLst>
                <a:ext uri="{FF2B5EF4-FFF2-40B4-BE49-F238E27FC236}">
                  <a16:creationId xmlns:a16="http://schemas.microsoft.com/office/drawing/2014/main" id="{A0AFDB9B-9458-6ACA-37AE-3122D0DDC8D3}"/>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6">
              <a:extLst>
                <a:ext uri="{FF2B5EF4-FFF2-40B4-BE49-F238E27FC236}">
                  <a16:creationId xmlns:a16="http://schemas.microsoft.com/office/drawing/2014/main" id="{34988F16-88AE-2AA9-CF82-03F9A4E1D3D9}"/>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4" name="Rectangle 77">
              <a:extLst>
                <a:ext uri="{FF2B5EF4-FFF2-40B4-BE49-F238E27FC236}">
                  <a16:creationId xmlns:a16="http://schemas.microsoft.com/office/drawing/2014/main" id="{E74ED81A-443E-08AD-CB5C-1E755FA509BA}"/>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5" name="Rectangle 78">
              <a:extLst>
                <a:ext uri="{FF2B5EF4-FFF2-40B4-BE49-F238E27FC236}">
                  <a16:creationId xmlns:a16="http://schemas.microsoft.com/office/drawing/2014/main" id="{F21BD413-0356-4A1D-1028-D4E20B16768C}"/>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6" name="Rectangle 79">
              <a:extLst>
                <a:ext uri="{FF2B5EF4-FFF2-40B4-BE49-F238E27FC236}">
                  <a16:creationId xmlns:a16="http://schemas.microsoft.com/office/drawing/2014/main" id="{8D7AF7FB-114A-B133-AACA-7A9262004819}"/>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7" name="Rectangle 80">
              <a:extLst>
                <a:ext uri="{FF2B5EF4-FFF2-40B4-BE49-F238E27FC236}">
                  <a16:creationId xmlns:a16="http://schemas.microsoft.com/office/drawing/2014/main" id="{2C393524-9210-FE9C-4457-C31C88E8E219}"/>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8" name="Rectangle 81">
              <a:extLst>
                <a:ext uri="{FF2B5EF4-FFF2-40B4-BE49-F238E27FC236}">
                  <a16:creationId xmlns:a16="http://schemas.microsoft.com/office/drawing/2014/main" id="{3216A0F2-CDE0-9077-FCE1-026A039FF22B}"/>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9" name="Rectangle 82">
              <a:extLst>
                <a:ext uri="{FF2B5EF4-FFF2-40B4-BE49-F238E27FC236}">
                  <a16:creationId xmlns:a16="http://schemas.microsoft.com/office/drawing/2014/main" id="{9453F0F9-86C7-CEB3-941A-EB15FEB897B2}"/>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0" name="Rectangle 83">
              <a:extLst>
                <a:ext uri="{FF2B5EF4-FFF2-40B4-BE49-F238E27FC236}">
                  <a16:creationId xmlns:a16="http://schemas.microsoft.com/office/drawing/2014/main" id="{489C9F33-429E-22F0-A06C-1BC59008A59D}"/>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1" name="Rectangle 84">
              <a:extLst>
                <a:ext uri="{FF2B5EF4-FFF2-40B4-BE49-F238E27FC236}">
                  <a16:creationId xmlns:a16="http://schemas.microsoft.com/office/drawing/2014/main" id="{F1267B09-4A0D-0340-9206-70E22628DD08}"/>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2" name="Rectangle 85">
              <a:extLst>
                <a:ext uri="{FF2B5EF4-FFF2-40B4-BE49-F238E27FC236}">
                  <a16:creationId xmlns:a16="http://schemas.microsoft.com/office/drawing/2014/main" id="{7DC41779-8139-94CB-5EF0-7BEA0A0D5FA0}"/>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3" name="Rectangle 86">
              <a:extLst>
                <a:ext uri="{FF2B5EF4-FFF2-40B4-BE49-F238E27FC236}">
                  <a16:creationId xmlns:a16="http://schemas.microsoft.com/office/drawing/2014/main" id="{A39F0325-BA04-2224-0EB1-FD352B1E02FB}"/>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4" name="Rectangle 87">
              <a:extLst>
                <a:ext uri="{FF2B5EF4-FFF2-40B4-BE49-F238E27FC236}">
                  <a16:creationId xmlns:a16="http://schemas.microsoft.com/office/drawing/2014/main" id="{26875980-C395-0DFC-8943-8C20CA52506F}"/>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5" name="Rectangle 88">
              <a:extLst>
                <a:ext uri="{FF2B5EF4-FFF2-40B4-BE49-F238E27FC236}">
                  <a16:creationId xmlns:a16="http://schemas.microsoft.com/office/drawing/2014/main" id="{B8275F43-EF25-EB0C-B483-3E83401A7A00}"/>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6" name="Rectangle 89">
              <a:extLst>
                <a:ext uri="{FF2B5EF4-FFF2-40B4-BE49-F238E27FC236}">
                  <a16:creationId xmlns:a16="http://schemas.microsoft.com/office/drawing/2014/main" id="{030CD3BF-1A86-6552-BB9B-08E4DA90628F}"/>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7" name="Rectangle 90">
              <a:extLst>
                <a:ext uri="{FF2B5EF4-FFF2-40B4-BE49-F238E27FC236}">
                  <a16:creationId xmlns:a16="http://schemas.microsoft.com/office/drawing/2014/main" id="{35F89738-1015-8F95-CD03-E06E40EBF3C5}"/>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8" name="Rectangle 91">
              <a:extLst>
                <a:ext uri="{FF2B5EF4-FFF2-40B4-BE49-F238E27FC236}">
                  <a16:creationId xmlns:a16="http://schemas.microsoft.com/office/drawing/2014/main" id="{7B2DC28C-A17C-1B88-39BD-D7C5874FD0CD}"/>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9" name="Rectangle 92">
              <a:extLst>
                <a:ext uri="{FF2B5EF4-FFF2-40B4-BE49-F238E27FC236}">
                  <a16:creationId xmlns:a16="http://schemas.microsoft.com/office/drawing/2014/main" id="{05A85D6F-4377-F6D0-9213-98A1618F64DC}"/>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0" name="Rectangle 93">
              <a:extLst>
                <a:ext uri="{FF2B5EF4-FFF2-40B4-BE49-F238E27FC236}">
                  <a16:creationId xmlns:a16="http://schemas.microsoft.com/office/drawing/2014/main" id="{2DBE357A-09FF-2E87-C6A9-4D42F32A14C6}"/>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1" name="Rectangle 94">
              <a:extLst>
                <a:ext uri="{FF2B5EF4-FFF2-40B4-BE49-F238E27FC236}">
                  <a16:creationId xmlns:a16="http://schemas.microsoft.com/office/drawing/2014/main" id="{784E3EF6-6705-D957-0DD0-EE118BDE3C92}"/>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2" name="Rectangle 95">
              <a:extLst>
                <a:ext uri="{FF2B5EF4-FFF2-40B4-BE49-F238E27FC236}">
                  <a16:creationId xmlns:a16="http://schemas.microsoft.com/office/drawing/2014/main" id="{901E130B-50D2-898B-6412-9B880608D082}"/>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3" name="Rectangle 96">
              <a:extLst>
                <a:ext uri="{FF2B5EF4-FFF2-40B4-BE49-F238E27FC236}">
                  <a16:creationId xmlns:a16="http://schemas.microsoft.com/office/drawing/2014/main" id="{4D42E6AA-A634-DDB0-C9F0-5A7965739AC2}"/>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4" name="Rectangle 97">
              <a:extLst>
                <a:ext uri="{FF2B5EF4-FFF2-40B4-BE49-F238E27FC236}">
                  <a16:creationId xmlns:a16="http://schemas.microsoft.com/office/drawing/2014/main" id="{52D5D454-7257-7F7B-22F3-2117A8F777FC}"/>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5" name="Rectangle 98">
              <a:extLst>
                <a:ext uri="{FF2B5EF4-FFF2-40B4-BE49-F238E27FC236}">
                  <a16:creationId xmlns:a16="http://schemas.microsoft.com/office/drawing/2014/main" id="{44D132DF-E1C3-E790-A967-14794FF0B8DA}"/>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6" name="Rectangle 99">
              <a:extLst>
                <a:ext uri="{FF2B5EF4-FFF2-40B4-BE49-F238E27FC236}">
                  <a16:creationId xmlns:a16="http://schemas.microsoft.com/office/drawing/2014/main" id="{D78BB489-2267-A773-75DD-3A45B9C15B6E}"/>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7" name="Rectangle 100">
              <a:extLst>
                <a:ext uri="{FF2B5EF4-FFF2-40B4-BE49-F238E27FC236}">
                  <a16:creationId xmlns:a16="http://schemas.microsoft.com/office/drawing/2014/main" id="{B2CDC11C-A9EB-78A7-9D51-90A280D48CCA}"/>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8" name="Rectangle 101">
              <a:extLst>
                <a:ext uri="{FF2B5EF4-FFF2-40B4-BE49-F238E27FC236}">
                  <a16:creationId xmlns:a16="http://schemas.microsoft.com/office/drawing/2014/main" id="{268D6743-6DDE-3FE7-8E99-9C0F740A64F0}"/>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9" name="Rectangle 102">
              <a:extLst>
                <a:ext uri="{FF2B5EF4-FFF2-40B4-BE49-F238E27FC236}">
                  <a16:creationId xmlns:a16="http://schemas.microsoft.com/office/drawing/2014/main" id="{3EB74DE2-CEA7-4379-37D9-BAD08AF5A803}"/>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0" name="Rectangle 103">
              <a:extLst>
                <a:ext uri="{FF2B5EF4-FFF2-40B4-BE49-F238E27FC236}">
                  <a16:creationId xmlns:a16="http://schemas.microsoft.com/office/drawing/2014/main" id="{F569DBC2-C601-B60D-F03C-7A8A173BA36F}"/>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1" name="Rectangle 104">
              <a:extLst>
                <a:ext uri="{FF2B5EF4-FFF2-40B4-BE49-F238E27FC236}">
                  <a16:creationId xmlns:a16="http://schemas.microsoft.com/office/drawing/2014/main" id="{AC747E89-93E3-05EC-0B4C-844EB7B2024F}"/>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2" name="Rectangle 105">
              <a:extLst>
                <a:ext uri="{FF2B5EF4-FFF2-40B4-BE49-F238E27FC236}">
                  <a16:creationId xmlns:a16="http://schemas.microsoft.com/office/drawing/2014/main" id="{8165995D-FCCB-8DC2-7AEA-492EAF2B0E4F}"/>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3" name="Rectangle 106">
              <a:extLst>
                <a:ext uri="{FF2B5EF4-FFF2-40B4-BE49-F238E27FC236}">
                  <a16:creationId xmlns:a16="http://schemas.microsoft.com/office/drawing/2014/main" id="{97F3C234-75E5-EFB8-0F27-31CC6FCAD32F}"/>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4" name="Rectangle 107">
              <a:extLst>
                <a:ext uri="{FF2B5EF4-FFF2-40B4-BE49-F238E27FC236}">
                  <a16:creationId xmlns:a16="http://schemas.microsoft.com/office/drawing/2014/main" id="{8097CEBA-913F-3729-C78A-0EE270F5B287}"/>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5" name="Rectangle 108">
              <a:extLst>
                <a:ext uri="{FF2B5EF4-FFF2-40B4-BE49-F238E27FC236}">
                  <a16:creationId xmlns:a16="http://schemas.microsoft.com/office/drawing/2014/main" id="{2E2DADE7-7371-6023-3750-BDBC7D68C0D9}"/>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6" name="Rectangle 109">
              <a:extLst>
                <a:ext uri="{FF2B5EF4-FFF2-40B4-BE49-F238E27FC236}">
                  <a16:creationId xmlns:a16="http://schemas.microsoft.com/office/drawing/2014/main" id="{8A01FD18-2CCD-01C4-7016-4A65F22787E2}"/>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7" name="Rectangle 110">
              <a:extLst>
                <a:ext uri="{FF2B5EF4-FFF2-40B4-BE49-F238E27FC236}">
                  <a16:creationId xmlns:a16="http://schemas.microsoft.com/office/drawing/2014/main" id="{E55B8AE1-0150-EC9E-57F2-D388065E8607}"/>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8" name="Rectangle 111">
              <a:extLst>
                <a:ext uri="{FF2B5EF4-FFF2-40B4-BE49-F238E27FC236}">
                  <a16:creationId xmlns:a16="http://schemas.microsoft.com/office/drawing/2014/main" id="{8BC2B04D-06C0-24FF-9F67-79B1F0D046F5}"/>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9" name="TextBox 112">
              <a:extLst>
                <a:ext uri="{FF2B5EF4-FFF2-40B4-BE49-F238E27FC236}">
                  <a16:creationId xmlns:a16="http://schemas.microsoft.com/office/drawing/2014/main" id="{F85EC09D-C2AA-4F61-A500-6CDB7A9D5941}"/>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100" name="TextBox 113">
              <a:extLst>
                <a:ext uri="{FF2B5EF4-FFF2-40B4-BE49-F238E27FC236}">
                  <a16:creationId xmlns:a16="http://schemas.microsoft.com/office/drawing/2014/main" id="{1C67E4F4-79A9-6425-CE8D-728EFB130B4C}"/>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101" name="TextBox 114">
              <a:extLst>
                <a:ext uri="{FF2B5EF4-FFF2-40B4-BE49-F238E27FC236}">
                  <a16:creationId xmlns:a16="http://schemas.microsoft.com/office/drawing/2014/main" id="{ECC6FB8E-4C6E-5BD6-5BB8-B577E4D03479}"/>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35732167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画像あり">
    <p:bg>
      <p:bgRef idx="1001">
        <a:schemeClr val="bg1"/>
      </p:bgRef>
    </p:bg>
    <p:spTree>
      <p:nvGrpSpPr>
        <p:cNvPr id="1" name=""/>
        <p:cNvGrpSpPr/>
        <p:nvPr/>
      </p:nvGrpSpPr>
      <p:grpSpPr>
        <a:xfrm>
          <a:off x="0" y="0"/>
          <a:ext cx="0" cy="0"/>
          <a:chOff x="0" y="0"/>
          <a:chExt cx="0" cy="0"/>
        </a:xfrm>
      </p:grpSpPr>
      <p:sp>
        <p:nvSpPr>
          <p:cNvPr id="475" name="Picture Placeholder 474">
            <a:extLst>
              <a:ext uri="{FF2B5EF4-FFF2-40B4-BE49-F238E27FC236}">
                <a16:creationId xmlns:a16="http://schemas.microsoft.com/office/drawing/2014/main" id="{FA389859-ACDD-6026-48C2-ED0030C647D6}"/>
              </a:ext>
            </a:extLst>
          </p:cNvPr>
          <p:cNvSpPr>
            <a:spLocks noGrp="1"/>
          </p:cNvSpPr>
          <p:nvPr>
            <p:ph type="pic" sz="quarter" idx="17"/>
          </p:nvPr>
        </p:nvSpPr>
        <p:spPr>
          <a:xfrm>
            <a:off x="-2526" y="8"/>
            <a:ext cx="12191985" cy="6857992"/>
          </a:xfrm>
          <a:custGeom>
            <a:avLst/>
            <a:gdLst>
              <a:gd name="connsiteX0" fmla="*/ 5485278 w 12191985"/>
              <a:gd name="connsiteY0" fmla="*/ 5091449 h 6857992"/>
              <a:gd name="connsiteX1" fmla="*/ 5485278 w 12191985"/>
              <a:gd name="connsiteY1" fmla="*/ 5106958 h 6857992"/>
              <a:gd name="connsiteX2" fmla="*/ 5628274 w 12191985"/>
              <a:gd name="connsiteY2" fmla="*/ 5106958 h 6857992"/>
              <a:gd name="connsiteX3" fmla="*/ 5628274 w 12191985"/>
              <a:gd name="connsiteY3" fmla="*/ 5091449 h 6857992"/>
              <a:gd name="connsiteX4" fmla="*/ 5871679 w 12191985"/>
              <a:gd name="connsiteY4" fmla="*/ 5091081 h 6857992"/>
              <a:gd name="connsiteX5" fmla="*/ 5922507 w 12191985"/>
              <a:gd name="connsiteY5" fmla="*/ 5091081 h 6857992"/>
              <a:gd name="connsiteX6" fmla="*/ 5921632 w 12191985"/>
              <a:gd name="connsiteY6" fmla="*/ 5095835 h 6857992"/>
              <a:gd name="connsiteX7" fmla="*/ 5913299 w 12191985"/>
              <a:gd name="connsiteY7" fmla="*/ 5101512 h 6857992"/>
              <a:gd name="connsiteX8" fmla="*/ 5877573 w 12191985"/>
              <a:gd name="connsiteY8" fmla="*/ 5101512 h 6857992"/>
              <a:gd name="connsiteX9" fmla="*/ 5871679 w 12191985"/>
              <a:gd name="connsiteY9" fmla="*/ 5096666 h 6857992"/>
              <a:gd name="connsiteX10" fmla="*/ 5692819 w 12191985"/>
              <a:gd name="connsiteY10" fmla="*/ 5076034 h 6857992"/>
              <a:gd name="connsiteX11" fmla="*/ 5739042 w 12191985"/>
              <a:gd name="connsiteY11" fmla="*/ 5076034 h 6857992"/>
              <a:gd name="connsiteX12" fmla="*/ 5715009 w 12191985"/>
              <a:gd name="connsiteY12" fmla="*/ 5089465 h 6857992"/>
              <a:gd name="connsiteX13" fmla="*/ 5692819 w 12191985"/>
              <a:gd name="connsiteY13" fmla="*/ 5076034 h 6857992"/>
              <a:gd name="connsiteX14" fmla="*/ 5871587 w 12191985"/>
              <a:gd name="connsiteY14" fmla="*/ 5069619 h 6857992"/>
              <a:gd name="connsiteX15" fmla="*/ 5910767 w 12191985"/>
              <a:gd name="connsiteY15" fmla="*/ 5069619 h 6857992"/>
              <a:gd name="connsiteX16" fmla="*/ 5910767 w 12191985"/>
              <a:gd name="connsiteY16" fmla="*/ 5079865 h 6857992"/>
              <a:gd name="connsiteX17" fmla="*/ 5871587 w 12191985"/>
              <a:gd name="connsiteY17" fmla="*/ 5079865 h 6857992"/>
              <a:gd name="connsiteX18" fmla="*/ 5818827 w 12191985"/>
              <a:gd name="connsiteY18" fmla="*/ 5069573 h 6857992"/>
              <a:gd name="connsiteX19" fmla="*/ 5857271 w 12191985"/>
              <a:gd name="connsiteY19" fmla="*/ 5069573 h 6857992"/>
              <a:gd name="connsiteX20" fmla="*/ 5857271 w 12191985"/>
              <a:gd name="connsiteY20" fmla="*/ 5079819 h 6857992"/>
              <a:gd name="connsiteX21" fmla="*/ 5818827 w 12191985"/>
              <a:gd name="connsiteY21" fmla="*/ 5079819 h 6857992"/>
              <a:gd name="connsiteX22" fmla="*/ 5871587 w 12191985"/>
              <a:gd name="connsiteY22" fmla="*/ 5051019 h 6857992"/>
              <a:gd name="connsiteX23" fmla="*/ 5910767 w 12191985"/>
              <a:gd name="connsiteY23" fmla="*/ 5051019 h 6857992"/>
              <a:gd name="connsiteX24" fmla="*/ 5910767 w 12191985"/>
              <a:gd name="connsiteY24" fmla="*/ 5059419 h 6857992"/>
              <a:gd name="connsiteX25" fmla="*/ 5871587 w 12191985"/>
              <a:gd name="connsiteY25" fmla="*/ 5059419 h 6857992"/>
              <a:gd name="connsiteX26" fmla="*/ 5818827 w 12191985"/>
              <a:gd name="connsiteY26" fmla="*/ 5051019 h 6857992"/>
              <a:gd name="connsiteX27" fmla="*/ 5857271 w 12191985"/>
              <a:gd name="connsiteY27" fmla="*/ 5051019 h 6857992"/>
              <a:gd name="connsiteX28" fmla="*/ 5857271 w 12191985"/>
              <a:gd name="connsiteY28" fmla="*/ 5059511 h 6857992"/>
              <a:gd name="connsiteX29" fmla="*/ 5818827 w 12191985"/>
              <a:gd name="connsiteY29" fmla="*/ 5059511 h 6857992"/>
              <a:gd name="connsiteX30" fmla="*/ 5701797 w 12191985"/>
              <a:gd name="connsiteY30" fmla="*/ 5050095 h 6857992"/>
              <a:gd name="connsiteX31" fmla="*/ 5642499 w 12191985"/>
              <a:gd name="connsiteY31" fmla="*/ 5079496 h 6857992"/>
              <a:gd name="connsiteX32" fmla="*/ 5649267 w 12191985"/>
              <a:gd name="connsiteY32" fmla="*/ 5091865 h 6857992"/>
              <a:gd name="connsiteX33" fmla="*/ 5679330 w 12191985"/>
              <a:gd name="connsiteY33" fmla="*/ 5082265 h 6857992"/>
              <a:gd name="connsiteX34" fmla="*/ 5695397 w 12191985"/>
              <a:gd name="connsiteY34" fmla="*/ 5094819 h 6857992"/>
              <a:gd name="connsiteX35" fmla="*/ 5641946 w 12191985"/>
              <a:gd name="connsiteY35" fmla="*/ 5100358 h 6857992"/>
              <a:gd name="connsiteX36" fmla="*/ 5648944 w 12191985"/>
              <a:gd name="connsiteY36" fmla="*/ 5114482 h 6857992"/>
              <a:gd name="connsiteX37" fmla="*/ 5713721 w 12191985"/>
              <a:gd name="connsiteY37" fmla="*/ 5103174 h 6857992"/>
              <a:gd name="connsiteX38" fmla="*/ 5732044 w 12191985"/>
              <a:gd name="connsiteY38" fmla="*/ 5108112 h 6857992"/>
              <a:gd name="connsiteX39" fmla="*/ 5778404 w 12191985"/>
              <a:gd name="connsiteY39" fmla="*/ 5113651 h 6857992"/>
              <a:gd name="connsiteX40" fmla="*/ 5784666 w 12191985"/>
              <a:gd name="connsiteY40" fmla="*/ 5098327 h 6857992"/>
              <a:gd name="connsiteX41" fmla="*/ 5735405 w 12191985"/>
              <a:gd name="connsiteY41" fmla="*/ 5094404 h 6857992"/>
              <a:gd name="connsiteX42" fmla="*/ 5735405 w 12191985"/>
              <a:gd name="connsiteY42" fmla="*/ 5094358 h 6857992"/>
              <a:gd name="connsiteX43" fmla="*/ 5761325 w 12191985"/>
              <a:gd name="connsiteY43" fmla="*/ 5074880 h 6857992"/>
              <a:gd name="connsiteX44" fmla="*/ 5761325 w 12191985"/>
              <a:gd name="connsiteY44" fmla="*/ 5064588 h 6857992"/>
              <a:gd name="connsiteX45" fmla="*/ 5705019 w 12191985"/>
              <a:gd name="connsiteY45" fmla="*/ 5064772 h 6857992"/>
              <a:gd name="connsiteX46" fmla="*/ 5716851 w 12191985"/>
              <a:gd name="connsiteY46" fmla="*/ 5052587 h 6857992"/>
              <a:gd name="connsiteX47" fmla="*/ 5805153 w 12191985"/>
              <a:gd name="connsiteY47" fmla="*/ 5040218 h 6857992"/>
              <a:gd name="connsiteX48" fmla="*/ 5805153 w 12191985"/>
              <a:gd name="connsiteY48" fmla="*/ 5099943 h 6857992"/>
              <a:gd name="connsiteX49" fmla="*/ 5818781 w 12191985"/>
              <a:gd name="connsiteY49" fmla="*/ 5099943 h 6857992"/>
              <a:gd name="connsiteX50" fmla="*/ 5818781 w 12191985"/>
              <a:gd name="connsiteY50" fmla="*/ 5091081 h 6857992"/>
              <a:gd name="connsiteX51" fmla="*/ 5857223 w 12191985"/>
              <a:gd name="connsiteY51" fmla="*/ 5091081 h 6857992"/>
              <a:gd name="connsiteX52" fmla="*/ 5857223 w 12191985"/>
              <a:gd name="connsiteY52" fmla="*/ 5101974 h 6857992"/>
              <a:gd name="connsiteX53" fmla="*/ 5873155 w 12191985"/>
              <a:gd name="connsiteY53" fmla="*/ 5113651 h 6857992"/>
              <a:gd name="connsiteX54" fmla="*/ 5915140 w 12191985"/>
              <a:gd name="connsiteY54" fmla="*/ 5113651 h 6857992"/>
              <a:gd name="connsiteX55" fmla="*/ 5936410 w 12191985"/>
              <a:gd name="connsiteY55" fmla="*/ 5098973 h 6857992"/>
              <a:gd name="connsiteX56" fmla="*/ 5937561 w 12191985"/>
              <a:gd name="connsiteY56" fmla="*/ 5087758 h 6857992"/>
              <a:gd name="connsiteX57" fmla="*/ 5924118 w 12191985"/>
              <a:gd name="connsiteY57" fmla="*/ 5082681 h 6857992"/>
              <a:gd name="connsiteX58" fmla="*/ 5924118 w 12191985"/>
              <a:gd name="connsiteY58" fmla="*/ 5040218 h 6857992"/>
              <a:gd name="connsiteX59" fmla="*/ 6417563 w 12191985"/>
              <a:gd name="connsiteY59" fmla="*/ 5039664 h 6857992"/>
              <a:gd name="connsiteX60" fmla="*/ 6417563 w 12191985"/>
              <a:gd name="connsiteY60" fmla="*/ 5054203 h 6857992"/>
              <a:gd name="connsiteX61" fmla="*/ 6461531 w 12191985"/>
              <a:gd name="connsiteY61" fmla="*/ 5054203 h 6857992"/>
              <a:gd name="connsiteX62" fmla="*/ 6441826 w 12191985"/>
              <a:gd name="connsiteY62" fmla="*/ 5091173 h 6857992"/>
              <a:gd name="connsiteX63" fmla="*/ 6420924 w 12191985"/>
              <a:gd name="connsiteY63" fmla="*/ 5091958 h 6857992"/>
              <a:gd name="connsiteX64" fmla="*/ 6423870 w 12191985"/>
              <a:gd name="connsiteY64" fmla="*/ 5107281 h 6857992"/>
              <a:gd name="connsiteX65" fmla="*/ 6527781 w 12191985"/>
              <a:gd name="connsiteY65" fmla="*/ 5097589 h 6857992"/>
              <a:gd name="connsiteX66" fmla="*/ 6539521 w 12191985"/>
              <a:gd name="connsiteY66" fmla="*/ 5110697 h 6857992"/>
              <a:gd name="connsiteX67" fmla="*/ 6551491 w 12191985"/>
              <a:gd name="connsiteY67" fmla="*/ 5100866 h 6857992"/>
              <a:gd name="connsiteX68" fmla="*/ 6510608 w 12191985"/>
              <a:gd name="connsiteY68" fmla="*/ 5059788 h 6857992"/>
              <a:gd name="connsiteX69" fmla="*/ 6510654 w 12191985"/>
              <a:gd name="connsiteY69" fmla="*/ 5059834 h 6857992"/>
              <a:gd name="connsiteX70" fmla="*/ 6498822 w 12191985"/>
              <a:gd name="connsiteY70" fmla="*/ 5068004 h 6857992"/>
              <a:gd name="connsiteX71" fmla="*/ 6516639 w 12191985"/>
              <a:gd name="connsiteY71" fmla="*/ 5085588 h 6857992"/>
              <a:gd name="connsiteX72" fmla="*/ 6459965 w 12191985"/>
              <a:gd name="connsiteY72" fmla="*/ 5090619 h 6857992"/>
              <a:gd name="connsiteX73" fmla="*/ 6478933 w 12191985"/>
              <a:gd name="connsiteY73" fmla="*/ 5054203 h 6857992"/>
              <a:gd name="connsiteX74" fmla="*/ 6550938 w 12191985"/>
              <a:gd name="connsiteY74" fmla="*/ 5054203 h 6857992"/>
              <a:gd name="connsiteX75" fmla="*/ 6550938 w 12191985"/>
              <a:gd name="connsiteY75" fmla="*/ 5039664 h 6857992"/>
              <a:gd name="connsiteX76" fmla="*/ 5499778 w 12191985"/>
              <a:gd name="connsiteY76" fmla="*/ 5034679 h 6857992"/>
              <a:gd name="connsiteX77" fmla="*/ 5499778 w 12191985"/>
              <a:gd name="connsiteY77" fmla="*/ 5049679 h 6857992"/>
              <a:gd name="connsiteX78" fmla="*/ 5613772 w 12191985"/>
              <a:gd name="connsiteY78" fmla="*/ 5049679 h 6857992"/>
              <a:gd name="connsiteX79" fmla="*/ 5613772 w 12191985"/>
              <a:gd name="connsiteY79" fmla="*/ 5034679 h 6857992"/>
              <a:gd name="connsiteX80" fmla="*/ 6060670 w 12191985"/>
              <a:gd name="connsiteY80" fmla="*/ 5034310 h 6857992"/>
              <a:gd name="connsiteX81" fmla="*/ 6065092 w 12191985"/>
              <a:gd name="connsiteY81" fmla="*/ 5044695 h 6857992"/>
              <a:gd name="connsiteX82" fmla="*/ 6050311 w 12191985"/>
              <a:gd name="connsiteY82" fmla="*/ 5044695 h 6857992"/>
              <a:gd name="connsiteX83" fmla="*/ 6048792 w 12191985"/>
              <a:gd name="connsiteY83" fmla="*/ 5034633 h 6857992"/>
              <a:gd name="connsiteX84" fmla="*/ 6266233 w 12191985"/>
              <a:gd name="connsiteY84" fmla="*/ 5029925 h 6857992"/>
              <a:gd name="connsiteX85" fmla="*/ 6266233 w 12191985"/>
              <a:gd name="connsiteY85" fmla="*/ 5045110 h 6857992"/>
              <a:gd name="connsiteX86" fmla="*/ 6293810 w 12191985"/>
              <a:gd name="connsiteY86" fmla="*/ 5045110 h 6857992"/>
              <a:gd name="connsiteX87" fmla="*/ 6293810 w 12191985"/>
              <a:gd name="connsiteY87" fmla="*/ 5087204 h 6857992"/>
              <a:gd name="connsiteX88" fmla="*/ 6260248 w 12191985"/>
              <a:gd name="connsiteY88" fmla="*/ 5091681 h 6857992"/>
              <a:gd name="connsiteX89" fmla="*/ 6262090 w 12191985"/>
              <a:gd name="connsiteY89" fmla="*/ 5107974 h 6857992"/>
              <a:gd name="connsiteX90" fmla="*/ 6340356 w 12191985"/>
              <a:gd name="connsiteY90" fmla="*/ 5092327 h 6857992"/>
              <a:gd name="connsiteX91" fmla="*/ 6340356 w 12191985"/>
              <a:gd name="connsiteY91" fmla="*/ 5076911 h 6857992"/>
              <a:gd name="connsiteX92" fmla="*/ 6309049 w 12191985"/>
              <a:gd name="connsiteY92" fmla="*/ 5084388 h 6857992"/>
              <a:gd name="connsiteX93" fmla="*/ 6309049 w 12191985"/>
              <a:gd name="connsiteY93" fmla="*/ 5045110 h 6857992"/>
              <a:gd name="connsiteX94" fmla="*/ 6335705 w 12191985"/>
              <a:gd name="connsiteY94" fmla="*/ 5045110 h 6857992"/>
              <a:gd name="connsiteX95" fmla="*/ 6335705 w 12191985"/>
              <a:gd name="connsiteY95" fmla="*/ 5029925 h 6857992"/>
              <a:gd name="connsiteX96" fmla="*/ 5878817 w 12191985"/>
              <a:gd name="connsiteY96" fmla="*/ 5025817 h 6857992"/>
              <a:gd name="connsiteX97" fmla="*/ 5878817 w 12191985"/>
              <a:gd name="connsiteY97" fmla="*/ 5032925 h 6857992"/>
              <a:gd name="connsiteX98" fmla="*/ 5913990 w 12191985"/>
              <a:gd name="connsiteY98" fmla="*/ 5032925 h 6857992"/>
              <a:gd name="connsiteX99" fmla="*/ 5913990 w 12191985"/>
              <a:gd name="connsiteY99" fmla="*/ 5025817 h 6857992"/>
              <a:gd name="connsiteX100" fmla="*/ 5815698 w 12191985"/>
              <a:gd name="connsiteY100" fmla="*/ 5025817 h 6857992"/>
              <a:gd name="connsiteX101" fmla="*/ 5815698 w 12191985"/>
              <a:gd name="connsiteY101" fmla="*/ 5032925 h 6857992"/>
              <a:gd name="connsiteX102" fmla="*/ 5850916 w 12191985"/>
              <a:gd name="connsiteY102" fmla="*/ 5032925 h 6857992"/>
              <a:gd name="connsiteX103" fmla="*/ 5850916 w 12191985"/>
              <a:gd name="connsiteY103" fmla="*/ 5025817 h 6857992"/>
              <a:gd name="connsiteX104" fmla="*/ 5878816 w 12191985"/>
              <a:gd name="connsiteY104" fmla="*/ 5011463 h 6857992"/>
              <a:gd name="connsiteX105" fmla="*/ 5878816 w 12191985"/>
              <a:gd name="connsiteY105" fmla="*/ 5018572 h 6857992"/>
              <a:gd name="connsiteX106" fmla="*/ 5913990 w 12191985"/>
              <a:gd name="connsiteY106" fmla="*/ 5018572 h 6857992"/>
              <a:gd name="connsiteX107" fmla="*/ 5913990 w 12191985"/>
              <a:gd name="connsiteY107" fmla="*/ 5011463 h 6857992"/>
              <a:gd name="connsiteX108" fmla="*/ 5815698 w 12191985"/>
              <a:gd name="connsiteY108" fmla="*/ 5011463 h 6857992"/>
              <a:gd name="connsiteX109" fmla="*/ 5815698 w 12191985"/>
              <a:gd name="connsiteY109" fmla="*/ 5018572 h 6857992"/>
              <a:gd name="connsiteX110" fmla="*/ 5850916 w 12191985"/>
              <a:gd name="connsiteY110" fmla="*/ 5018572 h 6857992"/>
              <a:gd name="connsiteX111" fmla="*/ 5850916 w 12191985"/>
              <a:gd name="connsiteY111" fmla="*/ 5011463 h 6857992"/>
              <a:gd name="connsiteX112" fmla="*/ 6177194 w 12191985"/>
              <a:gd name="connsiteY112" fmla="*/ 5005971 h 6857992"/>
              <a:gd name="connsiteX113" fmla="*/ 6196991 w 12191985"/>
              <a:gd name="connsiteY113" fmla="*/ 5005971 h 6857992"/>
              <a:gd name="connsiteX114" fmla="*/ 6196991 w 12191985"/>
              <a:gd name="connsiteY114" fmla="*/ 5026418 h 6857992"/>
              <a:gd name="connsiteX115" fmla="*/ 6196899 w 12191985"/>
              <a:gd name="connsiteY115" fmla="*/ 5026418 h 6857992"/>
              <a:gd name="connsiteX116" fmla="*/ 6159285 w 12191985"/>
              <a:gd name="connsiteY116" fmla="*/ 5026418 h 6857992"/>
              <a:gd name="connsiteX117" fmla="*/ 6159285 w 12191985"/>
              <a:gd name="connsiteY117" fmla="*/ 5038418 h 6857992"/>
              <a:gd name="connsiteX118" fmla="*/ 6143816 w 12191985"/>
              <a:gd name="connsiteY118" fmla="*/ 5012940 h 6857992"/>
              <a:gd name="connsiteX119" fmla="*/ 6157075 w 12191985"/>
              <a:gd name="connsiteY119" fmla="*/ 5012940 h 6857992"/>
              <a:gd name="connsiteX120" fmla="*/ 6157075 w 12191985"/>
              <a:gd name="connsiteY120" fmla="*/ 5012433 h 6857992"/>
              <a:gd name="connsiteX121" fmla="*/ 6168493 w 12191985"/>
              <a:gd name="connsiteY121" fmla="*/ 5021987 h 6857992"/>
              <a:gd name="connsiteX122" fmla="*/ 6177194 w 12191985"/>
              <a:gd name="connsiteY122" fmla="*/ 5005971 h 6857992"/>
              <a:gd name="connsiteX123" fmla="*/ 5991152 w 12191985"/>
              <a:gd name="connsiteY123" fmla="*/ 5002971 h 6857992"/>
              <a:gd name="connsiteX124" fmla="*/ 6002523 w 12191985"/>
              <a:gd name="connsiteY124" fmla="*/ 5015987 h 6857992"/>
              <a:gd name="connsiteX125" fmla="*/ 5995203 w 12191985"/>
              <a:gd name="connsiteY125" fmla="*/ 5026371 h 6857992"/>
              <a:gd name="connsiteX126" fmla="*/ 5991751 w 12191985"/>
              <a:gd name="connsiteY126" fmla="*/ 5026371 h 6857992"/>
              <a:gd name="connsiteX127" fmla="*/ 5991751 w 12191985"/>
              <a:gd name="connsiteY127" fmla="*/ 5031864 h 6857992"/>
              <a:gd name="connsiteX128" fmla="*/ 5979321 w 12191985"/>
              <a:gd name="connsiteY128" fmla="*/ 5012848 h 6857992"/>
              <a:gd name="connsiteX129" fmla="*/ 5991152 w 12191985"/>
              <a:gd name="connsiteY129" fmla="*/ 5012848 h 6857992"/>
              <a:gd name="connsiteX130" fmla="*/ 5705203 w 12191985"/>
              <a:gd name="connsiteY130" fmla="*/ 4996601 h 6857992"/>
              <a:gd name="connsiteX131" fmla="*/ 5705203 w 12191985"/>
              <a:gd name="connsiteY131" fmla="*/ 5004678 h 6857992"/>
              <a:gd name="connsiteX132" fmla="*/ 5653179 w 12191985"/>
              <a:gd name="connsiteY132" fmla="*/ 5004678 h 6857992"/>
              <a:gd name="connsiteX133" fmla="*/ 5653179 w 12191985"/>
              <a:gd name="connsiteY133" fmla="*/ 5016355 h 6857992"/>
              <a:gd name="connsiteX134" fmla="*/ 5705203 w 12191985"/>
              <a:gd name="connsiteY134" fmla="*/ 5016355 h 6857992"/>
              <a:gd name="connsiteX135" fmla="*/ 5705203 w 12191985"/>
              <a:gd name="connsiteY135" fmla="*/ 5024617 h 6857992"/>
              <a:gd name="connsiteX136" fmla="*/ 5641485 w 12191985"/>
              <a:gd name="connsiteY136" fmla="*/ 5024617 h 6857992"/>
              <a:gd name="connsiteX137" fmla="*/ 5641485 w 12191985"/>
              <a:gd name="connsiteY137" fmla="*/ 5036156 h 6857992"/>
              <a:gd name="connsiteX138" fmla="*/ 5683980 w 12191985"/>
              <a:gd name="connsiteY138" fmla="*/ 5036156 h 6857992"/>
              <a:gd name="connsiteX139" fmla="*/ 5639920 w 12191985"/>
              <a:gd name="connsiteY139" fmla="*/ 5055448 h 6857992"/>
              <a:gd name="connsiteX140" fmla="*/ 5639874 w 12191985"/>
              <a:gd name="connsiteY140" fmla="*/ 5055448 h 6857992"/>
              <a:gd name="connsiteX141" fmla="*/ 5646596 w 12191985"/>
              <a:gd name="connsiteY141" fmla="*/ 5068326 h 6857992"/>
              <a:gd name="connsiteX142" fmla="*/ 5702441 w 12191985"/>
              <a:gd name="connsiteY142" fmla="*/ 5036156 h 6857992"/>
              <a:gd name="connsiteX143" fmla="*/ 5723296 w 12191985"/>
              <a:gd name="connsiteY143" fmla="*/ 5036156 h 6857992"/>
              <a:gd name="connsiteX144" fmla="*/ 5723296 w 12191985"/>
              <a:gd name="connsiteY144" fmla="*/ 5049310 h 6857992"/>
              <a:gd name="connsiteX145" fmla="*/ 5734116 w 12191985"/>
              <a:gd name="connsiteY145" fmla="*/ 5057895 h 6857992"/>
              <a:gd name="connsiteX146" fmla="*/ 5767632 w 12191985"/>
              <a:gd name="connsiteY146" fmla="*/ 5057895 h 6857992"/>
              <a:gd name="connsiteX147" fmla="*/ 5781674 w 12191985"/>
              <a:gd name="connsiteY147" fmla="*/ 5047279 h 6857992"/>
              <a:gd name="connsiteX148" fmla="*/ 5782273 w 12191985"/>
              <a:gd name="connsiteY148" fmla="*/ 5043310 h 6857992"/>
              <a:gd name="connsiteX149" fmla="*/ 5767080 w 12191985"/>
              <a:gd name="connsiteY149" fmla="*/ 5038787 h 6857992"/>
              <a:gd name="connsiteX150" fmla="*/ 5766389 w 12191985"/>
              <a:gd name="connsiteY150" fmla="*/ 5043910 h 6857992"/>
              <a:gd name="connsiteX151" fmla="*/ 5761233 w 12191985"/>
              <a:gd name="connsiteY151" fmla="*/ 5047233 h 6857992"/>
              <a:gd name="connsiteX152" fmla="*/ 5742173 w 12191985"/>
              <a:gd name="connsiteY152" fmla="*/ 5047233 h 6857992"/>
              <a:gd name="connsiteX153" fmla="*/ 5737293 w 12191985"/>
              <a:gd name="connsiteY153" fmla="*/ 5043586 h 6857992"/>
              <a:gd name="connsiteX154" fmla="*/ 5737293 w 12191985"/>
              <a:gd name="connsiteY154" fmla="*/ 5036156 h 6857992"/>
              <a:gd name="connsiteX155" fmla="*/ 5783654 w 12191985"/>
              <a:gd name="connsiteY155" fmla="*/ 5036156 h 6857992"/>
              <a:gd name="connsiteX156" fmla="*/ 5783654 w 12191985"/>
              <a:gd name="connsiteY156" fmla="*/ 5024617 h 6857992"/>
              <a:gd name="connsiteX157" fmla="*/ 5719752 w 12191985"/>
              <a:gd name="connsiteY157" fmla="*/ 5024617 h 6857992"/>
              <a:gd name="connsiteX158" fmla="*/ 5719752 w 12191985"/>
              <a:gd name="connsiteY158" fmla="*/ 5016355 h 6857992"/>
              <a:gd name="connsiteX159" fmla="*/ 5772880 w 12191985"/>
              <a:gd name="connsiteY159" fmla="*/ 5016355 h 6857992"/>
              <a:gd name="connsiteX160" fmla="*/ 5772880 w 12191985"/>
              <a:gd name="connsiteY160" fmla="*/ 5005002 h 6857992"/>
              <a:gd name="connsiteX161" fmla="*/ 5719752 w 12191985"/>
              <a:gd name="connsiteY161" fmla="*/ 5005002 h 6857992"/>
              <a:gd name="connsiteX162" fmla="*/ 5719752 w 12191985"/>
              <a:gd name="connsiteY162" fmla="*/ 4996601 h 6857992"/>
              <a:gd name="connsiteX163" fmla="*/ 6046077 w 12191985"/>
              <a:gd name="connsiteY163" fmla="*/ 4993740 h 6857992"/>
              <a:gd name="connsiteX164" fmla="*/ 6062005 w 12191985"/>
              <a:gd name="connsiteY164" fmla="*/ 5012479 h 6857992"/>
              <a:gd name="connsiteX165" fmla="*/ 6052383 w 12191985"/>
              <a:gd name="connsiteY165" fmla="*/ 5023649 h 6857992"/>
              <a:gd name="connsiteX166" fmla="*/ 6047549 w 12191985"/>
              <a:gd name="connsiteY166" fmla="*/ 5023649 h 6857992"/>
              <a:gd name="connsiteX167" fmla="*/ 6046077 w 12191985"/>
              <a:gd name="connsiteY167" fmla="*/ 4993740 h 6857992"/>
              <a:gd name="connsiteX168" fmla="*/ 6484596 w 12191985"/>
              <a:gd name="connsiteY168" fmla="*/ 4982847 h 6857992"/>
              <a:gd name="connsiteX169" fmla="*/ 6521289 w 12191985"/>
              <a:gd name="connsiteY169" fmla="*/ 5010540 h 6857992"/>
              <a:gd name="connsiteX170" fmla="*/ 6448686 w 12191985"/>
              <a:gd name="connsiteY170" fmla="*/ 5010540 h 6857992"/>
              <a:gd name="connsiteX171" fmla="*/ 6448640 w 12191985"/>
              <a:gd name="connsiteY171" fmla="*/ 5010540 h 6857992"/>
              <a:gd name="connsiteX172" fmla="*/ 6484596 w 12191985"/>
              <a:gd name="connsiteY172" fmla="*/ 4982847 h 6857992"/>
              <a:gd name="connsiteX173" fmla="*/ 5494576 w 12191985"/>
              <a:gd name="connsiteY173" fmla="*/ 4980862 h 6857992"/>
              <a:gd name="connsiteX174" fmla="*/ 5494576 w 12191985"/>
              <a:gd name="connsiteY174" fmla="*/ 4995678 h 6857992"/>
              <a:gd name="connsiteX175" fmla="*/ 5618881 w 12191985"/>
              <a:gd name="connsiteY175" fmla="*/ 4995678 h 6857992"/>
              <a:gd name="connsiteX176" fmla="*/ 5618881 w 12191985"/>
              <a:gd name="connsiteY176" fmla="*/ 4980862 h 6857992"/>
              <a:gd name="connsiteX177" fmla="*/ 5802808 w 12191985"/>
              <a:gd name="connsiteY177" fmla="*/ 4974078 h 6857992"/>
              <a:gd name="connsiteX178" fmla="*/ 5802808 w 12191985"/>
              <a:gd name="connsiteY178" fmla="*/ 4985940 h 6857992"/>
              <a:gd name="connsiteX179" fmla="*/ 5857271 w 12191985"/>
              <a:gd name="connsiteY179" fmla="*/ 4985940 h 6857992"/>
              <a:gd name="connsiteX180" fmla="*/ 5857271 w 12191985"/>
              <a:gd name="connsiteY180" fmla="*/ 4993232 h 6857992"/>
              <a:gd name="connsiteX181" fmla="*/ 5795993 w 12191985"/>
              <a:gd name="connsiteY181" fmla="*/ 4993232 h 6857992"/>
              <a:gd name="connsiteX182" fmla="*/ 5795993 w 12191985"/>
              <a:gd name="connsiteY182" fmla="*/ 5029787 h 6857992"/>
              <a:gd name="connsiteX183" fmla="*/ 5809484 w 12191985"/>
              <a:gd name="connsiteY183" fmla="*/ 5029787 h 6857992"/>
              <a:gd name="connsiteX184" fmla="*/ 5809484 w 12191985"/>
              <a:gd name="connsiteY184" fmla="*/ 5004633 h 6857992"/>
              <a:gd name="connsiteX185" fmla="*/ 5857271 w 12191985"/>
              <a:gd name="connsiteY185" fmla="*/ 5004633 h 6857992"/>
              <a:gd name="connsiteX186" fmla="*/ 5857271 w 12191985"/>
              <a:gd name="connsiteY186" fmla="*/ 5035048 h 6857992"/>
              <a:gd name="connsiteX187" fmla="*/ 5871589 w 12191985"/>
              <a:gd name="connsiteY187" fmla="*/ 5035048 h 6857992"/>
              <a:gd name="connsiteX188" fmla="*/ 5871589 w 12191985"/>
              <a:gd name="connsiteY188" fmla="*/ 5004633 h 6857992"/>
              <a:gd name="connsiteX189" fmla="*/ 5921035 w 12191985"/>
              <a:gd name="connsiteY189" fmla="*/ 5004540 h 6857992"/>
              <a:gd name="connsiteX190" fmla="*/ 5921035 w 12191985"/>
              <a:gd name="connsiteY190" fmla="*/ 5029787 h 6857992"/>
              <a:gd name="connsiteX191" fmla="*/ 5934526 w 12191985"/>
              <a:gd name="connsiteY191" fmla="*/ 5029787 h 6857992"/>
              <a:gd name="connsiteX192" fmla="*/ 5934478 w 12191985"/>
              <a:gd name="connsiteY192" fmla="*/ 4993232 h 6857992"/>
              <a:gd name="connsiteX193" fmla="*/ 5871589 w 12191985"/>
              <a:gd name="connsiteY193" fmla="*/ 4993232 h 6857992"/>
              <a:gd name="connsiteX194" fmla="*/ 5871589 w 12191985"/>
              <a:gd name="connsiteY194" fmla="*/ 4985940 h 6857992"/>
              <a:gd name="connsiteX195" fmla="*/ 5926928 w 12191985"/>
              <a:gd name="connsiteY195" fmla="*/ 4985940 h 6857992"/>
              <a:gd name="connsiteX196" fmla="*/ 5926928 w 12191985"/>
              <a:gd name="connsiteY196" fmla="*/ 4974078 h 6857992"/>
              <a:gd name="connsiteX197" fmla="*/ 6658854 w 12191985"/>
              <a:gd name="connsiteY197" fmla="*/ 4970016 h 6857992"/>
              <a:gd name="connsiteX198" fmla="*/ 6658854 w 12191985"/>
              <a:gd name="connsiteY198" fmla="*/ 5006525 h 6857992"/>
              <a:gd name="connsiteX199" fmla="*/ 6630632 w 12191985"/>
              <a:gd name="connsiteY199" fmla="*/ 5006525 h 6857992"/>
              <a:gd name="connsiteX200" fmla="*/ 6630632 w 12191985"/>
              <a:gd name="connsiteY200" fmla="*/ 5021249 h 6857992"/>
              <a:gd name="connsiteX201" fmla="*/ 6658854 w 12191985"/>
              <a:gd name="connsiteY201" fmla="*/ 5021249 h 6857992"/>
              <a:gd name="connsiteX202" fmla="*/ 6658854 w 12191985"/>
              <a:gd name="connsiteY202" fmla="*/ 5093296 h 6857992"/>
              <a:gd name="connsiteX203" fmla="*/ 6621654 w 12191985"/>
              <a:gd name="connsiteY203" fmla="*/ 5093296 h 6857992"/>
              <a:gd name="connsiteX204" fmla="*/ 6621654 w 12191985"/>
              <a:gd name="connsiteY204" fmla="*/ 5107604 h 6857992"/>
              <a:gd name="connsiteX205" fmla="*/ 6707977 w 12191985"/>
              <a:gd name="connsiteY205" fmla="*/ 5107604 h 6857992"/>
              <a:gd name="connsiteX206" fmla="*/ 6707977 w 12191985"/>
              <a:gd name="connsiteY206" fmla="*/ 5093296 h 6857992"/>
              <a:gd name="connsiteX207" fmla="*/ 6673632 w 12191985"/>
              <a:gd name="connsiteY207" fmla="*/ 5093296 h 6857992"/>
              <a:gd name="connsiteX208" fmla="*/ 6673632 w 12191985"/>
              <a:gd name="connsiteY208" fmla="*/ 5021249 h 6857992"/>
              <a:gd name="connsiteX209" fmla="*/ 6703558 w 12191985"/>
              <a:gd name="connsiteY209" fmla="*/ 5021249 h 6857992"/>
              <a:gd name="connsiteX210" fmla="*/ 6703558 w 12191985"/>
              <a:gd name="connsiteY210" fmla="*/ 5006525 h 6857992"/>
              <a:gd name="connsiteX211" fmla="*/ 6673632 w 12191985"/>
              <a:gd name="connsiteY211" fmla="*/ 5006525 h 6857992"/>
              <a:gd name="connsiteX212" fmla="*/ 6673632 w 12191985"/>
              <a:gd name="connsiteY212" fmla="*/ 4970016 h 6857992"/>
              <a:gd name="connsiteX213" fmla="*/ 5676430 w 12191985"/>
              <a:gd name="connsiteY213" fmla="*/ 4969416 h 6857992"/>
              <a:gd name="connsiteX214" fmla="*/ 5676430 w 12191985"/>
              <a:gd name="connsiteY214" fmla="*/ 4979155 h 6857992"/>
              <a:gd name="connsiteX215" fmla="*/ 5642270 w 12191985"/>
              <a:gd name="connsiteY215" fmla="*/ 4979155 h 6857992"/>
              <a:gd name="connsiteX216" fmla="*/ 5642270 w 12191985"/>
              <a:gd name="connsiteY216" fmla="*/ 4991340 h 6857992"/>
              <a:gd name="connsiteX217" fmla="*/ 5676660 w 12191985"/>
              <a:gd name="connsiteY217" fmla="*/ 4991340 h 6857992"/>
              <a:gd name="connsiteX218" fmla="*/ 5676660 w 12191985"/>
              <a:gd name="connsiteY218" fmla="*/ 5000525 h 6857992"/>
              <a:gd name="connsiteX219" fmla="*/ 5691393 w 12191985"/>
              <a:gd name="connsiteY219" fmla="*/ 5000525 h 6857992"/>
              <a:gd name="connsiteX220" fmla="*/ 5691393 w 12191985"/>
              <a:gd name="connsiteY220" fmla="*/ 4991340 h 6857992"/>
              <a:gd name="connsiteX221" fmla="*/ 5734577 w 12191985"/>
              <a:gd name="connsiteY221" fmla="*/ 4991340 h 6857992"/>
              <a:gd name="connsiteX222" fmla="*/ 5734577 w 12191985"/>
              <a:gd name="connsiteY222" fmla="*/ 5000525 h 6857992"/>
              <a:gd name="connsiteX223" fmla="*/ 5749035 w 12191985"/>
              <a:gd name="connsiteY223" fmla="*/ 5000525 h 6857992"/>
              <a:gd name="connsiteX224" fmla="*/ 5749035 w 12191985"/>
              <a:gd name="connsiteY224" fmla="*/ 4991340 h 6857992"/>
              <a:gd name="connsiteX225" fmla="*/ 5784437 w 12191985"/>
              <a:gd name="connsiteY225" fmla="*/ 4991340 h 6857992"/>
              <a:gd name="connsiteX226" fmla="*/ 5784437 w 12191985"/>
              <a:gd name="connsiteY226" fmla="*/ 4979155 h 6857992"/>
              <a:gd name="connsiteX227" fmla="*/ 5749035 w 12191985"/>
              <a:gd name="connsiteY227" fmla="*/ 4979109 h 6857992"/>
              <a:gd name="connsiteX228" fmla="*/ 5749035 w 12191985"/>
              <a:gd name="connsiteY228" fmla="*/ 4969416 h 6857992"/>
              <a:gd name="connsiteX229" fmla="*/ 5734577 w 12191985"/>
              <a:gd name="connsiteY229" fmla="*/ 4969416 h 6857992"/>
              <a:gd name="connsiteX230" fmla="*/ 5734577 w 12191985"/>
              <a:gd name="connsiteY230" fmla="*/ 4979016 h 6857992"/>
              <a:gd name="connsiteX231" fmla="*/ 5691393 w 12191985"/>
              <a:gd name="connsiteY231" fmla="*/ 4978970 h 6857992"/>
              <a:gd name="connsiteX232" fmla="*/ 5691393 w 12191985"/>
              <a:gd name="connsiteY232" fmla="*/ 4969416 h 6857992"/>
              <a:gd name="connsiteX233" fmla="*/ 6476401 w 12191985"/>
              <a:gd name="connsiteY233" fmla="*/ 4968308 h 6857992"/>
              <a:gd name="connsiteX234" fmla="*/ 6411256 w 12191985"/>
              <a:gd name="connsiteY234" fmla="*/ 5010125 h 6857992"/>
              <a:gd name="connsiteX235" fmla="*/ 6418438 w 12191985"/>
              <a:gd name="connsiteY235" fmla="*/ 5025217 h 6857992"/>
              <a:gd name="connsiteX236" fmla="*/ 6442103 w 12191985"/>
              <a:gd name="connsiteY236" fmla="*/ 5014417 h 6857992"/>
              <a:gd name="connsiteX237" fmla="*/ 6442103 w 12191985"/>
              <a:gd name="connsiteY237" fmla="*/ 5024017 h 6857992"/>
              <a:gd name="connsiteX238" fmla="*/ 6526261 w 12191985"/>
              <a:gd name="connsiteY238" fmla="*/ 5024017 h 6857992"/>
              <a:gd name="connsiteX239" fmla="*/ 6526261 w 12191985"/>
              <a:gd name="connsiteY239" fmla="*/ 5012802 h 6857992"/>
              <a:gd name="connsiteX240" fmla="*/ 6550478 w 12191985"/>
              <a:gd name="connsiteY240" fmla="*/ 5022263 h 6857992"/>
              <a:gd name="connsiteX241" fmla="*/ 6557108 w 12191985"/>
              <a:gd name="connsiteY241" fmla="*/ 5008325 h 6857992"/>
              <a:gd name="connsiteX242" fmla="*/ 6491502 w 12191985"/>
              <a:gd name="connsiteY242" fmla="*/ 4968354 h 6857992"/>
              <a:gd name="connsiteX243" fmla="*/ 6491502 w 12191985"/>
              <a:gd name="connsiteY243" fmla="*/ 4968308 h 6857992"/>
              <a:gd name="connsiteX244" fmla="*/ 6031758 w 12191985"/>
              <a:gd name="connsiteY244" fmla="*/ 4968170 h 6857992"/>
              <a:gd name="connsiteX245" fmla="*/ 6034935 w 12191985"/>
              <a:gd name="connsiteY245" fmla="*/ 5033110 h 6857992"/>
              <a:gd name="connsiteX246" fmla="*/ 6028212 w 12191985"/>
              <a:gd name="connsiteY246" fmla="*/ 5013494 h 6857992"/>
              <a:gd name="connsiteX247" fmla="*/ 6018591 w 12191985"/>
              <a:gd name="connsiteY247" fmla="*/ 5015895 h 6857992"/>
              <a:gd name="connsiteX248" fmla="*/ 6020755 w 12191985"/>
              <a:gd name="connsiteY248" fmla="*/ 5024618 h 6857992"/>
              <a:gd name="connsiteX249" fmla="*/ 6008692 w 12191985"/>
              <a:gd name="connsiteY249" fmla="*/ 5025864 h 6857992"/>
              <a:gd name="connsiteX250" fmla="*/ 6030975 w 12191985"/>
              <a:gd name="connsiteY250" fmla="*/ 4994894 h 6857992"/>
              <a:gd name="connsiteX251" fmla="*/ 6020432 w 12191985"/>
              <a:gd name="connsiteY251" fmla="*/ 4989447 h 6857992"/>
              <a:gd name="connsiteX252" fmla="*/ 6010442 w 12191985"/>
              <a:gd name="connsiteY252" fmla="*/ 5005279 h 6857992"/>
              <a:gd name="connsiteX253" fmla="*/ 6005976 w 12191985"/>
              <a:gd name="connsiteY253" fmla="*/ 5000109 h 6857992"/>
              <a:gd name="connsiteX254" fmla="*/ 6019375 w 12191985"/>
              <a:gd name="connsiteY254" fmla="*/ 4975601 h 6857992"/>
              <a:gd name="connsiteX255" fmla="*/ 6007635 w 12191985"/>
              <a:gd name="connsiteY255" fmla="*/ 4971170 h 6857992"/>
              <a:gd name="connsiteX256" fmla="*/ 5997413 w 12191985"/>
              <a:gd name="connsiteY256" fmla="*/ 4991432 h 6857992"/>
              <a:gd name="connsiteX257" fmla="*/ 5993363 w 12191985"/>
              <a:gd name="connsiteY257" fmla="*/ 4988248 h 6857992"/>
              <a:gd name="connsiteX258" fmla="*/ 5986088 w 12191985"/>
              <a:gd name="connsiteY258" fmla="*/ 4998632 h 6857992"/>
              <a:gd name="connsiteX259" fmla="*/ 5978583 w 12191985"/>
              <a:gd name="connsiteY259" fmla="*/ 4998632 h 6857992"/>
              <a:gd name="connsiteX260" fmla="*/ 5978583 w 12191985"/>
              <a:gd name="connsiteY260" fmla="*/ 4968263 h 6857992"/>
              <a:gd name="connsiteX261" fmla="*/ 5965093 w 12191985"/>
              <a:gd name="connsiteY261" fmla="*/ 4968263 h 6857992"/>
              <a:gd name="connsiteX262" fmla="*/ 5965093 w 12191985"/>
              <a:gd name="connsiteY262" fmla="*/ 4998725 h 6857992"/>
              <a:gd name="connsiteX263" fmla="*/ 5949394 w 12191985"/>
              <a:gd name="connsiteY263" fmla="*/ 4998725 h 6857992"/>
              <a:gd name="connsiteX264" fmla="*/ 5949394 w 12191985"/>
              <a:gd name="connsiteY264" fmla="*/ 5012848 h 6857992"/>
              <a:gd name="connsiteX265" fmla="*/ 5965093 w 12191985"/>
              <a:gd name="connsiteY265" fmla="*/ 5012848 h 6857992"/>
              <a:gd name="connsiteX266" fmla="*/ 5944928 w 12191985"/>
              <a:gd name="connsiteY266" fmla="*/ 5057065 h 6857992"/>
              <a:gd name="connsiteX267" fmla="*/ 5951006 w 12191985"/>
              <a:gd name="connsiteY267" fmla="*/ 5074465 h 6857992"/>
              <a:gd name="connsiteX268" fmla="*/ 5965140 w 12191985"/>
              <a:gd name="connsiteY268" fmla="*/ 5045202 h 6857992"/>
              <a:gd name="connsiteX269" fmla="*/ 5965969 w 12191985"/>
              <a:gd name="connsiteY269" fmla="*/ 5042341 h 6857992"/>
              <a:gd name="connsiteX270" fmla="*/ 5965140 w 12191985"/>
              <a:gd name="connsiteY270" fmla="*/ 5053972 h 6857992"/>
              <a:gd name="connsiteX271" fmla="*/ 5965140 w 12191985"/>
              <a:gd name="connsiteY271" fmla="*/ 5116096 h 6857992"/>
              <a:gd name="connsiteX272" fmla="*/ 5978629 w 12191985"/>
              <a:gd name="connsiteY272" fmla="*/ 5116096 h 6857992"/>
              <a:gd name="connsiteX273" fmla="*/ 5978629 w 12191985"/>
              <a:gd name="connsiteY273" fmla="*/ 5044141 h 6857992"/>
              <a:gd name="connsiteX274" fmla="*/ 5977709 w 12191985"/>
              <a:gd name="connsiteY274" fmla="*/ 5031356 h 6857992"/>
              <a:gd name="connsiteX275" fmla="*/ 5986363 w 12191985"/>
              <a:gd name="connsiteY275" fmla="*/ 5047741 h 6857992"/>
              <a:gd name="connsiteX276" fmla="*/ 5992211 w 12191985"/>
              <a:gd name="connsiteY276" fmla="*/ 5038233 h 6857992"/>
              <a:gd name="connsiteX277" fmla="*/ 6022090 w 12191985"/>
              <a:gd name="connsiteY277" fmla="*/ 5035280 h 6857992"/>
              <a:gd name="connsiteX278" fmla="*/ 6024209 w 12191985"/>
              <a:gd name="connsiteY278" fmla="*/ 5041095 h 6857992"/>
              <a:gd name="connsiteX279" fmla="*/ 6035533 w 12191985"/>
              <a:gd name="connsiteY279" fmla="*/ 5036618 h 6857992"/>
              <a:gd name="connsiteX280" fmla="*/ 6036546 w 12191985"/>
              <a:gd name="connsiteY280" fmla="*/ 5044741 h 6857992"/>
              <a:gd name="connsiteX281" fmla="*/ 5988481 w 12191985"/>
              <a:gd name="connsiteY281" fmla="*/ 5044741 h 6857992"/>
              <a:gd name="connsiteX282" fmla="*/ 5988481 w 12191985"/>
              <a:gd name="connsiteY282" fmla="*/ 5057341 h 6857992"/>
              <a:gd name="connsiteX283" fmla="*/ 6001280 w 12191985"/>
              <a:gd name="connsiteY283" fmla="*/ 5057341 h 6857992"/>
              <a:gd name="connsiteX284" fmla="*/ 5983647 w 12191985"/>
              <a:gd name="connsiteY284" fmla="*/ 5101281 h 6857992"/>
              <a:gd name="connsiteX285" fmla="*/ 5993684 w 12191985"/>
              <a:gd name="connsiteY285" fmla="*/ 5113789 h 6857992"/>
              <a:gd name="connsiteX286" fmla="*/ 6012376 w 12191985"/>
              <a:gd name="connsiteY286" fmla="*/ 5078526 h 6857992"/>
              <a:gd name="connsiteX287" fmla="*/ 6028950 w 12191985"/>
              <a:gd name="connsiteY287" fmla="*/ 5090296 h 6857992"/>
              <a:gd name="connsiteX288" fmla="*/ 6036179 w 12191985"/>
              <a:gd name="connsiteY288" fmla="*/ 5078019 h 6857992"/>
              <a:gd name="connsiteX289" fmla="*/ 6015231 w 12191985"/>
              <a:gd name="connsiteY289" fmla="*/ 5063572 h 6857992"/>
              <a:gd name="connsiteX290" fmla="*/ 6015461 w 12191985"/>
              <a:gd name="connsiteY290" fmla="*/ 5057295 h 6857992"/>
              <a:gd name="connsiteX291" fmla="*/ 6038664 w 12191985"/>
              <a:gd name="connsiteY291" fmla="*/ 5057295 h 6857992"/>
              <a:gd name="connsiteX292" fmla="*/ 6047826 w 12191985"/>
              <a:gd name="connsiteY292" fmla="*/ 5083373 h 6857992"/>
              <a:gd name="connsiteX293" fmla="*/ 6015368 w 12191985"/>
              <a:gd name="connsiteY293" fmla="*/ 5099712 h 6857992"/>
              <a:gd name="connsiteX294" fmla="*/ 6023747 w 12191985"/>
              <a:gd name="connsiteY294" fmla="*/ 5113050 h 6857992"/>
              <a:gd name="connsiteX295" fmla="*/ 6055238 w 12191985"/>
              <a:gd name="connsiteY295" fmla="*/ 5096157 h 6857992"/>
              <a:gd name="connsiteX296" fmla="*/ 6067760 w 12191985"/>
              <a:gd name="connsiteY296" fmla="*/ 5109265 h 6857992"/>
              <a:gd name="connsiteX297" fmla="*/ 6087281 w 12191985"/>
              <a:gd name="connsiteY297" fmla="*/ 5108204 h 6857992"/>
              <a:gd name="connsiteX298" fmla="*/ 6096304 w 12191985"/>
              <a:gd name="connsiteY298" fmla="*/ 5091911 h 6857992"/>
              <a:gd name="connsiteX299" fmla="*/ 6085071 w 12191985"/>
              <a:gd name="connsiteY299" fmla="*/ 5079865 h 6857992"/>
              <a:gd name="connsiteX300" fmla="*/ 6079040 w 12191985"/>
              <a:gd name="connsiteY300" fmla="*/ 5093296 h 6857992"/>
              <a:gd name="connsiteX301" fmla="*/ 6079132 w 12191985"/>
              <a:gd name="connsiteY301" fmla="*/ 5093296 h 6857992"/>
              <a:gd name="connsiteX302" fmla="*/ 6069878 w 12191985"/>
              <a:gd name="connsiteY302" fmla="*/ 5091588 h 6857992"/>
              <a:gd name="connsiteX303" fmla="*/ 6066702 w 12191985"/>
              <a:gd name="connsiteY303" fmla="*/ 5086788 h 6857992"/>
              <a:gd name="connsiteX304" fmla="*/ 6082309 w 12191985"/>
              <a:gd name="connsiteY304" fmla="*/ 5067403 h 6857992"/>
              <a:gd name="connsiteX305" fmla="*/ 6070616 w 12191985"/>
              <a:gd name="connsiteY305" fmla="*/ 5058726 h 6857992"/>
              <a:gd name="connsiteX306" fmla="*/ 6059059 w 12191985"/>
              <a:gd name="connsiteY306" fmla="*/ 5074973 h 6857992"/>
              <a:gd name="connsiteX307" fmla="*/ 6052567 w 12191985"/>
              <a:gd name="connsiteY307" fmla="*/ 5057295 h 6857992"/>
              <a:gd name="connsiteX308" fmla="*/ 6093588 w 12191985"/>
              <a:gd name="connsiteY308" fmla="*/ 5057295 h 6857992"/>
              <a:gd name="connsiteX309" fmla="*/ 6093588 w 12191985"/>
              <a:gd name="connsiteY309" fmla="*/ 5044695 h 6857992"/>
              <a:gd name="connsiteX310" fmla="*/ 6078625 w 12191985"/>
              <a:gd name="connsiteY310" fmla="*/ 5044695 h 6857992"/>
              <a:gd name="connsiteX311" fmla="*/ 6073331 w 12191985"/>
              <a:gd name="connsiteY311" fmla="*/ 5033387 h 6857992"/>
              <a:gd name="connsiteX312" fmla="*/ 6082769 w 12191985"/>
              <a:gd name="connsiteY312" fmla="*/ 5032095 h 6857992"/>
              <a:gd name="connsiteX313" fmla="*/ 6085025 w 12191985"/>
              <a:gd name="connsiteY313" fmla="*/ 5037910 h 6857992"/>
              <a:gd name="connsiteX314" fmla="*/ 6095061 w 12191985"/>
              <a:gd name="connsiteY314" fmla="*/ 5033941 h 6857992"/>
              <a:gd name="connsiteX315" fmla="*/ 6087557 w 12191985"/>
              <a:gd name="connsiteY315" fmla="*/ 5011187 h 6857992"/>
              <a:gd name="connsiteX316" fmla="*/ 6077566 w 12191985"/>
              <a:gd name="connsiteY316" fmla="*/ 5014510 h 6857992"/>
              <a:gd name="connsiteX317" fmla="*/ 6080145 w 12191985"/>
              <a:gd name="connsiteY317" fmla="*/ 5022172 h 6857992"/>
              <a:gd name="connsiteX318" fmla="*/ 6067346 w 12191985"/>
              <a:gd name="connsiteY318" fmla="*/ 5023556 h 6857992"/>
              <a:gd name="connsiteX319" fmla="*/ 6090412 w 12191985"/>
              <a:gd name="connsiteY319" fmla="*/ 4994386 h 6857992"/>
              <a:gd name="connsiteX320" fmla="*/ 6080145 w 12191985"/>
              <a:gd name="connsiteY320" fmla="*/ 4988432 h 6857992"/>
              <a:gd name="connsiteX321" fmla="*/ 6070016 w 12191985"/>
              <a:gd name="connsiteY321" fmla="*/ 5002463 h 6857992"/>
              <a:gd name="connsiteX322" fmla="*/ 6065366 w 12191985"/>
              <a:gd name="connsiteY322" fmla="*/ 4996971 h 6857992"/>
              <a:gd name="connsiteX323" fmla="*/ 6078902 w 12191985"/>
              <a:gd name="connsiteY323" fmla="*/ 4975094 h 6857992"/>
              <a:gd name="connsiteX324" fmla="*/ 6066978 w 12191985"/>
              <a:gd name="connsiteY324" fmla="*/ 4970016 h 6857992"/>
              <a:gd name="connsiteX325" fmla="*/ 6057770 w 12191985"/>
              <a:gd name="connsiteY325" fmla="*/ 4987555 h 6857992"/>
              <a:gd name="connsiteX326" fmla="*/ 6053903 w 12191985"/>
              <a:gd name="connsiteY326" fmla="*/ 4983909 h 6857992"/>
              <a:gd name="connsiteX327" fmla="*/ 6045984 w 12191985"/>
              <a:gd name="connsiteY327" fmla="*/ 4992909 h 6857992"/>
              <a:gd name="connsiteX328" fmla="*/ 6045247 w 12191985"/>
              <a:gd name="connsiteY328" fmla="*/ 4968170 h 6857992"/>
              <a:gd name="connsiteX329" fmla="*/ 6589242 w 12191985"/>
              <a:gd name="connsiteY329" fmla="*/ 4968078 h 6857992"/>
              <a:gd name="connsiteX330" fmla="*/ 6589242 w 12191985"/>
              <a:gd name="connsiteY330" fmla="*/ 4992863 h 6857992"/>
              <a:gd name="connsiteX331" fmla="*/ 6565808 w 12191985"/>
              <a:gd name="connsiteY331" fmla="*/ 4992863 h 6857992"/>
              <a:gd name="connsiteX332" fmla="*/ 6565808 w 12191985"/>
              <a:gd name="connsiteY332" fmla="*/ 5007495 h 6857992"/>
              <a:gd name="connsiteX333" fmla="*/ 6609822 w 12191985"/>
              <a:gd name="connsiteY333" fmla="*/ 5007495 h 6857992"/>
              <a:gd name="connsiteX334" fmla="*/ 6562079 w 12191985"/>
              <a:gd name="connsiteY334" fmla="*/ 5061219 h 6857992"/>
              <a:gd name="connsiteX335" fmla="*/ 6568571 w 12191985"/>
              <a:gd name="connsiteY335" fmla="*/ 5076450 h 6857992"/>
              <a:gd name="connsiteX336" fmla="*/ 6590715 w 12191985"/>
              <a:gd name="connsiteY336" fmla="*/ 5056834 h 6857992"/>
              <a:gd name="connsiteX337" fmla="*/ 6590715 w 12191985"/>
              <a:gd name="connsiteY337" fmla="*/ 5114251 h 6857992"/>
              <a:gd name="connsiteX338" fmla="*/ 6604481 w 12191985"/>
              <a:gd name="connsiteY338" fmla="*/ 5114251 h 6857992"/>
              <a:gd name="connsiteX339" fmla="*/ 6604481 w 12191985"/>
              <a:gd name="connsiteY339" fmla="*/ 5049495 h 6857992"/>
              <a:gd name="connsiteX340" fmla="*/ 6626257 w 12191985"/>
              <a:gd name="connsiteY340" fmla="*/ 5069204 h 6857992"/>
              <a:gd name="connsiteX341" fmla="*/ 6634867 w 12191985"/>
              <a:gd name="connsiteY341" fmla="*/ 5057295 h 6857992"/>
              <a:gd name="connsiteX342" fmla="*/ 6634913 w 12191985"/>
              <a:gd name="connsiteY342" fmla="*/ 5057295 h 6857992"/>
              <a:gd name="connsiteX343" fmla="*/ 6609638 w 12191985"/>
              <a:gd name="connsiteY343" fmla="*/ 5034541 h 6857992"/>
              <a:gd name="connsiteX344" fmla="*/ 6625705 w 12191985"/>
              <a:gd name="connsiteY344" fmla="*/ 5006294 h 6857992"/>
              <a:gd name="connsiteX345" fmla="*/ 6625705 w 12191985"/>
              <a:gd name="connsiteY345" fmla="*/ 4992956 h 6857992"/>
              <a:gd name="connsiteX346" fmla="*/ 6604113 w 12191985"/>
              <a:gd name="connsiteY346" fmla="*/ 4992956 h 6857992"/>
              <a:gd name="connsiteX347" fmla="*/ 6604113 w 12191985"/>
              <a:gd name="connsiteY347" fmla="*/ 4968078 h 6857992"/>
              <a:gd name="connsiteX348" fmla="*/ 6377233 w 12191985"/>
              <a:gd name="connsiteY348" fmla="*/ 4967985 h 6857992"/>
              <a:gd name="connsiteX349" fmla="*/ 6365171 w 12191985"/>
              <a:gd name="connsiteY349" fmla="*/ 4974401 h 6857992"/>
              <a:gd name="connsiteX350" fmla="*/ 6379304 w 12191985"/>
              <a:gd name="connsiteY350" fmla="*/ 4993647 h 6857992"/>
              <a:gd name="connsiteX351" fmla="*/ 6358909 w 12191985"/>
              <a:gd name="connsiteY351" fmla="*/ 4993740 h 6857992"/>
              <a:gd name="connsiteX352" fmla="*/ 6358357 w 12191985"/>
              <a:gd name="connsiteY352" fmla="*/ 4968262 h 6857992"/>
              <a:gd name="connsiteX353" fmla="*/ 6342565 w 12191985"/>
              <a:gd name="connsiteY353" fmla="*/ 4968262 h 6857992"/>
              <a:gd name="connsiteX354" fmla="*/ 6343256 w 12191985"/>
              <a:gd name="connsiteY354" fmla="*/ 4993693 h 6857992"/>
              <a:gd name="connsiteX355" fmla="*/ 6260432 w 12191985"/>
              <a:gd name="connsiteY355" fmla="*/ 4993693 h 6857992"/>
              <a:gd name="connsiteX356" fmla="*/ 6260432 w 12191985"/>
              <a:gd name="connsiteY356" fmla="*/ 5008786 h 6857992"/>
              <a:gd name="connsiteX357" fmla="*/ 6344223 w 12191985"/>
              <a:gd name="connsiteY357" fmla="*/ 5008786 h 6857992"/>
              <a:gd name="connsiteX358" fmla="*/ 6350852 w 12191985"/>
              <a:gd name="connsiteY358" fmla="*/ 5060757 h 6857992"/>
              <a:gd name="connsiteX359" fmla="*/ 6370281 w 12191985"/>
              <a:gd name="connsiteY359" fmla="*/ 5108112 h 6857992"/>
              <a:gd name="connsiteX360" fmla="*/ 6393301 w 12191985"/>
              <a:gd name="connsiteY360" fmla="*/ 5106358 h 6857992"/>
              <a:gd name="connsiteX361" fmla="*/ 6403981 w 12191985"/>
              <a:gd name="connsiteY361" fmla="*/ 5080696 h 6857992"/>
              <a:gd name="connsiteX362" fmla="*/ 6392195 w 12191985"/>
              <a:gd name="connsiteY362" fmla="*/ 5065188 h 6857992"/>
              <a:gd name="connsiteX363" fmla="*/ 6385474 w 12191985"/>
              <a:gd name="connsiteY363" fmla="*/ 5086973 h 6857992"/>
              <a:gd name="connsiteX364" fmla="*/ 6385474 w 12191985"/>
              <a:gd name="connsiteY364" fmla="*/ 5086927 h 6857992"/>
              <a:gd name="connsiteX365" fmla="*/ 6374609 w 12191985"/>
              <a:gd name="connsiteY365" fmla="*/ 5086465 h 6857992"/>
              <a:gd name="connsiteX366" fmla="*/ 6364388 w 12191985"/>
              <a:gd name="connsiteY366" fmla="*/ 5052541 h 6857992"/>
              <a:gd name="connsiteX367" fmla="*/ 6359554 w 12191985"/>
              <a:gd name="connsiteY367" fmla="*/ 5009017 h 6857992"/>
              <a:gd name="connsiteX368" fmla="*/ 6398733 w 12191985"/>
              <a:gd name="connsiteY368" fmla="*/ 5008740 h 6857992"/>
              <a:gd name="connsiteX369" fmla="*/ 6398733 w 12191985"/>
              <a:gd name="connsiteY369" fmla="*/ 4993647 h 6857992"/>
              <a:gd name="connsiteX370" fmla="*/ 6382757 w 12191985"/>
              <a:gd name="connsiteY370" fmla="*/ 4993647 h 6857992"/>
              <a:gd name="connsiteX371" fmla="*/ 6393485 w 12191985"/>
              <a:gd name="connsiteY371" fmla="*/ 4986632 h 6857992"/>
              <a:gd name="connsiteX372" fmla="*/ 6377233 w 12191985"/>
              <a:gd name="connsiteY372" fmla="*/ 4967985 h 6857992"/>
              <a:gd name="connsiteX373" fmla="*/ 6196899 w 12191985"/>
              <a:gd name="connsiteY373" fmla="*/ 4967985 h 6857992"/>
              <a:gd name="connsiteX374" fmla="*/ 6196899 w 12191985"/>
              <a:gd name="connsiteY374" fmla="*/ 4992724 h 6857992"/>
              <a:gd name="connsiteX375" fmla="*/ 6181937 w 12191985"/>
              <a:gd name="connsiteY375" fmla="*/ 4992724 h 6857992"/>
              <a:gd name="connsiteX376" fmla="*/ 6186494 w 12191985"/>
              <a:gd name="connsiteY376" fmla="*/ 4975555 h 6857992"/>
              <a:gd name="connsiteX377" fmla="*/ 6172728 w 12191985"/>
              <a:gd name="connsiteY377" fmla="*/ 4972278 h 6857992"/>
              <a:gd name="connsiteX378" fmla="*/ 6157029 w 12191985"/>
              <a:gd name="connsiteY378" fmla="*/ 5011232 h 6857992"/>
              <a:gd name="connsiteX379" fmla="*/ 6157029 w 12191985"/>
              <a:gd name="connsiteY379" fmla="*/ 4999001 h 6857992"/>
              <a:gd name="connsiteX380" fmla="*/ 6143402 w 12191985"/>
              <a:gd name="connsiteY380" fmla="*/ 4999001 h 6857992"/>
              <a:gd name="connsiteX381" fmla="*/ 6143402 w 12191985"/>
              <a:gd name="connsiteY381" fmla="*/ 4968216 h 6857992"/>
              <a:gd name="connsiteX382" fmla="*/ 6129130 w 12191985"/>
              <a:gd name="connsiteY382" fmla="*/ 4968216 h 6857992"/>
              <a:gd name="connsiteX383" fmla="*/ 6129130 w 12191985"/>
              <a:gd name="connsiteY383" fmla="*/ 4999001 h 6857992"/>
              <a:gd name="connsiteX384" fmla="*/ 6106110 w 12191985"/>
              <a:gd name="connsiteY384" fmla="*/ 4999001 h 6857992"/>
              <a:gd name="connsiteX385" fmla="*/ 6106110 w 12191985"/>
              <a:gd name="connsiteY385" fmla="*/ 5012986 h 6857992"/>
              <a:gd name="connsiteX386" fmla="*/ 6127933 w 12191985"/>
              <a:gd name="connsiteY386" fmla="*/ 5012986 h 6857992"/>
              <a:gd name="connsiteX387" fmla="*/ 6102427 w 12191985"/>
              <a:gd name="connsiteY387" fmla="*/ 5059418 h 6857992"/>
              <a:gd name="connsiteX388" fmla="*/ 6108965 w 12191985"/>
              <a:gd name="connsiteY388" fmla="*/ 5074741 h 6857992"/>
              <a:gd name="connsiteX389" fmla="*/ 6130051 w 12191985"/>
              <a:gd name="connsiteY389" fmla="*/ 5038325 h 6857992"/>
              <a:gd name="connsiteX390" fmla="*/ 6129176 w 12191985"/>
              <a:gd name="connsiteY390" fmla="*/ 5050695 h 6857992"/>
              <a:gd name="connsiteX391" fmla="*/ 6129176 w 12191985"/>
              <a:gd name="connsiteY391" fmla="*/ 5116189 h 6857992"/>
              <a:gd name="connsiteX392" fmla="*/ 6143448 w 12191985"/>
              <a:gd name="connsiteY392" fmla="*/ 5116189 h 6857992"/>
              <a:gd name="connsiteX393" fmla="*/ 6143448 w 12191985"/>
              <a:gd name="connsiteY393" fmla="*/ 5044741 h 6857992"/>
              <a:gd name="connsiteX394" fmla="*/ 6142573 w 12191985"/>
              <a:gd name="connsiteY394" fmla="*/ 5032556 h 6857992"/>
              <a:gd name="connsiteX395" fmla="*/ 6156707 w 12191985"/>
              <a:gd name="connsiteY395" fmla="*/ 5056279 h 6857992"/>
              <a:gd name="connsiteX396" fmla="*/ 6164211 w 12191985"/>
              <a:gd name="connsiteY396" fmla="*/ 5043449 h 6857992"/>
              <a:gd name="connsiteX397" fmla="*/ 6161173 w 12191985"/>
              <a:gd name="connsiteY397" fmla="*/ 5040402 h 6857992"/>
              <a:gd name="connsiteX398" fmla="*/ 6192341 w 12191985"/>
              <a:gd name="connsiteY398" fmla="*/ 5040402 h 6857992"/>
              <a:gd name="connsiteX399" fmla="*/ 6150538 w 12191985"/>
              <a:gd name="connsiteY399" fmla="*/ 5090896 h 6857992"/>
              <a:gd name="connsiteX400" fmla="*/ 6160068 w 12191985"/>
              <a:gd name="connsiteY400" fmla="*/ 5102988 h 6857992"/>
              <a:gd name="connsiteX401" fmla="*/ 6196991 w 12191985"/>
              <a:gd name="connsiteY401" fmla="*/ 5057941 h 6857992"/>
              <a:gd name="connsiteX402" fmla="*/ 6196991 w 12191985"/>
              <a:gd name="connsiteY402" fmla="*/ 5115773 h 6857992"/>
              <a:gd name="connsiteX403" fmla="*/ 6210711 w 12191985"/>
              <a:gd name="connsiteY403" fmla="*/ 5115773 h 6857992"/>
              <a:gd name="connsiteX404" fmla="*/ 6210711 w 12191985"/>
              <a:gd name="connsiteY404" fmla="*/ 5057157 h 6857992"/>
              <a:gd name="connsiteX405" fmla="*/ 6245562 w 12191985"/>
              <a:gd name="connsiteY405" fmla="*/ 5101373 h 6857992"/>
              <a:gd name="connsiteX406" fmla="*/ 6254401 w 12191985"/>
              <a:gd name="connsiteY406" fmla="*/ 5087342 h 6857992"/>
              <a:gd name="connsiteX407" fmla="*/ 6214716 w 12191985"/>
              <a:gd name="connsiteY407" fmla="*/ 5039987 h 6857992"/>
              <a:gd name="connsiteX408" fmla="*/ 6214624 w 12191985"/>
              <a:gd name="connsiteY408" fmla="*/ 5039941 h 6857992"/>
              <a:gd name="connsiteX409" fmla="*/ 6250902 w 12191985"/>
              <a:gd name="connsiteY409" fmla="*/ 5039941 h 6857992"/>
              <a:gd name="connsiteX410" fmla="*/ 6250902 w 12191985"/>
              <a:gd name="connsiteY410" fmla="*/ 5026418 h 6857992"/>
              <a:gd name="connsiteX411" fmla="*/ 6210619 w 12191985"/>
              <a:gd name="connsiteY411" fmla="*/ 5026418 h 6857992"/>
              <a:gd name="connsiteX412" fmla="*/ 6210619 w 12191985"/>
              <a:gd name="connsiteY412" fmla="*/ 5005971 h 6857992"/>
              <a:gd name="connsiteX413" fmla="*/ 6243767 w 12191985"/>
              <a:gd name="connsiteY413" fmla="*/ 5005971 h 6857992"/>
              <a:gd name="connsiteX414" fmla="*/ 6243767 w 12191985"/>
              <a:gd name="connsiteY414" fmla="*/ 4992678 h 6857992"/>
              <a:gd name="connsiteX415" fmla="*/ 6210619 w 12191985"/>
              <a:gd name="connsiteY415" fmla="*/ 4992678 h 6857992"/>
              <a:gd name="connsiteX416" fmla="*/ 6210619 w 12191985"/>
              <a:gd name="connsiteY416" fmla="*/ 4967985 h 6857992"/>
              <a:gd name="connsiteX417" fmla="*/ 2918470 w 12191985"/>
              <a:gd name="connsiteY417" fmla="*/ 3507229 h 6857992"/>
              <a:gd name="connsiteX418" fmla="*/ 2918470 w 12191985"/>
              <a:gd name="connsiteY418" fmla="*/ 3525229 h 6857992"/>
              <a:gd name="connsiteX419" fmla="*/ 9273498 w 12191985"/>
              <a:gd name="connsiteY419" fmla="*/ 3525229 h 6857992"/>
              <a:gd name="connsiteX420" fmla="*/ 9273498 w 12191985"/>
              <a:gd name="connsiteY420" fmla="*/ 3507229 h 6857992"/>
              <a:gd name="connsiteX421" fmla="*/ 10228132 w 12191985"/>
              <a:gd name="connsiteY421" fmla="*/ 529486 h 6857992"/>
              <a:gd name="connsiteX422" fmla="*/ 10228070 w 12191985"/>
              <a:gd name="connsiteY422" fmla="*/ 529613 h 6857992"/>
              <a:gd name="connsiteX423" fmla="*/ 10228070 w 12191985"/>
              <a:gd name="connsiteY423" fmla="*/ 529524 h 6857992"/>
              <a:gd name="connsiteX424" fmla="*/ 10099007 w 12191985"/>
              <a:gd name="connsiteY424" fmla="*/ 529486 h 6857992"/>
              <a:gd name="connsiteX425" fmla="*/ 10098945 w 12191985"/>
              <a:gd name="connsiteY425" fmla="*/ 529613 h 6857992"/>
              <a:gd name="connsiteX426" fmla="*/ 10098945 w 12191985"/>
              <a:gd name="connsiteY426" fmla="*/ 529525 h 6857992"/>
              <a:gd name="connsiteX427" fmla="*/ 9514660 w 12191985"/>
              <a:gd name="connsiteY427" fmla="*/ 529485 h 6857992"/>
              <a:gd name="connsiteX428" fmla="*/ 9514596 w 12191985"/>
              <a:gd name="connsiteY428" fmla="*/ 529614 h 6857992"/>
              <a:gd name="connsiteX429" fmla="*/ 9514596 w 12191985"/>
              <a:gd name="connsiteY429" fmla="*/ 529525 h 6857992"/>
              <a:gd name="connsiteX430" fmla="*/ 9931562 w 12191985"/>
              <a:gd name="connsiteY430" fmla="*/ 529407 h 6857992"/>
              <a:gd name="connsiteX431" fmla="*/ 9931462 w 12191985"/>
              <a:gd name="connsiteY431" fmla="*/ 529613 h 6857992"/>
              <a:gd name="connsiteX432" fmla="*/ 9931374 w 12191985"/>
              <a:gd name="connsiteY432" fmla="*/ 529525 h 6857992"/>
              <a:gd name="connsiteX433" fmla="*/ 10031619 w 12191985"/>
              <a:gd name="connsiteY433" fmla="*/ 520397 h 6857992"/>
              <a:gd name="connsiteX434" fmla="*/ 10051282 w 12191985"/>
              <a:gd name="connsiteY434" fmla="*/ 533827 h 6857992"/>
              <a:gd name="connsiteX435" fmla="*/ 10031882 w 12191985"/>
              <a:gd name="connsiteY435" fmla="*/ 546905 h 6857992"/>
              <a:gd name="connsiteX436" fmla="*/ 10023895 w 12191985"/>
              <a:gd name="connsiteY436" fmla="*/ 546028 h 6857992"/>
              <a:gd name="connsiteX437" fmla="*/ 9526096 w 12191985"/>
              <a:gd name="connsiteY437" fmla="*/ 516710 h 6857992"/>
              <a:gd name="connsiteX438" fmla="*/ 9529256 w 12191985"/>
              <a:gd name="connsiteY438" fmla="*/ 520309 h 6857992"/>
              <a:gd name="connsiteX439" fmla="*/ 9514660 w 12191985"/>
              <a:gd name="connsiteY439" fmla="*/ 529485 h 6857992"/>
              <a:gd name="connsiteX440" fmla="*/ 9518722 w 12191985"/>
              <a:gd name="connsiteY440" fmla="*/ 521275 h 6857992"/>
              <a:gd name="connsiteX441" fmla="*/ 9526096 w 12191985"/>
              <a:gd name="connsiteY441" fmla="*/ 516710 h 6857992"/>
              <a:gd name="connsiteX442" fmla="*/ 10239481 w 12191985"/>
              <a:gd name="connsiteY442" fmla="*/ 516709 h 6857992"/>
              <a:gd name="connsiteX443" fmla="*/ 10242728 w 12191985"/>
              <a:gd name="connsiteY443" fmla="*/ 520308 h 6857992"/>
              <a:gd name="connsiteX444" fmla="*/ 10228132 w 12191985"/>
              <a:gd name="connsiteY444" fmla="*/ 529486 h 6857992"/>
              <a:gd name="connsiteX445" fmla="*/ 10232107 w 12191985"/>
              <a:gd name="connsiteY445" fmla="*/ 521274 h 6857992"/>
              <a:gd name="connsiteX446" fmla="*/ 10239481 w 12191985"/>
              <a:gd name="connsiteY446" fmla="*/ 516709 h 6857992"/>
              <a:gd name="connsiteX447" fmla="*/ 10110356 w 12191985"/>
              <a:gd name="connsiteY447" fmla="*/ 516709 h 6857992"/>
              <a:gd name="connsiteX448" fmla="*/ 10113605 w 12191985"/>
              <a:gd name="connsiteY448" fmla="*/ 520308 h 6857992"/>
              <a:gd name="connsiteX449" fmla="*/ 10099007 w 12191985"/>
              <a:gd name="connsiteY449" fmla="*/ 529486 h 6857992"/>
              <a:gd name="connsiteX450" fmla="*/ 10102983 w 12191985"/>
              <a:gd name="connsiteY450" fmla="*/ 521274 h 6857992"/>
              <a:gd name="connsiteX451" fmla="*/ 10110356 w 12191985"/>
              <a:gd name="connsiteY451" fmla="*/ 516709 h 6857992"/>
              <a:gd name="connsiteX452" fmla="*/ 9942874 w 12191985"/>
              <a:gd name="connsiteY452" fmla="*/ 516709 h 6857992"/>
              <a:gd name="connsiteX453" fmla="*/ 9946034 w 12191985"/>
              <a:gd name="connsiteY453" fmla="*/ 520308 h 6857992"/>
              <a:gd name="connsiteX454" fmla="*/ 9931562 w 12191985"/>
              <a:gd name="connsiteY454" fmla="*/ 529407 h 6857992"/>
              <a:gd name="connsiteX455" fmla="*/ 9935500 w 12191985"/>
              <a:gd name="connsiteY455" fmla="*/ 521274 h 6857992"/>
              <a:gd name="connsiteX456" fmla="*/ 9942874 w 12191985"/>
              <a:gd name="connsiteY456" fmla="*/ 516709 h 6857992"/>
              <a:gd name="connsiteX457" fmla="*/ 9704199 w 12191985"/>
              <a:gd name="connsiteY457" fmla="*/ 516095 h 6857992"/>
              <a:gd name="connsiteX458" fmla="*/ 9709203 w 12191985"/>
              <a:gd name="connsiteY458" fmla="*/ 518905 h 6857992"/>
              <a:gd name="connsiteX459" fmla="*/ 9709993 w 12191985"/>
              <a:gd name="connsiteY459" fmla="*/ 525225 h 6857992"/>
              <a:gd name="connsiteX460" fmla="*/ 9705428 w 12191985"/>
              <a:gd name="connsiteY460" fmla="*/ 539182 h 6857992"/>
              <a:gd name="connsiteX461" fmla="*/ 9705516 w 12191985"/>
              <a:gd name="connsiteY461" fmla="*/ 539269 h 6857992"/>
              <a:gd name="connsiteX462" fmla="*/ 9694193 w 12191985"/>
              <a:gd name="connsiteY462" fmla="*/ 547170 h 6857992"/>
              <a:gd name="connsiteX463" fmla="*/ 9689277 w 12191985"/>
              <a:gd name="connsiteY463" fmla="*/ 544185 h 6857992"/>
              <a:gd name="connsiteX464" fmla="*/ 9688399 w 12191985"/>
              <a:gd name="connsiteY464" fmla="*/ 537953 h 6857992"/>
              <a:gd name="connsiteX465" fmla="*/ 9692876 w 12191985"/>
              <a:gd name="connsiteY465" fmla="*/ 523908 h 6857992"/>
              <a:gd name="connsiteX466" fmla="*/ 9704199 w 12191985"/>
              <a:gd name="connsiteY466" fmla="*/ 516095 h 6857992"/>
              <a:gd name="connsiteX467" fmla="*/ 9468774 w 12191985"/>
              <a:gd name="connsiteY467" fmla="*/ 515832 h 6857992"/>
              <a:gd name="connsiteX468" fmla="*/ 9474041 w 12191985"/>
              <a:gd name="connsiteY468" fmla="*/ 517061 h 6857992"/>
              <a:gd name="connsiteX469" fmla="*/ 9472549 w 12191985"/>
              <a:gd name="connsiteY469" fmla="*/ 522328 h 6857992"/>
              <a:gd name="connsiteX470" fmla="*/ 9472460 w 12191985"/>
              <a:gd name="connsiteY470" fmla="*/ 522328 h 6857992"/>
              <a:gd name="connsiteX471" fmla="*/ 9464034 w 12191985"/>
              <a:gd name="connsiteY471" fmla="*/ 533564 h 6857992"/>
              <a:gd name="connsiteX472" fmla="*/ 9453940 w 12191985"/>
              <a:gd name="connsiteY472" fmla="*/ 541727 h 6857992"/>
              <a:gd name="connsiteX473" fmla="*/ 9452710 w 12191985"/>
              <a:gd name="connsiteY473" fmla="*/ 538831 h 6857992"/>
              <a:gd name="connsiteX474" fmla="*/ 9457714 w 12191985"/>
              <a:gd name="connsiteY474" fmla="*/ 524522 h 6857992"/>
              <a:gd name="connsiteX475" fmla="*/ 9468774 w 12191985"/>
              <a:gd name="connsiteY475" fmla="*/ 515832 h 6857992"/>
              <a:gd name="connsiteX476" fmla="*/ 9348516 w 12191985"/>
              <a:gd name="connsiteY476" fmla="*/ 515832 h 6857992"/>
              <a:gd name="connsiteX477" fmla="*/ 9353958 w 12191985"/>
              <a:gd name="connsiteY477" fmla="*/ 517325 h 6857992"/>
              <a:gd name="connsiteX478" fmla="*/ 9352466 w 12191985"/>
              <a:gd name="connsiteY478" fmla="*/ 522328 h 6857992"/>
              <a:gd name="connsiteX479" fmla="*/ 9344127 w 12191985"/>
              <a:gd name="connsiteY479" fmla="*/ 533477 h 6857992"/>
              <a:gd name="connsiteX480" fmla="*/ 9333418 w 12191985"/>
              <a:gd name="connsiteY480" fmla="*/ 542781 h 6857992"/>
              <a:gd name="connsiteX481" fmla="*/ 9331750 w 12191985"/>
              <a:gd name="connsiteY481" fmla="*/ 539884 h 6857992"/>
              <a:gd name="connsiteX482" fmla="*/ 9336929 w 12191985"/>
              <a:gd name="connsiteY482" fmla="*/ 524961 h 6857992"/>
              <a:gd name="connsiteX483" fmla="*/ 9348516 w 12191985"/>
              <a:gd name="connsiteY483" fmla="*/ 515832 h 6857992"/>
              <a:gd name="connsiteX484" fmla="*/ 9532942 w 12191985"/>
              <a:gd name="connsiteY484" fmla="*/ 505562 h 6857992"/>
              <a:gd name="connsiteX485" fmla="*/ 9507838 w 12191985"/>
              <a:gd name="connsiteY485" fmla="*/ 516183 h 6857992"/>
              <a:gd name="connsiteX486" fmla="*/ 9495021 w 12191985"/>
              <a:gd name="connsiteY486" fmla="*/ 540937 h 6857992"/>
              <a:gd name="connsiteX487" fmla="*/ 9500200 w 12191985"/>
              <a:gd name="connsiteY487" fmla="*/ 553753 h 6857992"/>
              <a:gd name="connsiteX488" fmla="*/ 9513894 w 12191985"/>
              <a:gd name="connsiteY488" fmla="*/ 557704 h 6857992"/>
              <a:gd name="connsiteX489" fmla="*/ 9539789 w 12191985"/>
              <a:gd name="connsiteY489" fmla="*/ 552261 h 6857992"/>
              <a:gd name="connsiteX490" fmla="*/ 9543476 w 12191985"/>
              <a:gd name="connsiteY490" fmla="*/ 539884 h 6857992"/>
              <a:gd name="connsiteX491" fmla="*/ 9520565 w 12191985"/>
              <a:gd name="connsiteY491" fmla="*/ 547170 h 6857992"/>
              <a:gd name="connsiteX492" fmla="*/ 9520565 w 12191985"/>
              <a:gd name="connsiteY492" fmla="*/ 547081 h 6857992"/>
              <a:gd name="connsiteX493" fmla="*/ 9512490 w 12191985"/>
              <a:gd name="connsiteY493" fmla="*/ 539533 h 6857992"/>
              <a:gd name="connsiteX494" fmla="*/ 9532942 w 12191985"/>
              <a:gd name="connsiteY494" fmla="*/ 533564 h 6857992"/>
              <a:gd name="connsiteX495" fmla="*/ 9545056 w 12191985"/>
              <a:gd name="connsiteY495" fmla="*/ 516710 h 6857992"/>
              <a:gd name="connsiteX496" fmla="*/ 9541720 w 12191985"/>
              <a:gd name="connsiteY496" fmla="*/ 508283 h 6857992"/>
              <a:gd name="connsiteX497" fmla="*/ 9532942 w 12191985"/>
              <a:gd name="connsiteY497" fmla="*/ 505562 h 6857992"/>
              <a:gd name="connsiteX498" fmla="*/ 9482643 w 12191985"/>
              <a:gd name="connsiteY498" fmla="*/ 505562 h 6857992"/>
              <a:gd name="connsiteX499" fmla="*/ 9471056 w 12191985"/>
              <a:gd name="connsiteY499" fmla="*/ 505825 h 6857992"/>
              <a:gd name="connsiteX500" fmla="*/ 9447180 w 12191985"/>
              <a:gd name="connsiteY500" fmla="*/ 518202 h 6857992"/>
              <a:gd name="connsiteX501" fmla="*/ 9435067 w 12191985"/>
              <a:gd name="connsiteY501" fmla="*/ 543308 h 6857992"/>
              <a:gd name="connsiteX502" fmla="*/ 9437174 w 12191985"/>
              <a:gd name="connsiteY502" fmla="*/ 552348 h 6857992"/>
              <a:gd name="connsiteX503" fmla="*/ 9445249 w 12191985"/>
              <a:gd name="connsiteY503" fmla="*/ 556211 h 6857992"/>
              <a:gd name="connsiteX504" fmla="*/ 9468949 w 12191985"/>
              <a:gd name="connsiteY504" fmla="*/ 535582 h 6857992"/>
              <a:gd name="connsiteX505" fmla="*/ 9471056 w 12191985"/>
              <a:gd name="connsiteY505" fmla="*/ 535582 h 6857992"/>
              <a:gd name="connsiteX506" fmla="*/ 9467370 w 12191985"/>
              <a:gd name="connsiteY506" fmla="*/ 547257 h 6857992"/>
              <a:gd name="connsiteX507" fmla="*/ 9461752 w 12191985"/>
              <a:gd name="connsiteY507" fmla="*/ 559722 h 6857992"/>
              <a:gd name="connsiteX508" fmla="*/ 9451745 w 12191985"/>
              <a:gd name="connsiteY508" fmla="*/ 565516 h 6857992"/>
              <a:gd name="connsiteX509" fmla="*/ 9430941 w 12191985"/>
              <a:gd name="connsiteY509" fmla="*/ 559371 h 6857992"/>
              <a:gd name="connsiteX510" fmla="*/ 9432258 w 12191985"/>
              <a:gd name="connsiteY510" fmla="*/ 574205 h 6857992"/>
              <a:gd name="connsiteX511" fmla="*/ 9448146 w 12191985"/>
              <a:gd name="connsiteY511" fmla="*/ 575610 h 6857992"/>
              <a:gd name="connsiteX512" fmla="*/ 9481414 w 12191985"/>
              <a:gd name="connsiteY512" fmla="*/ 553402 h 6857992"/>
              <a:gd name="connsiteX513" fmla="*/ 9494757 w 12191985"/>
              <a:gd name="connsiteY513" fmla="*/ 505562 h 6857992"/>
              <a:gd name="connsiteX514" fmla="*/ 9482819 w 12191985"/>
              <a:gd name="connsiteY514" fmla="*/ 505562 h 6857992"/>
              <a:gd name="connsiteX515" fmla="*/ 10246503 w 12191985"/>
              <a:gd name="connsiteY515" fmla="*/ 505561 h 6857992"/>
              <a:gd name="connsiteX516" fmla="*/ 10221399 w 12191985"/>
              <a:gd name="connsiteY516" fmla="*/ 516182 h 6857992"/>
              <a:gd name="connsiteX517" fmla="*/ 10208582 w 12191985"/>
              <a:gd name="connsiteY517" fmla="*/ 540936 h 6857992"/>
              <a:gd name="connsiteX518" fmla="*/ 10213761 w 12191985"/>
              <a:gd name="connsiteY518" fmla="*/ 553752 h 6857992"/>
              <a:gd name="connsiteX519" fmla="*/ 10227368 w 12191985"/>
              <a:gd name="connsiteY519" fmla="*/ 557703 h 6857992"/>
              <a:gd name="connsiteX520" fmla="*/ 10253262 w 12191985"/>
              <a:gd name="connsiteY520" fmla="*/ 552260 h 6857992"/>
              <a:gd name="connsiteX521" fmla="*/ 10256862 w 12191985"/>
              <a:gd name="connsiteY521" fmla="*/ 539883 h 6857992"/>
              <a:gd name="connsiteX522" fmla="*/ 10233950 w 12191985"/>
              <a:gd name="connsiteY522" fmla="*/ 547169 h 6857992"/>
              <a:gd name="connsiteX523" fmla="*/ 10234039 w 12191985"/>
              <a:gd name="connsiteY523" fmla="*/ 547081 h 6857992"/>
              <a:gd name="connsiteX524" fmla="*/ 10225963 w 12191985"/>
              <a:gd name="connsiteY524" fmla="*/ 539532 h 6857992"/>
              <a:gd name="connsiteX525" fmla="*/ 10246416 w 12191985"/>
              <a:gd name="connsiteY525" fmla="*/ 533563 h 6857992"/>
              <a:gd name="connsiteX526" fmla="*/ 10258617 w 12191985"/>
              <a:gd name="connsiteY526" fmla="*/ 516709 h 6857992"/>
              <a:gd name="connsiteX527" fmla="*/ 10255281 w 12191985"/>
              <a:gd name="connsiteY527" fmla="*/ 508282 h 6857992"/>
              <a:gd name="connsiteX528" fmla="*/ 10246503 w 12191985"/>
              <a:gd name="connsiteY528" fmla="*/ 505561 h 6857992"/>
              <a:gd name="connsiteX529" fmla="*/ 10117379 w 12191985"/>
              <a:gd name="connsiteY529" fmla="*/ 505561 h 6857992"/>
              <a:gd name="connsiteX530" fmla="*/ 10092098 w 12191985"/>
              <a:gd name="connsiteY530" fmla="*/ 516182 h 6857992"/>
              <a:gd name="connsiteX531" fmla="*/ 10079370 w 12191985"/>
              <a:gd name="connsiteY531" fmla="*/ 540937 h 6857992"/>
              <a:gd name="connsiteX532" fmla="*/ 10084549 w 12191985"/>
              <a:gd name="connsiteY532" fmla="*/ 553752 h 6857992"/>
              <a:gd name="connsiteX533" fmla="*/ 10098156 w 12191985"/>
              <a:gd name="connsiteY533" fmla="*/ 557703 h 6857992"/>
              <a:gd name="connsiteX534" fmla="*/ 10124050 w 12191985"/>
              <a:gd name="connsiteY534" fmla="*/ 552260 h 6857992"/>
              <a:gd name="connsiteX535" fmla="*/ 10127737 w 12191985"/>
              <a:gd name="connsiteY535" fmla="*/ 539883 h 6857992"/>
              <a:gd name="connsiteX536" fmla="*/ 10104827 w 12191985"/>
              <a:gd name="connsiteY536" fmla="*/ 547169 h 6857992"/>
              <a:gd name="connsiteX537" fmla="*/ 10104914 w 12191985"/>
              <a:gd name="connsiteY537" fmla="*/ 547081 h 6857992"/>
              <a:gd name="connsiteX538" fmla="*/ 10096839 w 12191985"/>
              <a:gd name="connsiteY538" fmla="*/ 539532 h 6857992"/>
              <a:gd name="connsiteX539" fmla="*/ 10117291 w 12191985"/>
              <a:gd name="connsiteY539" fmla="*/ 533563 h 6857992"/>
              <a:gd name="connsiteX540" fmla="*/ 10129405 w 12191985"/>
              <a:gd name="connsiteY540" fmla="*/ 516709 h 6857992"/>
              <a:gd name="connsiteX541" fmla="*/ 10126069 w 12191985"/>
              <a:gd name="connsiteY541" fmla="*/ 508282 h 6857992"/>
              <a:gd name="connsiteX542" fmla="*/ 10117379 w 12191985"/>
              <a:gd name="connsiteY542" fmla="*/ 505561 h 6857992"/>
              <a:gd name="connsiteX543" fmla="*/ 9949720 w 12191985"/>
              <a:gd name="connsiteY543" fmla="*/ 505561 h 6857992"/>
              <a:gd name="connsiteX544" fmla="*/ 9924616 w 12191985"/>
              <a:gd name="connsiteY544" fmla="*/ 516182 h 6857992"/>
              <a:gd name="connsiteX545" fmla="*/ 9911799 w 12191985"/>
              <a:gd name="connsiteY545" fmla="*/ 540937 h 6857992"/>
              <a:gd name="connsiteX546" fmla="*/ 9916979 w 12191985"/>
              <a:gd name="connsiteY546" fmla="*/ 553752 h 6857992"/>
              <a:gd name="connsiteX547" fmla="*/ 9930672 w 12191985"/>
              <a:gd name="connsiteY547" fmla="*/ 557703 h 6857992"/>
              <a:gd name="connsiteX548" fmla="*/ 9956655 w 12191985"/>
              <a:gd name="connsiteY548" fmla="*/ 552260 h 6857992"/>
              <a:gd name="connsiteX549" fmla="*/ 9960254 w 12191985"/>
              <a:gd name="connsiteY549" fmla="*/ 539883 h 6857992"/>
              <a:gd name="connsiteX550" fmla="*/ 9937344 w 12191985"/>
              <a:gd name="connsiteY550" fmla="*/ 547169 h 6857992"/>
              <a:gd name="connsiteX551" fmla="*/ 9937344 w 12191985"/>
              <a:gd name="connsiteY551" fmla="*/ 547081 h 6857992"/>
              <a:gd name="connsiteX552" fmla="*/ 9929180 w 12191985"/>
              <a:gd name="connsiteY552" fmla="*/ 539532 h 6857992"/>
              <a:gd name="connsiteX553" fmla="*/ 9949720 w 12191985"/>
              <a:gd name="connsiteY553" fmla="*/ 533563 h 6857992"/>
              <a:gd name="connsiteX554" fmla="*/ 9961834 w 12191985"/>
              <a:gd name="connsiteY554" fmla="*/ 516709 h 6857992"/>
              <a:gd name="connsiteX555" fmla="*/ 9958498 w 12191985"/>
              <a:gd name="connsiteY555" fmla="*/ 508282 h 6857992"/>
              <a:gd name="connsiteX556" fmla="*/ 9949720 w 12191985"/>
              <a:gd name="connsiteY556" fmla="*/ 505561 h 6857992"/>
              <a:gd name="connsiteX557" fmla="*/ 10311109 w 12191985"/>
              <a:gd name="connsiteY557" fmla="*/ 505560 h 6857992"/>
              <a:gd name="connsiteX558" fmla="*/ 10296538 w 12191985"/>
              <a:gd name="connsiteY558" fmla="*/ 513460 h 6857992"/>
              <a:gd name="connsiteX559" fmla="*/ 10286268 w 12191985"/>
              <a:gd name="connsiteY559" fmla="*/ 527768 h 6857992"/>
              <a:gd name="connsiteX560" fmla="*/ 10285127 w 12191985"/>
              <a:gd name="connsiteY560" fmla="*/ 527768 h 6857992"/>
              <a:gd name="connsiteX561" fmla="*/ 10292500 w 12191985"/>
              <a:gd name="connsiteY561" fmla="*/ 505824 h 6857992"/>
              <a:gd name="connsiteX562" fmla="*/ 10275383 w 12191985"/>
              <a:gd name="connsiteY562" fmla="*/ 505824 h 6857992"/>
              <a:gd name="connsiteX563" fmla="*/ 10260636 w 12191985"/>
              <a:gd name="connsiteY563" fmla="*/ 556647 h 6857992"/>
              <a:gd name="connsiteX564" fmla="*/ 10277928 w 12191985"/>
              <a:gd name="connsiteY564" fmla="*/ 556647 h 6857992"/>
              <a:gd name="connsiteX565" fmla="*/ 10282405 w 12191985"/>
              <a:gd name="connsiteY565" fmla="*/ 541111 h 6857992"/>
              <a:gd name="connsiteX566" fmla="*/ 10291447 w 12191985"/>
              <a:gd name="connsiteY566" fmla="*/ 528822 h 6857992"/>
              <a:gd name="connsiteX567" fmla="*/ 10304000 w 12191985"/>
              <a:gd name="connsiteY567" fmla="*/ 520834 h 6857992"/>
              <a:gd name="connsiteX568" fmla="*/ 10309265 w 12191985"/>
              <a:gd name="connsiteY568" fmla="*/ 521975 h 6857992"/>
              <a:gd name="connsiteX569" fmla="*/ 10315147 w 12191985"/>
              <a:gd name="connsiteY569" fmla="*/ 506614 h 6857992"/>
              <a:gd name="connsiteX570" fmla="*/ 10315323 w 12191985"/>
              <a:gd name="connsiteY570" fmla="*/ 506614 h 6857992"/>
              <a:gd name="connsiteX571" fmla="*/ 10311109 w 12191985"/>
              <a:gd name="connsiteY571" fmla="*/ 505560 h 6857992"/>
              <a:gd name="connsiteX572" fmla="*/ 9374762 w 12191985"/>
              <a:gd name="connsiteY572" fmla="*/ 505475 h 6857992"/>
              <a:gd name="connsiteX573" fmla="*/ 9362824 w 12191985"/>
              <a:gd name="connsiteY573" fmla="*/ 505562 h 6857992"/>
              <a:gd name="connsiteX574" fmla="*/ 9350009 w 12191985"/>
              <a:gd name="connsiteY574" fmla="*/ 505738 h 6857992"/>
              <a:gd name="connsiteX575" fmla="*/ 9326220 w 12191985"/>
              <a:gd name="connsiteY575" fmla="*/ 519081 h 6857992"/>
              <a:gd name="connsiteX576" fmla="*/ 9314019 w 12191985"/>
              <a:gd name="connsiteY576" fmla="*/ 544624 h 6857992"/>
              <a:gd name="connsiteX577" fmla="*/ 9316125 w 12191985"/>
              <a:gd name="connsiteY577" fmla="*/ 553665 h 6857992"/>
              <a:gd name="connsiteX578" fmla="*/ 9323850 w 12191985"/>
              <a:gd name="connsiteY578" fmla="*/ 557704 h 6857992"/>
              <a:gd name="connsiteX579" fmla="*/ 9338334 w 12191985"/>
              <a:gd name="connsiteY579" fmla="*/ 549803 h 6857992"/>
              <a:gd name="connsiteX580" fmla="*/ 9348604 w 12191985"/>
              <a:gd name="connsiteY580" fmla="*/ 535495 h 6857992"/>
              <a:gd name="connsiteX581" fmla="*/ 9349745 w 12191985"/>
              <a:gd name="connsiteY581" fmla="*/ 535495 h 6857992"/>
              <a:gd name="connsiteX582" fmla="*/ 9342635 w 12191985"/>
              <a:gd name="connsiteY582" fmla="*/ 556562 h 6857992"/>
              <a:gd name="connsiteX583" fmla="*/ 9359840 w 12191985"/>
              <a:gd name="connsiteY583" fmla="*/ 556562 h 6857992"/>
              <a:gd name="connsiteX584" fmla="*/ 9374762 w 12191985"/>
              <a:gd name="connsiteY584" fmla="*/ 505475 h 6857992"/>
              <a:gd name="connsiteX585" fmla="*/ 9779077 w 12191985"/>
              <a:gd name="connsiteY585" fmla="*/ 505474 h 6857992"/>
              <a:gd name="connsiteX586" fmla="*/ 9764593 w 12191985"/>
              <a:gd name="connsiteY586" fmla="*/ 513374 h 6857992"/>
              <a:gd name="connsiteX587" fmla="*/ 9754323 w 12191985"/>
              <a:gd name="connsiteY587" fmla="*/ 527682 h 6857992"/>
              <a:gd name="connsiteX588" fmla="*/ 9753270 w 12191985"/>
              <a:gd name="connsiteY588" fmla="*/ 527682 h 6857992"/>
              <a:gd name="connsiteX589" fmla="*/ 9760818 w 12191985"/>
              <a:gd name="connsiteY589" fmla="*/ 505649 h 6857992"/>
              <a:gd name="connsiteX590" fmla="*/ 9743702 w 12191985"/>
              <a:gd name="connsiteY590" fmla="*/ 505649 h 6857992"/>
              <a:gd name="connsiteX591" fmla="*/ 9728779 w 12191985"/>
              <a:gd name="connsiteY591" fmla="*/ 556561 h 6857992"/>
              <a:gd name="connsiteX592" fmla="*/ 9746160 w 12191985"/>
              <a:gd name="connsiteY592" fmla="*/ 556561 h 6857992"/>
              <a:gd name="connsiteX593" fmla="*/ 9750636 w 12191985"/>
              <a:gd name="connsiteY593" fmla="*/ 540937 h 6857992"/>
              <a:gd name="connsiteX594" fmla="*/ 9759678 w 12191985"/>
              <a:gd name="connsiteY594" fmla="*/ 528648 h 6857992"/>
              <a:gd name="connsiteX595" fmla="*/ 9772230 w 12191985"/>
              <a:gd name="connsiteY595" fmla="*/ 520659 h 6857992"/>
              <a:gd name="connsiteX596" fmla="*/ 9777848 w 12191985"/>
              <a:gd name="connsiteY596" fmla="*/ 521800 h 6857992"/>
              <a:gd name="connsiteX597" fmla="*/ 9782764 w 12191985"/>
              <a:gd name="connsiteY597" fmla="*/ 506088 h 6857992"/>
              <a:gd name="connsiteX598" fmla="*/ 9782764 w 12191985"/>
              <a:gd name="connsiteY598" fmla="*/ 506000 h 6857992"/>
              <a:gd name="connsiteX599" fmla="*/ 9779077 w 12191985"/>
              <a:gd name="connsiteY599" fmla="*/ 505474 h 6857992"/>
              <a:gd name="connsiteX600" fmla="*/ 9708763 w 12191985"/>
              <a:gd name="connsiteY600" fmla="*/ 505474 h 6857992"/>
              <a:gd name="connsiteX601" fmla="*/ 9683483 w 12191985"/>
              <a:gd name="connsiteY601" fmla="*/ 516095 h 6857992"/>
              <a:gd name="connsiteX602" fmla="*/ 9670755 w 12191985"/>
              <a:gd name="connsiteY602" fmla="*/ 540938 h 6857992"/>
              <a:gd name="connsiteX603" fmla="*/ 9675934 w 12191985"/>
              <a:gd name="connsiteY603" fmla="*/ 553665 h 6857992"/>
              <a:gd name="connsiteX604" fmla="*/ 9689540 w 12191985"/>
              <a:gd name="connsiteY604" fmla="*/ 557615 h 6857992"/>
              <a:gd name="connsiteX605" fmla="*/ 9714732 w 12191985"/>
              <a:gd name="connsiteY605" fmla="*/ 546731 h 6857992"/>
              <a:gd name="connsiteX606" fmla="*/ 9727549 w 12191985"/>
              <a:gd name="connsiteY606" fmla="*/ 521889 h 6857992"/>
              <a:gd name="connsiteX607" fmla="*/ 9722370 w 12191985"/>
              <a:gd name="connsiteY607" fmla="*/ 509337 h 6857992"/>
              <a:gd name="connsiteX608" fmla="*/ 9722370 w 12191985"/>
              <a:gd name="connsiteY608" fmla="*/ 509424 h 6857992"/>
              <a:gd name="connsiteX609" fmla="*/ 9708763 w 12191985"/>
              <a:gd name="connsiteY609" fmla="*/ 505474 h 6857992"/>
              <a:gd name="connsiteX610" fmla="*/ 9423217 w 12191985"/>
              <a:gd name="connsiteY610" fmla="*/ 505384 h 6857992"/>
              <a:gd name="connsiteX611" fmla="*/ 9408645 w 12191985"/>
              <a:gd name="connsiteY611" fmla="*/ 513285 h 6857992"/>
              <a:gd name="connsiteX612" fmla="*/ 9398375 w 12191985"/>
              <a:gd name="connsiteY612" fmla="*/ 527592 h 6857992"/>
              <a:gd name="connsiteX613" fmla="*/ 9397234 w 12191985"/>
              <a:gd name="connsiteY613" fmla="*/ 527592 h 6857992"/>
              <a:gd name="connsiteX614" fmla="*/ 9404696 w 12191985"/>
              <a:gd name="connsiteY614" fmla="*/ 505472 h 6857992"/>
              <a:gd name="connsiteX615" fmla="*/ 9387491 w 12191985"/>
              <a:gd name="connsiteY615" fmla="*/ 505472 h 6857992"/>
              <a:gd name="connsiteX616" fmla="*/ 9372656 w 12191985"/>
              <a:gd name="connsiteY616" fmla="*/ 556473 h 6857992"/>
              <a:gd name="connsiteX617" fmla="*/ 9389948 w 12191985"/>
              <a:gd name="connsiteY617" fmla="*/ 556473 h 6857992"/>
              <a:gd name="connsiteX618" fmla="*/ 9394513 w 12191985"/>
              <a:gd name="connsiteY618" fmla="*/ 540935 h 6857992"/>
              <a:gd name="connsiteX619" fmla="*/ 9402150 w 12191985"/>
              <a:gd name="connsiteY619" fmla="*/ 530314 h 6857992"/>
              <a:gd name="connsiteX620" fmla="*/ 9411806 w 12191985"/>
              <a:gd name="connsiteY620" fmla="*/ 521097 h 6857992"/>
              <a:gd name="connsiteX621" fmla="*/ 9412596 w 12191985"/>
              <a:gd name="connsiteY621" fmla="*/ 522502 h 6857992"/>
              <a:gd name="connsiteX622" fmla="*/ 9402852 w 12191985"/>
              <a:gd name="connsiteY622" fmla="*/ 556560 h 6857992"/>
              <a:gd name="connsiteX623" fmla="*/ 9420057 w 12191985"/>
              <a:gd name="connsiteY623" fmla="*/ 556560 h 6857992"/>
              <a:gd name="connsiteX624" fmla="*/ 9420321 w 12191985"/>
              <a:gd name="connsiteY624" fmla="*/ 556473 h 6857992"/>
              <a:gd name="connsiteX625" fmla="*/ 9431118 w 12191985"/>
              <a:gd name="connsiteY625" fmla="*/ 518463 h 6857992"/>
              <a:gd name="connsiteX626" fmla="*/ 9430065 w 12191985"/>
              <a:gd name="connsiteY626" fmla="*/ 508281 h 6857992"/>
              <a:gd name="connsiteX627" fmla="*/ 9423217 w 12191985"/>
              <a:gd name="connsiteY627" fmla="*/ 505384 h 6857992"/>
              <a:gd name="connsiteX628" fmla="*/ 9583767 w 12191985"/>
              <a:gd name="connsiteY628" fmla="*/ 505299 h 6857992"/>
              <a:gd name="connsiteX629" fmla="*/ 9568756 w 12191985"/>
              <a:gd name="connsiteY629" fmla="*/ 508371 h 6857992"/>
              <a:gd name="connsiteX630" fmla="*/ 9559978 w 12191985"/>
              <a:gd name="connsiteY630" fmla="*/ 520660 h 6857992"/>
              <a:gd name="connsiteX631" fmla="*/ 9562787 w 12191985"/>
              <a:gd name="connsiteY631" fmla="*/ 529613 h 6857992"/>
              <a:gd name="connsiteX632" fmla="*/ 9568844 w 12191985"/>
              <a:gd name="connsiteY632" fmla="*/ 536284 h 6857992"/>
              <a:gd name="connsiteX633" fmla="*/ 9571829 w 12191985"/>
              <a:gd name="connsiteY633" fmla="*/ 542780 h 6857992"/>
              <a:gd name="connsiteX634" fmla="*/ 9569897 w 12191985"/>
              <a:gd name="connsiteY634" fmla="*/ 546116 h 6857992"/>
              <a:gd name="connsiteX635" fmla="*/ 9566035 w 12191985"/>
              <a:gd name="connsiteY635" fmla="*/ 547520 h 6857992"/>
              <a:gd name="connsiteX636" fmla="*/ 9551024 w 12191985"/>
              <a:gd name="connsiteY636" fmla="*/ 543044 h 6857992"/>
              <a:gd name="connsiteX637" fmla="*/ 9547689 w 12191985"/>
              <a:gd name="connsiteY637" fmla="*/ 554806 h 6857992"/>
              <a:gd name="connsiteX638" fmla="*/ 9565069 w 12191985"/>
              <a:gd name="connsiteY638" fmla="*/ 557527 h 6857992"/>
              <a:gd name="connsiteX639" fmla="*/ 9580607 w 12191985"/>
              <a:gd name="connsiteY639" fmla="*/ 554016 h 6857992"/>
              <a:gd name="connsiteX640" fmla="*/ 9589296 w 12191985"/>
              <a:gd name="connsiteY640" fmla="*/ 540936 h 6857992"/>
              <a:gd name="connsiteX641" fmla="*/ 9586312 w 12191985"/>
              <a:gd name="connsiteY641" fmla="*/ 531896 h 6857992"/>
              <a:gd name="connsiteX642" fmla="*/ 9579641 w 12191985"/>
              <a:gd name="connsiteY642" fmla="*/ 525488 h 6857992"/>
              <a:gd name="connsiteX643" fmla="*/ 9576393 w 12191985"/>
              <a:gd name="connsiteY643" fmla="*/ 519870 h 6857992"/>
              <a:gd name="connsiteX644" fmla="*/ 9583591 w 12191985"/>
              <a:gd name="connsiteY644" fmla="*/ 515393 h 6857992"/>
              <a:gd name="connsiteX645" fmla="*/ 9594300 w 12191985"/>
              <a:gd name="connsiteY645" fmla="*/ 517413 h 6857992"/>
              <a:gd name="connsiteX646" fmla="*/ 9597372 w 12191985"/>
              <a:gd name="connsiteY646" fmla="*/ 506791 h 6857992"/>
              <a:gd name="connsiteX647" fmla="*/ 9597197 w 12191985"/>
              <a:gd name="connsiteY647" fmla="*/ 506791 h 6857992"/>
              <a:gd name="connsiteX648" fmla="*/ 9583767 w 12191985"/>
              <a:gd name="connsiteY648" fmla="*/ 505299 h 6857992"/>
              <a:gd name="connsiteX649" fmla="*/ 10204281 w 12191985"/>
              <a:gd name="connsiteY649" fmla="*/ 496257 h 6857992"/>
              <a:gd name="connsiteX650" fmla="*/ 10186023 w 12191985"/>
              <a:gd name="connsiteY650" fmla="*/ 498715 h 6857992"/>
              <a:gd name="connsiteX651" fmla="*/ 10175928 w 12191985"/>
              <a:gd name="connsiteY651" fmla="*/ 531544 h 6857992"/>
              <a:gd name="connsiteX652" fmla="*/ 10172417 w 12191985"/>
              <a:gd name="connsiteY652" fmla="*/ 547082 h 6857992"/>
              <a:gd name="connsiteX653" fmla="*/ 10175401 w 12191985"/>
              <a:gd name="connsiteY653" fmla="*/ 555245 h 6857992"/>
              <a:gd name="connsiteX654" fmla="*/ 10184092 w 12191985"/>
              <a:gd name="connsiteY654" fmla="*/ 557703 h 6857992"/>
              <a:gd name="connsiteX655" fmla="*/ 10197434 w 12191985"/>
              <a:gd name="connsiteY655" fmla="*/ 555509 h 6857992"/>
              <a:gd name="connsiteX656" fmla="*/ 10200594 w 12191985"/>
              <a:gd name="connsiteY656" fmla="*/ 544624 h 6857992"/>
              <a:gd name="connsiteX657" fmla="*/ 10194976 w 12191985"/>
              <a:gd name="connsiteY657" fmla="*/ 546642 h 6857992"/>
              <a:gd name="connsiteX658" fmla="*/ 10191290 w 12191985"/>
              <a:gd name="connsiteY658" fmla="*/ 541815 h 6857992"/>
              <a:gd name="connsiteX659" fmla="*/ 10194274 w 12191985"/>
              <a:gd name="connsiteY659" fmla="*/ 528998 h 6857992"/>
              <a:gd name="connsiteX660" fmla="*/ 10198751 w 12191985"/>
              <a:gd name="connsiteY660" fmla="*/ 515656 h 6857992"/>
              <a:gd name="connsiteX661" fmla="*/ 10207002 w 12191985"/>
              <a:gd name="connsiteY661" fmla="*/ 515656 h 6857992"/>
              <a:gd name="connsiteX662" fmla="*/ 10209987 w 12191985"/>
              <a:gd name="connsiteY662" fmla="*/ 505737 h 6857992"/>
              <a:gd name="connsiteX663" fmla="*/ 10209899 w 12191985"/>
              <a:gd name="connsiteY663" fmla="*/ 505737 h 6857992"/>
              <a:gd name="connsiteX664" fmla="*/ 10201472 w 12191985"/>
              <a:gd name="connsiteY664" fmla="*/ 505737 h 6857992"/>
              <a:gd name="connsiteX665" fmla="*/ 10167413 w 12191985"/>
              <a:gd name="connsiteY665" fmla="*/ 496257 h 6857992"/>
              <a:gd name="connsiteX666" fmla="*/ 10149418 w 12191985"/>
              <a:gd name="connsiteY666" fmla="*/ 498715 h 6857992"/>
              <a:gd name="connsiteX667" fmla="*/ 10139411 w 12191985"/>
              <a:gd name="connsiteY667" fmla="*/ 531544 h 6857992"/>
              <a:gd name="connsiteX668" fmla="*/ 10135812 w 12191985"/>
              <a:gd name="connsiteY668" fmla="*/ 547082 h 6857992"/>
              <a:gd name="connsiteX669" fmla="*/ 10138884 w 12191985"/>
              <a:gd name="connsiteY669" fmla="*/ 555245 h 6857992"/>
              <a:gd name="connsiteX670" fmla="*/ 10147487 w 12191985"/>
              <a:gd name="connsiteY670" fmla="*/ 557703 h 6857992"/>
              <a:gd name="connsiteX671" fmla="*/ 10160566 w 12191985"/>
              <a:gd name="connsiteY671" fmla="*/ 555509 h 6857992"/>
              <a:gd name="connsiteX672" fmla="*/ 10163726 w 12191985"/>
              <a:gd name="connsiteY672" fmla="*/ 544624 h 6857992"/>
              <a:gd name="connsiteX673" fmla="*/ 10158196 w 12191985"/>
              <a:gd name="connsiteY673" fmla="*/ 546642 h 6857992"/>
              <a:gd name="connsiteX674" fmla="*/ 10154684 w 12191985"/>
              <a:gd name="connsiteY674" fmla="*/ 541815 h 6857992"/>
              <a:gd name="connsiteX675" fmla="*/ 10157582 w 12191985"/>
              <a:gd name="connsiteY675" fmla="*/ 528999 h 6857992"/>
              <a:gd name="connsiteX676" fmla="*/ 10161619 w 12191985"/>
              <a:gd name="connsiteY676" fmla="*/ 515656 h 6857992"/>
              <a:gd name="connsiteX677" fmla="*/ 10169958 w 12191985"/>
              <a:gd name="connsiteY677" fmla="*/ 515656 h 6857992"/>
              <a:gd name="connsiteX678" fmla="*/ 10172855 w 12191985"/>
              <a:gd name="connsiteY678" fmla="*/ 505737 h 6857992"/>
              <a:gd name="connsiteX679" fmla="*/ 10164516 w 12191985"/>
              <a:gd name="connsiteY679" fmla="*/ 505737 h 6857992"/>
              <a:gd name="connsiteX680" fmla="*/ 9845175 w 12191985"/>
              <a:gd name="connsiteY680" fmla="*/ 496257 h 6857992"/>
              <a:gd name="connsiteX681" fmla="*/ 9827179 w 12191985"/>
              <a:gd name="connsiteY681" fmla="*/ 498715 h 6857992"/>
              <a:gd name="connsiteX682" fmla="*/ 9817085 w 12191985"/>
              <a:gd name="connsiteY682" fmla="*/ 531544 h 6857992"/>
              <a:gd name="connsiteX683" fmla="*/ 9813574 w 12191985"/>
              <a:gd name="connsiteY683" fmla="*/ 547082 h 6857992"/>
              <a:gd name="connsiteX684" fmla="*/ 9816646 w 12191985"/>
              <a:gd name="connsiteY684" fmla="*/ 555245 h 6857992"/>
              <a:gd name="connsiteX685" fmla="*/ 9825336 w 12191985"/>
              <a:gd name="connsiteY685" fmla="*/ 557703 h 6857992"/>
              <a:gd name="connsiteX686" fmla="*/ 9838240 w 12191985"/>
              <a:gd name="connsiteY686" fmla="*/ 555509 h 6857992"/>
              <a:gd name="connsiteX687" fmla="*/ 9841400 w 12191985"/>
              <a:gd name="connsiteY687" fmla="*/ 544624 h 6857992"/>
              <a:gd name="connsiteX688" fmla="*/ 9835870 w 12191985"/>
              <a:gd name="connsiteY688" fmla="*/ 546642 h 6857992"/>
              <a:gd name="connsiteX689" fmla="*/ 9832446 w 12191985"/>
              <a:gd name="connsiteY689" fmla="*/ 541815 h 6857992"/>
              <a:gd name="connsiteX690" fmla="*/ 9835255 w 12191985"/>
              <a:gd name="connsiteY690" fmla="*/ 528999 h 6857992"/>
              <a:gd name="connsiteX691" fmla="*/ 9839293 w 12191985"/>
              <a:gd name="connsiteY691" fmla="*/ 516535 h 6857992"/>
              <a:gd name="connsiteX692" fmla="*/ 9847632 w 12191985"/>
              <a:gd name="connsiteY692" fmla="*/ 516535 h 6857992"/>
              <a:gd name="connsiteX693" fmla="*/ 9850529 w 12191985"/>
              <a:gd name="connsiteY693" fmla="*/ 506615 h 6857992"/>
              <a:gd name="connsiteX694" fmla="*/ 9850441 w 12191985"/>
              <a:gd name="connsiteY694" fmla="*/ 506615 h 6857992"/>
              <a:gd name="connsiteX695" fmla="*/ 9842102 w 12191985"/>
              <a:gd name="connsiteY695" fmla="*/ 506615 h 6857992"/>
              <a:gd name="connsiteX696" fmla="*/ 9272763 w 12191985"/>
              <a:gd name="connsiteY696" fmla="*/ 485371 h 6857992"/>
              <a:gd name="connsiteX697" fmla="*/ 9252134 w 12191985"/>
              <a:gd name="connsiteY697" fmla="*/ 556648 h 6857992"/>
              <a:gd name="connsiteX698" fmla="*/ 9269426 w 12191985"/>
              <a:gd name="connsiteY698" fmla="*/ 556648 h 6857992"/>
              <a:gd name="connsiteX699" fmla="*/ 9273991 w 12191985"/>
              <a:gd name="connsiteY699" fmla="*/ 541023 h 6857992"/>
              <a:gd name="connsiteX700" fmla="*/ 9281716 w 12191985"/>
              <a:gd name="connsiteY700" fmla="*/ 530402 h 6857992"/>
              <a:gd name="connsiteX701" fmla="*/ 9291372 w 12191985"/>
              <a:gd name="connsiteY701" fmla="*/ 521185 h 6857992"/>
              <a:gd name="connsiteX702" fmla="*/ 9292162 w 12191985"/>
              <a:gd name="connsiteY702" fmla="*/ 522590 h 6857992"/>
              <a:gd name="connsiteX703" fmla="*/ 9282418 w 12191985"/>
              <a:gd name="connsiteY703" fmla="*/ 556561 h 6857992"/>
              <a:gd name="connsiteX704" fmla="*/ 9282594 w 12191985"/>
              <a:gd name="connsiteY704" fmla="*/ 556561 h 6857992"/>
              <a:gd name="connsiteX705" fmla="*/ 9299711 w 12191985"/>
              <a:gd name="connsiteY705" fmla="*/ 556561 h 6857992"/>
              <a:gd name="connsiteX706" fmla="*/ 9310508 w 12191985"/>
              <a:gd name="connsiteY706" fmla="*/ 518640 h 6857992"/>
              <a:gd name="connsiteX707" fmla="*/ 9309367 w 12191985"/>
              <a:gd name="connsiteY707" fmla="*/ 508457 h 6857992"/>
              <a:gd name="connsiteX708" fmla="*/ 9302520 w 12191985"/>
              <a:gd name="connsiteY708" fmla="*/ 505561 h 6857992"/>
              <a:gd name="connsiteX709" fmla="*/ 9287948 w 12191985"/>
              <a:gd name="connsiteY709" fmla="*/ 513461 h 6857992"/>
              <a:gd name="connsiteX710" fmla="*/ 9277678 w 12191985"/>
              <a:gd name="connsiteY710" fmla="*/ 527769 h 6857992"/>
              <a:gd name="connsiteX711" fmla="*/ 9276537 w 12191985"/>
              <a:gd name="connsiteY711" fmla="*/ 527769 h 6857992"/>
              <a:gd name="connsiteX712" fmla="*/ 9289880 w 12191985"/>
              <a:gd name="connsiteY712" fmla="*/ 485371 h 6857992"/>
              <a:gd name="connsiteX713" fmla="*/ 9870192 w 12191985"/>
              <a:gd name="connsiteY713" fmla="*/ 485195 h 6857992"/>
              <a:gd name="connsiteX714" fmla="*/ 9849563 w 12191985"/>
              <a:gd name="connsiteY714" fmla="*/ 556472 h 6857992"/>
              <a:gd name="connsiteX715" fmla="*/ 9866944 w 12191985"/>
              <a:gd name="connsiteY715" fmla="*/ 556472 h 6857992"/>
              <a:gd name="connsiteX716" fmla="*/ 9871420 w 12191985"/>
              <a:gd name="connsiteY716" fmla="*/ 540936 h 6857992"/>
              <a:gd name="connsiteX717" fmla="*/ 9879057 w 12191985"/>
              <a:gd name="connsiteY717" fmla="*/ 530314 h 6857992"/>
              <a:gd name="connsiteX718" fmla="*/ 9888801 w 12191985"/>
              <a:gd name="connsiteY718" fmla="*/ 521097 h 6857992"/>
              <a:gd name="connsiteX719" fmla="*/ 9889591 w 12191985"/>
              <a:gd name="connsiteY719" fmla="*/ 522501 h 6857992"/>
              <a:gd name="connsiteX720" fmla="*/ 9881221 w 12191985"/>
              <a:gd name="connsiteY720" fmla="*/ 551991 h 6857992"/>
              <a:gd name="connsiteX721" fmla="*/ 9879873 w 12191985"/>
              <a:gd name="connsiteY721" fmla="*/ 556472 h 6857992"/>
              <a:gd name="connsiteX722" fmla="*/ 9879847 w 12191985"/>
              <a:gd name="connsiteY722" fmla="*/ 556472 h 6857992"/>
              <a:gd name="connsiteX723" fmla="*/ 9879847 w 12191985"/>
              <a:gd name="connsiteY723" fmla="*/ 556560 h 6857992"/>
              <a:gd name="connsiteX724" fmla="*/ 9879873 w 12191985"/>
              <a:gd name="connsiteY724" fmla="*/ 556472 h 6857992"/>
              <a:gd name="connsiteX725" fmla="*/ 9897052 w 12191985"/>
              <a:gd name="connsiteY725" fmla="*/ 556472 h 6857992"/>
              <a:gd name="connsiteX726" fmla="*/ 9907849 w 12191985"/>
              <a:gd name="connsiteY726" fmla="*/ 518552 h 6857992"/>
              <a:gd name="connsiteX727" fmla="*/ 9906796 w 12191985"/>
              <a:gd name="connsiteY727" fmla="*/ 508369 h 6857992"/>
              <a:gd name="connsiteX728" fmla="*/ 9899949 w 12191985"/>
              <a:gd name="connsiteY728" fmla="*/ 505473 h 6857992"/>
              <a:gd name="connsiteX729" fmla="*/ 9885377 w 12191985"/>
              <a:gd name="connsiteY729" fmla="*/ 513285 h 6857992"/>
              <a:gd name="connsiteX730" fmla="*/ 9875107 w 12191985"/>
              <a:gd name="connsiteY730" fmla="*/ 527593 h 6857992"/>
              <a:gd name="connsiteX731" fmla="*/ 9873965 w 12191985"/>
              <a:gd name="connsiteY731" fmla="*/ 527593 h 6857992"/>
              <a:gd name="connsiteX732" fmla="*/ 9887309 w 12191985"/>
              <a:gd name="connsiteY732" fmla="*/ 485195 h 6857992"/>
              <a:gd name="connsiteX733" fmla="*/ 9672600 w 12191985"/>
              <a:gd name="connsiteY733" fmla="*/ 484231 h 6857992"/>
              <a:gd name="connsiteX734" fmla="*/ 9654516 w 12191985"/>
              <a:gd name="connsiteY734" fmla="*/ 490288 h 6857992"/>
              <a:gd name="connsiteX735" fmla="*/ 9643457 w 12191985"/>
              <a:gd name="connsiteY735" fmla="*/ 506528 h 6857992"/>
              <a:gd name="connsiteX736" fmla="*/ 9625637 w 12191985"/>
              <a:gd name="connsiteY736" fmla="*/ 567885 h 6857992"/>
              <a:gd name="connsiteX737" fmla="*/ 9643018 w 12191985"/>
              <a:gd name="connsiteY737" fmla="*/ 567885 h 6857992"/>
              <a:gd name="connsiteX738" fmla="*/ 9657940 w 12191985"/>
              <a:gd name="connsiteY738" fmla="*/ 516534 h 6857992"/>
              <a:gd name="connsiteX739" fmla="*/ 9670493 w 12191985"/>
              <a:gd name="connsiteY739" fmla="*/ 516534 h 6857992"/>
              <a:gd name="connsiteX740" fmla="*/ 9673477 w 12191985"/>
              <a:gd name="connsiteY740" fmla="*/ 506528 h 6857992"/>
              <a:gd name="connsiteX741" fmla="*/ 9660662 w 12191985"/>
              <a:gd name="connsiteY741" fmla="*/ 506528 h 6857992"/>
              <a:gd name="connsiteX742" fmla="*/ 9663558 w 12191985"/>
              <a:gd name="connsiteY742" fmla="*/ 498013 h 6857992"/>
              <a:gd name="connsiteX743" fmla="*/ 9670932 w 12191985"/>
              <a:gd name="connsiteY743" fmla="*/ 494238 h 6857992"/>
              <a:gd name="connsiteX744" fmla="*/ 9681816 w 12191985"/>
              <a:gd name="connsiteY744" fmla="*/ 497135 h 6857992"/>
              <a:gd name="connsiteX745" fmla="*/ 9684801 w 12191985"/>
              <a:gd name="connsiteY745" fmla="*/ 486514 h 6857992"/>
              <a:gd name="connsiteX746" fmla="*/ 9684889 w 12191985"/>
              <a:gd name="connsiteY746" fmla="*/ 486426 h 6857992"/>
              <a:gd name="connsiteX747" fmla="*/ 9672600 w 12191985"/>
              <a:gd name="connsiteY747" fmla="*/ 484231 h 6857992"/>
              <a:gd name="connsiteX748" fmla="*/ 10048912 w 12191985"/>
              <a:gd name="connsiteY748" fmla="*/ 483617 h 6857992"/>
              <a:gd name="connsiteX749" fmla="*/ 10060323 w 12191985"/>
              <a:gd name="connsiteY749" fmla="*/ 490727 h 6857992"/>
              <a:gd name="connsiteX750" fmla="*/ 10043030 w 12191985"/>
              <a:gd name="connsiteY750" fmla="*/ 507054 h 6857992"/>
              <a:gd name="connsiteX751" fmla="*/ 10035920 w 12191985"/>
              <a:gd name="connsiteY751" fmla="*/ 507054 h 6857992"/>
              <a:gd name="connsiteX752" fmla="*/ 10042855 w 12191985"/>
              <a:gd name="connsiteY752" fmla="*/ 484494 h 6857992"/>
              <a:gd name="connsiteX753" fmla="*/ 10048912 w 12191985"/>
              <a:gd name="connsiteY753" fmla="*/ 483617 h 6857992"/>
              <a:gd name="connsiteX754" fmla="*/ 10024421 w 12191985"/>
              <a:gd name="connsiteY754" fmla="*/ 472468 h 6857992"/>
              <a:gd name="connsiteX755" fmla="*/ 9999404 w 12191985"/>
              <a:gd name="connsiteY755" fmla="*/ 557351 h 6857992"/>
              <a:gd name="connsiteX756" fmla="*/ 9999579 w 12191985"/>
              <a:gd name="connsiteY756" fmla="*/ 557351 h 6857992"/>
              <a:gd name="connsiteX757" fmla="*/ 10041362 w 12191985"/>
              <a:gd name="connsiteY757" fmla="*/ 557351 h 6857992"/>
              <a:gd name="connsiteX758" fmla="*/ 10072261 w 12191985"/>
              <a:gd name="connsiteY758" fmla="*/ 533299 h 6857992"/>
              <a:gd name="connsiteX759" fmla="*/ 10054442 w 12191985"/>
              <a:gd name="connsiteY759" fmla="*/ 513637 h 6857992"/>
              <a:gd name="connsiteX760" fmla="*/ 10054442 w 12191985"/>
              <a:gd name="connsiteY760" fmla="*/ 513374 h 6857992"/>
              <a:gd name="connsiteX761" fmla="*/ 10080951 w 12191985"/>
              <a:gd name="connsiteY761" fmla="*/ 488707 h 6857992"/>
              <a:gd name="connsiteX762" fmla="*/ 10051545 w 12191985"/>
              <a:gd name="connsiteY762" fmla="*/ 472468 h 6857992"/>
              <a:gd name="connsiteX763" fmla="*/ 9236422 w 12191985"/>
              <a:gd name="connsiteY763" fmla="*/ 472205 h 6857992"/>
              <a:gd name="connsiteX764" fmla="*/ 9169270 w 12191985"/>
              <a:gd name="connsiteY764" fmla="*/ 529174 h 6857992"/>
              <a:gd name="connsiteX765" fmla="*/ 9169358 w 12191985"/>
              <a:gd name="connsiteY765" fmla="*/ 529174 h 6857992"/>
              <a:gd name="connsiteX766" fmla="*/ 9202802 w 12191985"/>
              <a:gd name="connsiteY766" fmla="*/ 561126 h 6857992"/>
              <a:gd name="connsiteX767" fmla="*/ 9239143 w 12191985"/>
              <a:gd name="connsiteY767" fmla="*/ 556561 h 6857992"/>
              <a:gd name="connsiteX768" fmla="*/ 9243006 w 12191985"/>
              <a:gd name="connsiteY768" fmla="*/ 544009 h 6857992"/>
              <a:gd name="connsiteX769" fmla="*/ 9241074 w 12191985"/>
              <a:gd name="connsiteY769" fmla="*/ 544535 h 6857992"/>
              <a:gd name="connsiteX770" fmla="*/ 9213863 w 12191985"/>
              <a:gd name="connsiteY770" fmla="*/ 549715 h 6857992"/>
              <a:gd name="connsiteX771" fmla="*/ 9192883 w 12191985"/>
              <a:gd name="connsiteY771" fmla="*/ 526365 h 6857992"/>
              <a:gd name="connsiteX772" fmla="*/ 9233262 w 12191985"/>
              <a:gd name="connsiteY772" fmla="*/ 483528 h 6857992"/>
              <a:gd name="connsiteX773" fmla="*/ 9258894 w 12191985"/>
              <a:gd name="connsiteY773" fmla="*/ 488971 h 6857992"/>
              <a:gd name="connsiteX774" fmla="*/ 9262932 w 12191985"/>
              <a:gd name="connsiteY774" fmla="*/ 475452 h 6857992"/>
              <a:gd name="connsiteX775" fmla="*/ 9236422 w 12191985"/>
              <a:gd name="connsiteY775" fmla="*/ 472205 h 6857992"/>
              <a:gd name="connsiteX776" fmla="*/ 11002023 w 12191985"/>
              <a:gd name="connsiteY776" fmla="*/ 395487 h 6857992"/>
              <a:gd name="connsiteX777" fmla="*/ 11007817 w 12191985"/>
              <a:gd name="connsiteY777" fmla="*/ 395751 h 6857992"/>
              <a:gd name="connsiteX778" fmla="*/ 10991138 w 12191985"/>
              <a:gd name="connsiteY778" fmla="*/ 415589 h 6857992"/>
              <a:gd name="connsiteX779" fmla="*/ 10980253 w 12191985"/>
              <a:gd name="connsiteY779" fmla="*/ 406372 h 6857992"/>
              <a:gd name="connsiteX780" fmla="*/ 11002023 w 12191985"/>
              <a:gd name="connsiteY780" fmla="*/ 395487 h 6857992"/>
              <a:gd name="connsiteX781" fmla="*/ 11262026 w 12191985"/>
              <a:gd name="connsiteY781" fmla="*/ 370909 h 6857992"/>
              <a:gd name="connsiteX782" fmla="*/ 11279143 w 12191985"/>
              <a:gd name="connsiteY782" fmla="*/ 391537 h 6857992"/>
              <a:gd name="connsiteX783" fmla="*/ 11262289 w 12191985"/>
              <a:gd name="connsiteY783" fmla="*/ 411902 h 6857992"/>
              <a:gd name="connsiteX784" fmla="*/ 11246138 w 12191985"/>
              <a:gd name="connsiteY784" fmla="*/ 391537 h 6857992"/>
              <a:gd name="connsiteX785" fmla="*/ 11262026 w 12191985"/>
              <a:gd name="connsiteY785" fmla="*/ 370909 h 6857992"/>
              <a:gd name="connsiteX786" fmla="*/ 11964702 w 12191985"/>
              <a:gd name="connsiteY786" fmla="*/ 370821 h 6857992"/>
              <a:gd name="connsiteX787" fmla="*/ 11981995 w 12191985"/>
              <a:gd name="connsiteY787" fmla="*/ 392502 h 6857992"/>
              <a:gd name="connsiteX788" fmla="*/ 11965141 w 12191985"/>
              <a:gd name="connsiteY788" fmla="*/ 414009 h 6857992"/>
              <a:gd name="connsiteX789" fmla="*/ 11948814 w 12191985"/>
              <a:gd name="connsiteY789" fmla="*/ 392239 h 6857992"/>
              <a:gd name="connsiteX790" fmla="*/ 11964702 w 12191985"/>
              <a:gd name="connsiteY790" fmla="*/ 370821 h 6857992"/>
              <a:gd name="connsiteX791" fmla="*/ 10776077 w 12191985"/>
              <a:gd name="connsiteY791" fmla="*/ 369681 h 6857992"/>
              <a:gd name="connsiteX792" fmla="*/ 10793458 w 12191985"/>
              <a:gd name="connsiteY792" fmla="*/ 392328 h 6857992"/>
              <a:gd name="connsiteX793" fmla="*/ 10776077 w 12191985"/>
              <a:gd name="connsiteY793" fmla="*/ 414800 h 6857992"/>
              <a:gd name="connsiteX794" fmla="*/ 10758785 w 12191985"/>
              <a:gd name="connsiteY794" fmla="*/ 392328 h 6857992"/>
              <a:gd name="connsiteX795" fmla="*/ 10776077 w 12191985"/>
              <a:gd name="connsiteY795" fmla="*/ 369681 h 6857992"/>
              <a:gd name="connsiteX796" fmla="*/ 11783700 w 12191985"/>
              <a:gd name="connsiteY796" fmla="*/ 369680 h 6857992"/>
              <a:gd name="connsiteX797" fmla="*/ 11801081 w 12191985"/>
              <a:gd name="connsiteY797" fmla="*/ 392327 h 6857992"/>
              <a:gd name="connsiteX798" fmla="*/ 11783700 w 12191985"/>
              <a:gd name="connsiteY798" fmla="*/ 414798 h 6857992"/>
              <a:gd name="connsiteX799" fmla="*/ 11766408 w 12191985"/>
              <a:gd name="connsiteY799" fmla="*/ 392327 h 6857992"/>
              <a:gd name="connsiteX800" fmla="*/ 11783700 w 12191985"/>
              <a:gd name="connsiteY800" fmla="*/ 369680 h 6857992"/>
              <a:gd name="connsiteX801" fmla="*/ 11525453 w 12191985"/>
              <a:gd name="connsiteY801" fmla="*/ 368978 h 6857992"/>
              <a:gd name="connsiteX802" fmla="*/ 11539761 w 12191985"/>
              <a:gd name="connsiteY802" fmla="*/ 384690 h 6857992"/>
              <a:gd name="connsiteX803" fmla="*/ 11509478 w 12191985"/>
              <a:gd name="connsiteY803" fmla="*/ 384690 h 6857992"/>
              <a:gd name="connsiteX804" fmla="*/ 11525453 w 12191985"/>
              <a:gd name="connsiteY804" fmla="*/ 368978 h 6857992"/>
              <a:gd name="connsiteX805" fmla="*/ 10599377 w 12191985"/>
              <a:gd name="connsiteY805" fmla="*/ 355813 h 6857992"/>
              <a:gd name="connsiteX806" fmla="*/ 10599377 w 12191985"/>
              <a:gd name="connsiteY806" fmla="*/ 402863 h 6857992"/>
              <a:gd name="connsiteX807" fmla="*/ 10625447 w 12191985"/>
              <a:gd name="connsiteY807" fmla="*/ 430865 h 6857992"/>
              <a:gd name="connsiteX808" fmla="*/ 10651782 w 12191985"/>
              <a:gd name="connsiteY808" fmla="*/ 416556 h 6857992"/>
              <a:gd name="connsiteX809" fmla="*/ 10651958 w 12191985"/>
              <a:gd name="connsiteY809" fmla="*/ 416644 h 6857992"/>
              <a:gd name="connsiteX810" fmla="*/ 10652221 w 12191985"/>
              <a:gd name="connsiteY810" fmla="*/ 416644 h 6857992"/>
              <a:gd name="connsiteX811" fmla="*/ 10652747 w 12191985"/>
              <a:gd name="connsiteY811" fmla="*/ 429109 h 6857992"/>
              <a:gd name="connsiteX812" fmla="*/ 10673376 w 12191985"/>
              <a:gd name="connsiteY812" fmla="*/ 429109 h 6857992"/>
              <a:gd name="connsiteX813" fmla="*/ 10672674 w 12191985"/>
              <a:gd name="connsiteY813" fmla="*/ 407427 h 6857992"/>
              <a:gd name="connsiteX814" fmla="*/ 10672674 w 12191985"/>
              <a:gd name="connsiteY814" fmla="*/ 355900 h 6857992"/>
              <a:gd name="connsiteX815" fmla="*/ 10650290 w 12191985"/>
              <a:gd name="connsiteY815" fmla="*/ 355900 h 6857992"/>
              <a:gd name="connsiteX816" fmla="*/ 10650290 w 12191985"/>
              <a:gd name="connsiteY816" fmla="*/ 391539 h 6857992"/>
              <a:gd name="connsiteX817" fmla="*/ 10634138 w 12191985"/>
              <a:gd name="connsiteY817" fmla="*/ 412606 h 6857992"/>
              <a:gd name="connsiteX818" fmla="*/ 10621498 w 12191985"/>
              <a:gd name="connsiteY818" fmla="*/ 394874 h 6857992"/>
              <a:gd name="connsiteX819" fmla="*/ 10621498 w 12191985"/>
              <a:gd name="connsiteY819" fmla="*/ 355813 h 6857992"/>
              <a:gd name="connsiteX820" fmla="*/ 11098580 w 12191985"/>
              <a:gd name="connsiteY820" fmla="*/ 355812 h 6857992"/>
              <a:gd name="connsiteX821" fmla="*/ 11098580 w 12191985"/>
              <a:gd name="connsiteY821" fmla="*/ 429020 h 6857992"/>
              <a:gd name="connsiteX822" fmla="*/ 11120964 w 12191985"/>
              <a:gd name="connsiteY822" fmla="*/ 429020 h 6857992"/>
              <a:gd name="connsiteX823" fmla="*/ 11120964 w 12191985"/>
              <a:gd name="connsiteY823" fmla="*/ 355812 h 6857992"/>
              <a:gd name="connsiteX824" fmla="*/ 10873777 w 12191985"/>
              <a:gd name="connsiteY824" fmla="*/ 354056 h 6857992"/>
              <a:gd name="connsiteX825" fmla="*/ 10849286 w 12191985"/>
              <a:gd name="connsiteY825" fmla="*/ 368540 h 6857992"/>
              <a:gd name="connsiteX826" fmla="*/ 10849024 w 12191985"/>
              <a:gd name="connsiteY826" fmla="*/ 368540 h 6857992"/>
              <a:gd name="connsiteX827" fmla="*/ 10848584 w 12191985"/>
              <a:gd name="connsiteY827" fmla="*/ 355900 h 6857992"/>
              <a:gd name="connsiteX828" fmla="*/ 10828044 w 12191985"/>
              <a:gd name="connsiteY828" fmla="*/ 355900 h 6857992"/>
              <a:gd name="connsiteX829" fmla="*/ 10828746 w 12191985"/>
              <a:gd name="connsiteY829" fmla="*/ 379073 h 6857992"/>
              <a:gd name="connsiteX830" fmla="*/ 10828746 w 12191985"/>
              <a:gd name="connsiteY830" fmla="*/ 429020 h 6857992"/>
              <a:gd name="connsiteX831" fmla="*/ 10850954 w 12191985"/>
              <a:gd name="connsiteY831" fmla="*/ 429020 h 6857992"/>
              <a:gd name="connsiteX832" fmla="*/ 10850954 w 12191985"/>
              <a:gd name="connsiteY832" fmla="*/ 394874 h 6857992"/>
              <a:gd name="connsiteX833" fmla="*/ 10865790 w 12191985"/>
              <a:gd name="connsiteY833" fmla="*/ 371787 h 6857992"/>
              <a:gd name="connsiteX834" fmla="*/ 10876937 w 12191985"/>
              <a:gd name="connsiteY834" fmla="*/ 393206 h 6857992"/>
              <a:gd name="connsiteX835" fmla="*/ 10876937 w 12191985"/>
              <a:gd name="connsiteY835" fmla="*/ 429020 h 6857992"/>
              <a:gd name="connsiteX836" fmla="*/ 10877113 w 12191985"/>
              <a:gd name="connsiteY836" fmla="*/ 429020 h 6857992"/>
              <a:gd name="connsiteX837" fmla="*/ 10899321 w 12191985"/>
              <a:gd name="connsiteY837" fmla="*/ 429020 h 6857992"/>
              <a:gd name="connsiteX838" fmla="*/ 10899321 w 12191985"/>
              <a:gd name="connsiteY838" fmla="*/ 395225 h 6857992"/>
              <a:gd name="connsiteX839" fmla="*/ 10914156 w 12191985"/>
              <a:gd name="connsiteY839" fmla="*/ 371876 h 6857992"/>
              <a:gd name="connsiteX840" fmla="*/ 10925304 w 12191985"/>
              <a:gd name="connsiteY840" fmla="*/ 391450 h 6857992"/>
              <a:gd name="connsiteX841" fmla="*/ 10925304 w 12191985"/>
              <a:gd name="connsiteY841" fmla="*/ 429108 h 6857992"/>
              <a:gd name="connsiteX842" fmla="*/ 10947512 w 12191985"/>
              <a:gd name="connsiteY842" fmla="*/ 429108 h 6857992"/>
              <a:gd name="connsiteX843" fmla="*/ 10947512 w 12191985"/>
              <a:gd name="connsiteY843" fmla="*/ 385745 h 6857992"/>
              <a:gd name="connsiteX844" fmla="*/ 10922320 w 12191985"/>
              <a:gd name="connsiteY844" fmla="*/ 354056 h 6857992"/>
              <a:gd name="connsiteX845" fmla="*/ 10896425 w 12191985"/>
              <a:gd name="connsiteY845" fmla="*/ 368891 h 6857992"/>
              <a:gd name="connsiteX846" fmla="*/ 10873777 w 12191985"/>
              <a:gd name="connsiteY846" fmla="*/ 354056 h 6857992"/>
              <a:gd name="connsiteX847" fmla="*/ 10776517 w 12191985"/>
              <a:gd name="connsiteY847" fmla="*/ 353969 h 6857992"/>
              <a:gd name="connsiteX848" fmla="*/ 10735611 w 12191985"/>
              <a:gd name="connsiteY848" fmla="*/ 392592 h 6857992"/>
              <a:gd name="connsiteX849" fmla="*/ 10776077 w 12191985"/>
              <a:gd name="connsiteY849" fmla="*/ 430863 h 6857992"/>
              <a:gd name="connsiteX850" fmla="*/ 10816544 w 12191985"/>
              <a:gd name="connsiteY850" fmla="*/ 392592 h 6857992"/>
              <a:gd name="connsiteX851" fmla="*/ 10776517 w 12191985"/>
              <a:gd name="connsiteY851" fmla="*/ 353969 h 6857992"/>
              <a:gd name="connsiteX852" fmla="*/ 11874991 w 12191985"/>
              <a:gd name="connsiteY852" fmla="*/ 353968 h 6857992"/>
              <a:gd name="connsiteX853" fmla="*/ 11834789 w 12191985"/>
              <a:gd name="connsiteY853" fmla="*/ 381794 h 6857992"/>
              <a:gd name="connsiteX854" fmla="*/ 11834789 w 12191985"/>
              <a:gd name="connsiteY854" fmla="*/ 429020 h 6857992"/>
              <a:gd name="connsiteX855" fmla="*/ 11856295 w 12191985"/>
              <a:gd name="connsiteY855" fmla="*/ 429020 h 6857992"/>
              <a:gd name="connsiteX856" fmla="*/ 11856295 w 12191985"/>
              <a:gd name="connsiteY856" fmla="*/ 391976 h 6857992"/>
              <a:gd name="connsiteX857" fmla="*/ 11874027 w 12191985"/>
              <a:gd name="connsiteY857" fmla="*/ 372050 h 6857992"/>
              <a:gd name="connsiteX858" fmla="*/ 11881136 w 12191985"/>
              <a:gd name="connsiteY858" fmla="*/ 372050 h 6857992"/>
              <a:gd name="connsiteX859" fmla="*/ 11881136 w 12191985"/>
              <a:gd name="connsiteY859" fmla="*/ 353968 h 6857992"/>
              <a:gd name="connsiteX860" fmla="*/ 11256408 w 12191985"/>
              <a:gd name="connsiteY860" fmla="*/ 353968 h 6857992"/>
              <a:gd name="connsiteX861" fmla="*/ 11223403 w 12191985"/>
              <a:gd name="connsiteY861" fmla="*/ 392064 h 6857992"/>
              <a:gd name="connsiteX862" fmla="*/ 11255531 w 12191985"/>
              <a:gd name="connsiteY862" fmla="*/ 428843 h 6857992"/>
              <a:gd name="connsiteX863" fmla="*/ 11279494 w 12191985"/>
              <a:gd name="connsiteY863" fmla="*/ 415677 h 6857992"/>
              <a:gd name="connsiteX864" fmla="*/ 11279757 w 12191985"/>
              <a:gd name="connsiteY864" fmla="*/ 415677 h 6857992"/>
              <a:gd name="connsiteX865" fmla="*/ 11279494 w 12191985"/>
              <a:gd name="connsiteY865" fmla="*/ 422787 h 6857992"/>
              <a:gd name="connsiteX866" fmla="*/ 11257725 w 12191985"/>
              <a:gd name="connsiteY866" fmla="*/ 444293 h 6857992"/>
              <a:gd name="connsiteX867" fmla="*/ 11231655 w 12191985"/>
              <a:gd name="connsiteY867" fmla="*/ 437534 h 6857992"/>
              <a:gd name="connsiteX868" fmla="*/ 11231655 w 12191985"/>
              <a:gd name="connsiteY868" fmla="*/ 456143 h 6857992"/>
              <a:gd name="connsiteX869" fmla="*/ 11259656 w 12191985"/>
              <a:gd name="connsiteY869" fmla="*/ 460444 h 6857992"/>
              <a:gd name="connsiteX870" fmla="*/ 11301000 w 12191985"/>
              <a:gd name="connsiteY870" fmla="*/ 422523 h 6857992"/>
              <a:gd name="connsiteX871" fmla="*/ 11301000 w 12191985"/>
              <a:gd name="connsiteY871" fmla="*/ 355811 h 6857992"/>
              <a:gd name="connsiteX872" fmla="*/ 11280372 w 12191985"/>
              <a:gd name="connsiteY872" fmla="*/ 355811 h 6857992"/>
              <a:gd name="connsiteX873" fmla="*/ 11280635 w 12191985"/>
              <a:gd name="connsiteY873" fmla="*/ 367135 h 6857992"/>
              <a:gd name="connsiteX874" fmla="*/ 11280372 w 12191985"/>
              <a:gd name="connsiteY874" fmla="*/ 367135 h 6857992"/>
              <a:gd name="connsiteX875" fmla="*/ 11256408 w 12191985"/>
              <a:gd name="connsiteY875" fmla="*/ 353968 h 6857992"/>
              <a:gd name="connsiteX876" fmla="*/ 11183902 w 12191985"/>
              <a:gd name="connsiteY876" fmla="*/ 353968 h 6857992"/>
              <a:gd name="connsiteX877" fmla="*/ 11158797 w 12191985"/>
              <a:gd name="connsiteY877" fmla="*/ 368276 h 6857992"/>
              <a:gd name="connsiteX878" fmla="*/ 11158709 w 12191985"/>
              <a:gd name="connsiteY878" fmla="*/ 368364 h 6857992"/>
              <a:gd name="connsiteX879" fmla="*/ 11158446 w 12191985"/>
              <a:gd name="connsiteY879" fmla="*/ 368364 h 6857992"/>
              <a:gd name="connsiteX880" fmla="*/ 11157920 w 12191985"/>
              <a:gd name="connsiteY880" fmla="*/ 355900 h 6857992"/>
              <a:gd name="connsiteX881" fmla="*/ 11136940 w 12191985"/>
              <a:gd name="connsiteY881" fmla="*/ 355900 h 6857992"/>
              <a:gd name="connsiteX882" fmla="*/ 11137642 w 12191985"/>
              <a:gd name="connsiteY882" fmla="*/ 379161 h 6857992"/>
              <a:gd name="connsiteX883" fmla="*/ 11137642 w 12191985"/>
              <a:gd name="connsiteY883" fmla="*/ 429107 h 6857992"/>
              <a:gd name="connsiteX884" fmla="*/ 11159763 w 12191985"/>
              <a:gd name="connsiteY884" fmla="*/ 429107 h 6857992"/>
              <a:gd name="connsiteX885" fmla="*/ 11159763 w 12191985"/>
              <a:gd name="connsiteY885" fmla="*/ 396804 h 6857992"/>
              <a:gd name="connsiteX886" fmla="*/ 11162748 w 12191985"/>
              <a:gd name="connsiteY886" fmla="*/ 380390 h 6857992"/>
              <a:gd name="connsiteX887" fmla="*/ 11176616 w 12191985"/>
              <a:gd name="connsiteY887" fmla="*/ 371875 h 6857992"/>
              <a:gd name="connsiteX888" fmla="*/ 11189081 w 12191985"/>
              <a:gd name="connsiteY888" fmla="*/ 394083 h 6857992"/>
              <a:gd name="connsiteX889" fmla="*/ 11189081 w 12191985"/>
              <a:gd name="connsiteY889" fmla="*/ 429020 h 6857992"/>
              <a:gd name="connsiteX890" fmla="*/ 11211201 w 12191985"/>
              <a:gd name="connsiteY890" fmla="*/ 429020 h 6857992"/>
              <a:gd name="connsiteX891" fmla="*/ 11211201 w 12191985"/>
              <a:gd name="connsiteY891" fmla="*/ 385656 h 6857992"/>
              <a:gd name="connsiteX892" fmla="*/ 11183902 w 12191985"/>
              <a:gd name="connsiteY892" fmla="*/ 353968 h 6857992"/>
              <a:gd name="connsiteX893" fmla="*/ 10994649 w 12191985"/>
              <a:gd name="connsiteY893" fmla="*/ 353968 h 6857992"/>
              <a:gd name="connsiteX894" fmla="*/ 10967877 w 12191985"/>
              <a:gd name="connsiteY894" fmla="*/ 359060 h 6857992"/>
              <a:gd name="connsiteX895" fmla="*/ 10967877 w 12191985"/>
              <a:gd name="connsiteY895" fmla="*/ 375474 h 6857992"/>
              <a:gd name="connsiteX896" fmla="*/ 10991138 w 12191985"/>
              <a:gd name="connsiteY896" fmla="*/ 369242 h 6857992"/>
              <a:gd name="connsiteX897" fmla="*/ 11007553 w 12191985"/>
              <a:gd name="connsiteY897" fmla="*/ 383725 h 6857992"/>
              <a:gd name="connsiteX898" fmla="*/ 10997107 w 12191985"/>
              <a:gd name="connsiteY898" fmla="*/ 383286 h 6857992"/>
              <a:gd name="connsiteX899" fmla="*/ 10958835 w 12191985"/>
              <a:gd name="connsiteY899" fmla="*/ 407514 h 6857992"/>
              <a:gd name="connsiteX900" fmla="*/ 10984203 w 12191985"/>
              <a:gd name="connsiteY900" fmla="*/ 430424 h 6857992"/>
              <a:gd name="connsiteX901" fmla="*/ 11009221 w 12191985"/>
              <a:gd name="connsiteY901" fmla="*/ 416818 h 6857992"/>
              <a:gd name="connsiteX902" fmla="*/ 11009484 w 12191985"/>
              <a:gd name="connsiteY902" fmla="*/ 416818 h 6857992"/>
              <a:gd name="connsiteX903" fmla="*/ 11009221 w 12191985"/>
              <a:gd name="connsiteY903" fmla="*/ 423225 h 6857992"/>
              <a:gd name="connsiteX904" fmla="*/ 11009660 w 12191985"/>
              <a:gd name="connsiteY904" fmla="*/ 429019 h 6857992"/>
              <a:gd name="connsiteX905" fmla="*/ 11029059 w 12191985"/>
              <a:gd name="connsiteY905" fmla="*/ 429019 h 6857992"/>
              <a:gd name="connsiteX906" fmla="*/ 11028093 w 12191985"/>
              <a:gd name="connsiteY906" fmla="*/ 402861 h 6857992"/>
              <a:gd name="connsiteX907" fmla="*/ 11028357 w 12191985"/>
              <a:gd name="connsiteY907" fmla="*/ 384427 h 6857992"/>
              <a:gd name="connsiteX908" fmla="*/ 10994649 w 12191985"/>
              <a:gd name="connsiteY908" fmla="*/ 353968 h 6857992"/>
              <a:gd name="connsiteX909" fmla="*/ 11784140 w 12191985"/>
              <a:gd name="connsiteY909" fmla="*/ 353967 h 6857992"/>
              <a:gd name="connsiteX910" fmla="*/ 11743234 w 12191985"/>
              <a:gd name="connsiteY910" fmla="*/ 392590 h 6857992"/>
              <a:gd name="connsiteX911" fmla="*/ 11783700 w 12191985"/>
              <a:gd name="connsiteY911" fmla="*/ 430862 h 6857992"/>
              <a:gd name="connsiteX912" fmla="*/ 11824167 w 12191985"/>
              <a:gd name="connsiteY912" fmla="*/ 392590 h 6857992"/>
              <a:gd name="connsiteX913" fmla="*/ 11784140 w 12191985"/>
              <a:gd name="connsiteY913" fmla="*/ 353967 h 6857992"/>
              <a:gd name="connsiteX914" fmla="*/ 11526068 w 12191985"/>
              <a:gd name="connsiteY914" fmla="*/ 353880 h 6857992"/>
              <a:gd name="connsiteX915" fmla="*/ 11487532 w 12191985"/>
              <a:gd name="connsiteY915" fmla="*/ 392152 h 6857992"/>
              <a:gd name="connsiteX916" fmla="*/ 11529139 w 12191985"/>
              <a:gd name="connsiteY916" fmla="*/ 430774 h 6857992"/>
              <a:gd name="connsiteX917" fmla="*/ 11554069 w 12191985"/>
              <a:gd name="connsiteY917" fmla="*/ 425859 h 6857992"/>
              <a:gd name="connsiteX918" fmla="*/ 11553630 w 12191985"/>
              <a:gd name="connsiteY918" fmla="*/ 409181 h 6857992"/>
              <a:gd name="connsiteX919" fmla="*/ 11531686 w 12191985"/>
              <a:gd name="connsiteY919" fmla="*/ 414887 h 6857992"/>
              <a:gd name="connsiteX920" fmla="*/ 11509565 w 12191985"/>
              <a:gd name="connsiteY920" fmla="*/ 398559 h 6857992"/>
              <a:gd name="connsiteX921" fmla="*/ 11509653 w 12191985"/>
              <a:gd name="connsiteY921" fmla="*/ 398472 h 6857992"/>
              <a:gd name="connsiteX922" fmla="*/ 11559599 w 12191985"/>
              <a:gd name="connsiteY922" fmla="*/ 398472 h 6857992"/>
              <a:gd name="connsiteX923" fmla="*/ 11559863 w 12191985"/>
              <a:gd name="connsiteY923" fmla="*/ 393205 h 6857992"/>
              <a:gd name="connsiteX924" fmla="*/ 11526068 w 12191985"/>
              <a:gd name="connsiteY924" fmla="*/ 353880 h 6857992"/>
              <a:gd name="connsiteX925" fmla="*/ 11044508 w 12191985"/>
              <a:gd name="connsiteY925" fmla="*/ 340714 h 6857992"/>
              <a:gd name="connsiteX926" fmla="*/ 11043806 w 12191985"/>
              <a:gd name="connsiteY926" fmla="*/ 402950 h 6857992"/>
              <a:gd name="connsiteX927" fmla="*/ 11069876 w 12191985"/>
              <a:gd name="connsiteY927" fmla="*/ 429986 h 6857992"/>
              <a:gd name="connsiteX928" fmla="*/ 11083044 w 12191985"/>
              <a:gd name="connsiteY928" fmla="*/ 428494 h 6857992"/>
              <a:gd name="connsiteX929" fmla="*/ 11083044 w 12191985"/>
              <a:gd name="connsiteY929" fmla="*/ 412870 h 6857992"/>
              <a:gd name="connsiteX930" fmla="*/ 11076109 w 12191985"/>
              <a:gd name="connsiteY930" fmla="*/ 413747 h 6857992"/>
              <a:gd name="connsiteX931" fmla="*/ 11065488 w 12191985"/>
              <a:gd name="connsiteY931" fmla="*/ 400141 h 6857992"/>
              <a:gd name="connsiteX932" fmla="*/ 11065488 w 12191985"/>
              <a:gd name="connsiteY932" fmla="*/ 371525 h 6857992"/>
              <a:gd name="connsiteX933" fmla="*/ 11083044 w 12191985"/>
              <a:gd name="connsiteY933" fmla="*/ 371525 h 6857992"/>
              <a:gd name="connsiteX934" fmla="*/ 11083044 w 12191985"/>
              <a:gd name="connsiteY934" fmla="*/ 355812 h 6857992"/>
              <a:gd name="connsiteX935" fmla="*/ 11065488 w 12191985"/>
              <a:gd name="connsiteY935" fmla="*/ 355812 h 6857992"/>
              <a:gd name="connsiteX936" fmla="*/ 11065488 w 12191985"/>
              <a:gd name="connsiteY936" fmla="*/ 340714 h 6857992"/>
              <a:gd name="connsiteX937" fmla="*/ 10689614 w 12191985"/>
              <a:gd name="connsiteY937" fmla="*/ 340714 h 6857992"/>
              <a:gd name="connsiteX938" fmla="*/ 10688912 w 12191985"/>
              <a:gd name="connsiteY938" fmla="*/ 402950 h 6857992"/>
              <a:gd name="connsiteX939" fmla="*/ 10714982 w 12191985"/>
              <a:gd name="connsiteY939" fmla="*/ 429986 h 6857992"/>
              <a:gd name="connsiteX940" fmla="*/ 10728150 w 12191985"/>
              <a:gd name="connsiteY940" fmla="*/ 428494 h 6857992"/>
              <a:gd name="connsiteX941" fmla="*/ 10728150 w 12191985"/>
              <a:gd name="connsiteY941" fmla="*/ 412870 h 6857992"/>
              <a:gd name="connsiteX942" fmla="*/ 10721215 w 12191985"/>
              <a:gd name="connsiteY942" fmla="*/ 413747 h 6857992"/>
              <a:gd name="connsiteX943" fmla="*/ 10710594 w 12191985"/>
              <a:gd name="connsiteY943" fmla="*/ 400141 h 6857992"/>
              <a:gd name="connsiteX944" fmla="*/ 10710594 w 12191985"/>
              <a:gd name="connsiteY944" fmla="*/ 371525 h 6857992"/>
              <a:gd name="connsiteX945" fmla="*/ 10728150 w 12191985"/>
              <a:gd name="connsiteY945" fmla="*/ 371525 h 6857992"/>
              <a:gd name="connsiteX946" fmla="*/ 10728150 w 12191985"/>
              <a:gd name="connsiteY946" fmla="*/ 355812 h 6857992"/>
              <a:gd name="connsiteX947" fmla="*/ 10710594 w 12191985"/>
              <a:gd name="connsiteY947" fmla="*/ 355812 h 6857992"/>
              <a:gd name="connsiteX948" fmla="*/ 10710594 w 12191985"/>
              <a:gd name="connsiteY948" fmla="*/ 340714 h 6857992"/>
              <a:gd name="connsiteX949" fmla="*/ 10535736 w 12191985"/>
              <a:gd name="connsiteY949" fmla="*/ 340714 h 6857992"/>
              <a:gd name="connsiteX950" fmla="*/ 10536000 w 12191985"/>
              <a:gd name="connsiteY950" fmla="*/ 340714 h 6857992"/>
              <a:gd name="connsiteX951" fmla="*/ 10543812 w 12191985"/>
              <a:gd name="connsiteY951" fmla="*/ 367399 h 6857992"/>
              <a:gd name="connsiteX952" fmla="*/ 10550571 w 12191985"/>
              <a:gd name="connsiteY952" fmla="*/ 387149 h 6857992"/>
              <a:gd name="connsiteX953" fmla="*/ 10520375 w 12191985"/>
              <a:gd name="connsiteY953" fmla="*/ 387149 h 6857992"/>
              <a:gd name="connsiteX954" fmla="*/ 10527309 w 12191985"/>
              <a:gd name="connsiteY954" fmla="*/ 367399 h 6857992"/>
              <a:gd name="connsiteX955" fmla="*/ 10535736 w 12191985"/>
              <a:gd name="connsiteY955" fmla="*/ 340714 h 6857992"/>
              <a:gd name="connsiteX956" fmla="*/ 11349455 w 12191985"/>
              <a:gd name="connsiteY956" fmla="*/ 340713 h 6857992"/>
              <a:gd name="connsiteX957" fmla="*/ 11348753 w 12191985"/>
              <a:gd name="connsiteY957" fmla="*/ 402949 h 6857992"/>
              <a:gd name="connsiteX958" fmla="*/ 11374823 w 12191985"/>
              <a:gd name="connsiteY958" fmla="*/ 429985 h 6857992"/>
              <a:gd name="connsiteX959" fmla="*/ 11387991 w 12191985"/>
              <a:gd name="connsiteY959" fmla="*/ 428493 h 6857992"/>
              <a:gd name="connsiteX960" fmla="*/ 11387991 w 12191985"/>
              <a:gd name="connsiteY960" fmla="*/ 412869 h 6857992"/>
              <a:gd name="connsiteX961" fmla="*/ 11381056 w 12191985"/>
              <a:gd name="connsiteY961" fmla="*/ 413746 h 6857992"/>
              <a:gd name="connsiteX962" fmla="*/ 11370435 w 12191985"/>
              <a:gd name="connsiteY962" fmla="*/ 400140 h 6857992"/>
              <a:gd name="connsiteX963" fmla="*/ 11370435 w 12191985"/>
              <a:gd name="connsiteY963" fmla="*/ 371524 h 6857992"/>
              <a:gd name="connsiteX964" fmla="*/ 11387991 w 12191985"/>
              <a:gd name="connsiteY964" fmla="*/ 371524 h 6857992"/>
              <a:gd name="connsiteX965" fmla="*/ 11387991 w 12191985"/>
              <a:gd name="connsiteY965" fmla="*/ 355811 h 6857992"/>
              <a:gd name="connsiteX966" fmla="*/ 11370435 w 12191985"/>
              <a:gd name="connsiteY966" fmla="*/ 355811 h 6857992"/>
              <a:gd name="connsiteX967" fmla="*/ 11370435 w 12191985"/>
              <a:gd name="connsiteY967" fmla="*/ 340713 h 6857992"/>
              <a:gd name="connsiteX968" fmla="*/ 10028019 w 12191985"/>
              <a:gd name="connsiteY968" fmla="*/ 340533 h 6857992"/>
              <a:gd name="connsiteX969" fmla="*/ 10054441 w 12191985"/>
              <a:gd name="connsiteY969" fmla="*/ 340533 h 6857992"/>
              <a:gd name="connsiteX970" fmla="*/ 10069099 w 12191985"/>
              <a:gd name="connsiteY970" fmla="*/ 355193 h 6857992"/>
              <a:gd name="connsiteX971" fmla="*/ 10055143 w 12191985"/>
              <a:gd name="connsiteY971" fmla="*/ 369676 h 6857992"/>
              <a:gd name="connsiteX972" fmla="*/ 10028107 w 12191985"/>
              <a:gd name="connsiteY972" fmla="*/ 369676 h 6857992"/>
              <a:gd name="connsiteX973" fmla="*/ 10028019 w 12191985"/>
              <a:gd name="connsiteY973" fmla="*/ 369676 h 6857992"/>
              <a:gd name="connsiteX974" fmla="*/ 11600505 w 12191985"/>
              <a:gd name="connsiteY974" fmla="*/ 330179 h 6857992"/>
              <a:gd name="connsiteX975" fmla="*/ 11625698 w 12191985"/>
              <a:gd name="connsiteY975" fmla="*/ 429018 h 6857992"/>
              <a:gd name="connsiteX976" fmla="*/ 11655718 w 12191985"/>
              <a:gd name="connsiteY976" fmla="*/ 429018 h 6857992"/>
              <a:gd name="connsiteX977" fmla="*/ 11668446 w 12191985"/>
              <a:gd name="connsiteY977" fmla="*/ 366257 h 6857992"/>
              <a:gd name="connsiteX978" fmla="*/ 11671518 w 12191985"/>
              <a:gd name="connsiteY978" fmla="*/ 346594 h 6857992"/>
              <a:gd name="connsiteX979" fmla="*/ 11671782 w 12191985"/>
              <a:gd name="connsiteY979" fmla="*/ 346594 h 6857992"/>
              <a:gd name="connsiteX980" fmla="*/ 11675206 w 12191985"/>
              <a:gd name="connsiteY980" fmla="*/ 366257 h 6857992"/>
              <a:gd name="connsiteX981" fmla="*/ 11675381 w 12191985"/>
              <a:gd name="connsiteY981" fmla="*/ 366257 h 6857992"/>
              <a:gd name="connsiteX982" fmla="*/ 11689074 w 12191985"/>
              <a:gd name="connsiteY982" fmla="*/ 429018 h 6857992"/>
              <a:gd name="connsiteX983" fmla="*/ 11718919 w 12191985"/>
              <a:gd name="connsiteY983" fmla="*/ 429018 h 6857992"/>
              <a:gd name="connsiteX984" fmla="*/ 11743410 w 12191985"/>
              <a:gd name="connsiteY984" fmla="*/ 330179 h 6857992"/>
              <a:gd name="connsiteX985" fmla="*/ 11720500 w 12191985"/>
              <a:gd name="connsiteY985" fmla="*/ 330179 h 6857992"/>
              <a:gd name="connsiteX986" fmla="*/ 11708913 w 12191985"/>
              <a:gd name="connsiteY986" fmla="*/ 384954 h 6857992"/>
              <a:gd name="connsiteX987" fmla="*/ 11704348 w 12191985"/>
              <a:gd name="connsiteY987" fmla="*/ 410849 h 6857992"/>
              <a:gd name="connsiteX988" fmla="*/ 11704085 w 12191985"/>
              <a:gd name="connsiteY988" fmla="*/ 410849 h 6857992"/>
              <a:gd name="connsiteX989" fmla="*/ 11699520 w 12191985"/>
              <a:gd name="connsiteY989" fmla="*/ 384954 h 6857992"/>
              <a:gd name="connsiteX990" fmla="*/ 11687758 w 12191985"/>
              <a:gd name="connsiteY990" fmla="*/ 330179 h 6857992"/>
              <a:gd name="connsiteX991" fmla="*/ 11656860 w 12191985"/>
              <a:gd name="connsiteY991" fmla="*/ 330179 h 6857992"/>
              <a:gd name="connsiteX992" fmla="*/ 11646063 w 12191985"/>
              <a:gd name="connsiteY992" fmla="*/ 384954 h 6857992"/>
              <a:gd name="connsiteX993" fmla="*/ 11641673 w 12191985"/>
              <a:gd name="connsiteY993" fmla="*/ 410849 h 6857992"/>
              <a:gd name="connsiteX994" fmla="*/ 11641411 w 12191985"/>
              <a:gd name="connsiteY994" fmla="*/ 410849 h 6857992"/>
              <a:gd name="connsiteX995" fmla="*/ 11636845 w 12191985"/>
              <a:gd name="connsiteY995" fmla="*/ 384954 h 6857992"/>
              <a:gd name="connsiteX996" fmla="*/ 11624996 w 12191985"/>
              <a:gd name="connsiteY996" fmla="*/ 330179 h 6857992"/>
              <a:gd name="connsiteX997" fmla="*/ 11098580 w 12191985"/>
              <a:gd name="connsiteY997" fmla="*/ 325001 h 6857992"/>
              <a:gd name="connsiteX998" fmla="*/ 11098580 w 12191985"/>
              <a:gd name="connsiteY998" fmla="*/ 343523 h 6857992"/>
              <a:gd name="connsiteX999" fmla="*/ 11120964 w 12191985"/>
              <a:gd name="connsiteY999" fmla="*/ 343523 h 6857992"/>
              <a:gd name="connsiteX1000" fmla="*/ 11120964 w 12191985"/>
              <a:gd name="connsiteY1000" fmla="*/ 325001 h 6857992"/>
              <a:gd name="connsiteX1001" fmla="*/ 11402210 w 12191985"/>
              <a:gd name="connsiteY1001" fmla="*/ 322104 h 6857992"/>
              <a:gd name="connsiteX1002" fmla="*/ 11402210 w 12191985"/>
              <a:gd name="connsiteY1002" fmla="*/ 429108 h 6857992"/>
              <a:gd name="connsiteX1003" fmla="*/ 11424331 w 12191985"/>
              <a:gd name="connsiteY1003" fmla="*/ 429108 h 6857992"/>
              <a:gd name="connsiteX1004" fmla="*/ 11424331 w 12191985"/>
              <a:gd name="connsiteY1004" fmla="*/ 396805 h 6857992"/>
              <a:gd name="connsiteX1005" fmla="*/ 11440921 w 12191985"/>
              <a:gd name="connsiteY1005" fmla="*/ 371875 h 6857992"/>
              <a:gd name="connsiteX1006" fmla="*/ 11453648 w 12191985"/>
              <a:gd name="connsiteY1006" fmla="*/ 394083 h 6857992"/>
              <a:gd name="connsiteX1007" fmla="*/ 11453648 w 12191985"/>
              <a:gd name="connsiteY1007" fmla="*/ 429019 h 6857992"/>
              <a:gd name="connsiteX1008" fmla="*/ 11475770 w 12191985"/>
              <a:gd name="connsiteY1008" fmla="*/ 429019 h 6857992"/>
              <a:gd name="connsiteX1009" fmla="*/ 11475770 w 12191985"/>
              <a:gd name="connsiteY1009" fmla="*/ 385831 h 6857992"/>
              <a:gd name="connsiteX1010" fmla="*/ 11448119 w 12191985"/>
              <a:gd name="connsiteY1010" fmla="*/ 353968 h 6857992"/>
              <a:gd name="connsiteX1011" fmla="*/ 11424067 w 12191985"/>
              <a:gd name="connsiteY1011" fmla="*/ 368100 h 6857992"/>
              <a:gd name="connsiteX1012" fmla="*/ 11423979 w 12191985"/>
              <a:gd name="connsiteY1012" fmla="*/ 368275 h 6857992"/>
              <a:gd name="connsiteX1013" fmla="*/ 11423716 w 12191985"/>
              <a:gd name="connsiteY1013" fmla="*/ 368275 h 6857992"/>
              <a:gd name="connsiteX1014" fmla="*/ 11424155 w 12191985"/>
              <a:gd name="connsiteY1014" fmla="*/ 351422 h 6857992"/>
              <a:gd name="connsiteX1015" fmla="*/ 11424155 w 12191985"/>
              <a:gd name="connsiteY1015" fmla="*/ 322104 h 6857992"/>
              <a:gd name="connsiteX1016" fmla="*/ 11981117 w 12191985"/>
              <a:gd name="connsiteY1016" fmla="*/ 322103 h 6857992"/>
              <a:gd name="connsiteX1017" fmla="*/ 11981117 w 12191985"/>
              <a:gd name="connsiteY1017" fmla="*/ 345716 h 6857992"/>
              <a:gd name="connsiteX1018" fmla="*/ 11981555 w 12191985"/>
              <a:gd name="connsiteY1018" fmla="*/ 366959 h 6857992"/>
              <a:gd name="connsiteX1019" fmla="*/ 11981293 w 12191985"/>
              <a:gd name="connsiteY1019" fmla="*/ 366959 h 6857992"/>
              <a:gd name="connsiteX1020" fmla="*/ 11958382 w 12191985"/>
              <a:gd name="connsiteY1020" fmla="*/ 354055 h 6857992"/>
              <a:gd name="connsiteX1021" fmla="*/ 11925991 w 12191985"/>
              <a:gd name="connsiteY1021" fmla="*/ 392151 h 6857992"/>
              <a:gd name="connsiteX1022" fmla="*/ 11958294 w 12191985"/>
              <a:gd name="connsiteY1022" fmla="*/ 430774 h 6857992"/>
              <a:gd name="connsiteX1023" fmla="*/ 11983048 w 12191985"/>
              <a:gd name="connsiteY1023" fmla="*/ 416203 h 6857992"/>
              <a:gd name="connsiteX1024" fmla="*/ 11983223 w 12191985"/>
              <a:gd name="connsiteY1024" fmla="*/ 416203 h 6857992"/>
              <a:gd name="connsiteX1025" fmla="*/ 11983487 w 12191985"/>
              <a:gd name="connsiteY1025" fmla="*/ 429107 h 6857992"/>
              <a:gd name="connsiteX1026" fmla="*/ 12004027 w 12191985"/>
              <a:gd name="connsiteY1026" fmla="*/ 429107 h 6857992"/>
              <a:gd name="connsiteX1027" fmla="*/ 12003325 w 12191985"/>
              <a:gd name="connsiteY1027" fmla="*/ 407338 h 6857992"/>
              <a:gd name="connsiteX1028" fmla="*/ 12003325 w 12191985"/>
              <a:gd name="connsiteY1028" fmla="*/ 322103 h 6857992"/>
              <a:gd name="connsiteX1029" fmla="*/ 10521253 w 12191985"/>
              <a:gd name="connsiteY1029" fmla="*/ 322017 h 6857992"/>
              <a:gd name="connsiteX1030" fmla="*/ 10479821 w 12191985"/>
              <a:gd name="connsiteY1030" fmla="*/ 429021 h 6857992"/>
              <a:gd name="connsiteX1031" fmla="*/ 10505453 w 12191985"/>
              <a:gd name="connsiteY1031" fmla="*/ 429021 h 6857992"/>
              <a:gd name="connsiteX1032" fmla="*/ 10514318 w 12191985"/>
              <a:gd name="connsiteY1032" fmla="*/ 405232 h 6857992"/>
              <a:gd name="connsiteX1033" fmla="*/ 10556628 w 12191985"/>
              <a:gd name="connsiteY1033" fmla="*/ 405232 h 6857992"/>
              <a:gd name="connsiteX1034" fmla="*/ 10565406 w 12191985"/>
              <a:gd name="connsiteY1034" fmla="*/ 429021 h 6857992"/>
              <a:gd name="connsiteX1035" fmla="*/ 10592706 w 12191985"/>
              <a:gd name="connsiteY1035" fmla="*/ 429021 h 6857992"/>
              <a:gd name="connsiteX1036" fmla="*/ 10550659 w 12191985"/>
              <a:gd name="connsiteY1036" fmla="*/ 322017 h 6857992"/>
              <a:gd name="connsiteX1037" fmla="*/ 11892372 w 12191985"/>
              <a:gd name="connsiteY1037" fmla="*/ 322015 h 6857992"/>
              <a:gd name="connsiteX1038" fmla="*/ 11892372 w 12191985"/>
              <a:gd name="connsiteY1038" fmla="*/ 429019 h 6857992"/>
              <a:gd name="connsiteX1039" fmla="*/ 11914756 w 12191985"/>
              <a:gd name="connsiteY1039" fmla="*/ 429019 h 6857992"/>
              <a:gd name="connsiteX1040" fmla="*/ 11914756 w 12191985"/>
              <a:gd name="connsiteY1040" fmla="*/ 322015 h 6857992"/>
              <a:gd name="connsiteX1041" fmla="*/ 9587453 w 12191985"/>
              <a:gd name="connsiteY1041" fmla="*/ 322013 h 6857992"/>
              <a:gd name="connsiteX1042" fmla="*/ 9587453 w 12191985"/>
              <a:gd name="connsiteY1042" fmla="*/ 340534 h 6857992"/>
              <a:gd name="connsiteX1043" fmla="*/ 9587453 w 12191985"/>
              <a:gd name="connsiteY1043" fmla="*/ 410494 h 6857992"/>
              <a:gd name="connsiteX1044" fmla="*/ 9587453 w 12191985"/>
              <a:gd name="connsiteY1044" fmla="*/ 429104 h 6857992"/>
              <a:gd name="connsiteX1045" fmla="*/ 9609046 w 12191985"/>
              <a:gd name="connsiteY1045" fmla="*/ 429104 h 6857992"/>
              <a:gd name="connsiteX1046" fmla="*/ 9668210 w 12191985"/>
              <a:gd name="connsiteY1046" fmla="*/ 429104 h 6857992"/>
              <a:gd name="connsiteX1047" fmla="*/ 9668210 w 12191985"/>
              <a:gd name="connsiteY1047" fmla="*/ 410494 h 6857992"/>
              <a:gd name="connsiteX1048" fmla="*/ 9609046 w 12191985"/>
              <a:gd name="connsiteY1048" fmla="*/ 410494 h 6857992"/>
              <a:gd name="connsiteX1049" fmla="*/ 9609046 w 12191985"/>
              <a:gd name="connsiteY1049" fmla="*/ 381966 h 6857992"/>
              <a:gd name="connsiteX1050" fmla="*/ 9660222 w 12191985"/>
              <a:gd name="connsiteY1050" fmla="*/ 381966 h 6857992"/>
              <a:gd name="connsiteX1051" fmla="*/ 9660222 w 12191985"/>
              <a:gd name="connsiteY1051" fmla="*/ 363445 h 6857992"/>
              <a:gd name="connsiteX1052" fmla="*/ 9609046 w 12191985"/>
              <a:gd name="connsiteY1052" fmla="*/ 363445 h 6857992"/>
              <a:gd name="connsiteX1053" fmla="*/ 9609046 w 12191985"/>
              <a:gd name="connsiteY1053" fmla="*/ 340534 h 6857992"/>
              <a:gd name="connsiteX1054" fmla="*/ 9666718 w 12191985"/>
              <a:gd name="connsiteY1054" fmla="*/ 340534 h 6857992"/>
              <a:gd name="connsiteX1055" fmla="*/ 9666718 w 12191985"/>
              <a:gd name="connsiteY1055" fmla="*/ 322013 h 6857992"/>
              <a:gd name="connsiteX1056" fmla="*/ 9609046 w 12191985"/>
              <a:gd name="connsiteY1056" fmla="*/ 322013 h 6857992"/>
              <a:gd name="connsiteX1057" fmla="*/ 10096663 w 12191985"/>
              <a:gd name="connsiteY1057" fmla="*/ 322012 h 6857992"/>
              <a:gd name="connsiteX1058" fmla="*/ 10096663 w 12191985"/>
              <a:gd name="connsiteY1058" fmla="*/ 429103 h 6857992"/>
              <a:gd name="connsiteX1059" fmla="*/ 10118257 w 12191985"/>
              <a:gd name="connsiteY1059" fmla="*/ 429103 h 6857992"/>
              <a:gd name="connsiteX1060" fmla="*/ 10118257 w 12191985"/>
              <a:gd name="connsiteY1060" fmla="*/ 322012 h 6857992"/>
              <a:gd name="connsiteX1061" fmla="*/ 9926809 w 12191985"/>
              <a:gd name="connsiteY1061" fmla="*/ 322012 h 6857992"/>
              <a:gd name="connsiteX1062" fmla="*/ 9926809 w 12191985"/>
              <a:gd name="connsiteY1062" fmla="*/ 340534 h 6857992"/>
              <a:gd name="connsiteX1063" fmla="*/ 9952967 w 12191985"/>
              <a:gd name="connsiteY1063" fmla="*/ 340534 h 6857992"/>
              <a:gd name="connsiteX1064" fmla="*/ 9952967 w 12191985"/>
              <a:gd name="connsiteY1064" fmla="*/ 429103 h 6857992"/>
              <a:gd name="connsiteX1065" fmla="*/ 9975000 w 12191985"/>
              <a:gd name="connsiteY1065" fmla="*/ 429103 h 6857992"/>
              <a:gd name="connsiteX1066" fmla="*/ 9975000 w 12191985"/>
              <a:gd name="connsiteY1066" fmla="*/ 340534 h 6857992"/>
              <a:gd name="connsiteX1067" fmla="*/ 10001070 w 12191985"/>
              <a:gd name="connsiteY1067" fmla="*/ 340534 h 6857992"/>
              <a:gd name="connsiteX1068" fmla="*/ 10001070 w 12191985"/>
              <a:gd name="connsiteY1068" fmla="*/ 322012 h 6857992"/>
              <a:gd name="connsiteX1069" fmla="*/ 9975000 w 12191985"/>
              <a:gd name="connsiteY1069" fmla="*/ 322012 h 6857992"/>
              <a:gd name="connsiteX1070" fmla="*/ 9952967 w 12191985"/>
              <a:gd name="connsiteY1070" fmla="*/ 322012 h 6857992"/>
              <a:gd name="connsiteX1071" fmla="*/ 9753532 w 12191985"/>
              <a:gd name="connsiteY1071" fmla="*/ 322012 h 6857992"/>
              <a:gd name="connsiteX1072" fmla="*/ 9753532 w 12191985"/>
              <a:gd name="connsiteY1072" fmla="*/ 340533 h 6857992"/>
              <a:gd name="connsiteX1073" fmla="*/ 9753532 w 12191985"/>
              <a:gd name="connsiteY1073" fmla="*/ 410493 h 6857992"/>
              <a:gd name="connsiteX1074" fmla="*/ 9753532 w 12191985"/>
              <a:gd name="connsiteY1074" fmla="*/ 429103 h 6857992"/>
              <a:gd name="connsiteX1075" fmla="*/ 9775214 w 12191985"/>
              <a:gd name="connsiteY1075" fmla="*/ 429103 h 6857992"/>
              <a:gd name="connsiteX1076" fmla="*/ 9834377 w 12191985"/>
              <a:gd name="connsiteY1076" fmla="*/ 429103 h 6857992"/>
              <a:gd name="connsiteX1077" fmla="*/ 9834377 w 12191985"/>
              <a:gd name="connsiteY1077" fmla="*/ 410493 h 6857992"/>
              <a:gd name="connsiteX1078" fmla="*/ 9775214 w 12191985"/>
              <a:gd name="connsiteY1078" fmla="*/ 410493 h 6857992"/>
              <a:gd name="connsiteX1079" fmla="*/ 9775214 w 12191985"/>
              <a:gd name="connsiteY1079" fmla="*/ 381965 h 6857992"/>
              <a:gd name="connsiteX1080" fmla="*/ 9826477 w 12191985"/>
              <a:gd name="connsiteY1080" fmla="*/ 381965 h 6857992"/>
              <a:gd name="connsiteX1081" fmla="*/ 9826477 w 12191985"/>
              <a:gd name="connsiteY1081" fmla="*/ 363444 h 6857992"/>
              <a:gd name="connsiteX1082" fmla="*/ 9775214 w 12191985"/>
              <a:gd name="connsiteY1082" fmla="*/ 363444 h 6857992"/>
              <a:gd name="connsiteX1083" fmla="*/ 9775214 w 12191985"/>
              <a:gd name="connsiteY1083" fmla="*/ 340533 h 6857992"/>
              <a:gd name="connsiteX1084" fmla="*/ 9832885 w 12191985"/>
              <a:gd name="connsiteY1084" fmla="*/ 340533 h 6857992"/>
              <a:gd name="connsiteX1085" fmla="*/ 9832885 w 12191985"/>
              <a:gd name="connsiteY1085" fmla="*/ 322012 h 6857992"/>
              <a:gd name="connsiteX1086" fmla="*/ 9775214 w 12191985"/>
              <a:gd name="connsiteY1086" fmla="*/ 322012 h 6857992"/>
              <a:gd name="connsiteX1087" fmla="*/ 9675232 w 12191985"/>
              <a:gd name="connsiteY1087" fmla="*/ 322011 h 6857992"/>
              <a:gd name="connsiteX1088" fmla="*/ 9675232 w 12191985"/>
              <a:gd name="connsiteY1088" fmla="*/ 410493 h 6857992"/>
              <a:gd name="connsiteX1089" fmla="*/ 9675232 w 12191985"/>
              <a:gd name="connsiteY1089" fmla="*/ 429102 h 6857992"/>
              <a:gd name="connsiteX1090" fmla="*/ 9696825 w 12191985"/>
              <a:gd name="connsiteY1090" fmla="*/ 429102 h 6857992"/>
              <a:gd name="connsiteX1091" fmla="*/ 9747387 w 12191985"/>
              <a:gd name="connsiteY1091" fmla="*/ 429102 h 6857992"/>
              <a:gd name="connsiteX1092" fmla="*/ 9747387 w 12191985"/>
              <a:gd name="connsiteY1092" fmla="*/ 410493 h 6857992"/>
              <a:gd name="connsiteX1093" fmla="*/ 9696825 w 12191985"/>
              <a:gd name="connsiteY1093" fmla="*/ 410493 h 6857992"/>
              <a:gd name="connsiteX1094" fmla="*/ 9696825 w 12191985"/>
              <a:gd name="connsiteY1094" fmla="*/ 322011 h 6857992"/>
              <a:gd name="connsiteX1095" fmla="*/ 10006425 w 12191985"/>
              <a:gd name="connsiteY1095" fmla="*/ 321837 h 6857992"/>
              <a:gd name="connsiteX1096" fmla="*/ 10006425 w 12191985"/>
              <a:gd name="connsiteY1096" fmla="*/ 429015 h 6857992"/>
              <a:gd name="connsiteX1097" fmla="*/ 10028019 w 12191985"/>
              <a:gd name="connsiteY1097" fmla="*/ 429015 h 6857992"/>
              <a:gd name="connsiteX1098" fmla="*/ 10028019 w 12191985"/>
              <a:gd name="connsiteY1098" fmla="*/ 386881 h 6857992"/>
              <a:gd name="connsiteX1099" fmla="*/ 10046716 w 12191985"/>
              <a:gd name="connsiteY1099" fmla="*/ 386881 h 6857992"/>
              <a:gd name="connsiteX1100" fmla="*/ 10065677 w 12191985"/>
              <a:gd name="connsiteY1100" fmla="*/ 400223 h 6857992"/>
              <a:gd name="connsiteX1101" fmla="*/ 10069363 w 12191985"/>
              <a:gd name="connsiteY1101" fmla="*/ 429104 h 6857992"/>
              <a:gd name="connsiteX1102" fmla="*/ 10091045 w 12191985"/>
              <a:gd name="connsiteY1102" fmla="*/ 429104 h 6857992"/>
              <a:gd name="connsiteX1103" fmla="*/ 10087270 w 12191985"/>
              <a:gd name="connsiteY1103" fmla="*/ 401014 h 6857992"/>
              <a:gd name="connsiteX1104" fmla="*/ 10071295 w 12191985"/>
              <a:gd name="connsiteY1104" fmla="*/ 377928 h 6857992"/>
              <a:gd name="connsiteX1105" fmla="*/ 10071295 w 12191985"/>
              <a:gd name="connsiteY1105" fmla="*/ 377752 h 6857992"/>
              <a:gd name="connsiteX1106" fmla="*/ 10090255 w 12191985"/>
              <a:gd name="connsiteY1106" fmla="*/ 351769 h 6857992"/>
              <a:gd name="connsiteX1107" fmla="*/ 10055494 w 12191985"/>
              <a:gd name="connsiteY1107" fmla="*/ 321837 h 6857992"/>
              <a:gd name="connsiteX1108" fmla="*/ 10028019 w 12191985"/>
              <a:gd name="connsiteY1108" fmla="*/ 321837 h 6857992"/>
              <a:gd name="connsiteX1109" fmla="*/ 10006601 w 12191985"/>
              <a:gd name="connsiteY1109" fmla="*/ 321837 h 6857992"/>
              <a:gd name="connsiteX1110" fmla="*/ 10172592 w 12191985"/>
              <a:gd name="connsiteY1110" fmla="*/ 319553 h 6857992"/>
              <a:gd name="connsiteX1111" fmla="*/ 10123348 w 12191985"/>
              <a:gd name="connsiteY1111" fmla="*/ 375469 h 6857992"/>
              <a:gd name="connsiteX1112" fmla="*/ 10172592 w 12191985"/>
              <a:gd name="connsiteY1112" fmla="*/ 431385 h 6857992"/>
              <a:gd name="connsiteX1113" fmla="*/ 10219027 w 12191985"/>
              <a:gd name="connsiteY1113" fmla="*/ 393639 h 6857992"/>
              <a:gd name="connsiteX1114" fmla="*/ 10196468 w 12191985"/>
              <a:gd name="connsiteY1114" fmla="*/ 393639 h 6857992"/>
              <a:gd name="connsiteX1115" fmla="*/ 10173207 w 12191985"/>
              <a:gd name="connsiteY1115" fmla="*/ 412600 h 6857992"/>
              <a:gd name="connsiteX1116" fmla="*/ 10173207 w 12191985"/>
              <a:gd name="connsiteY1116" fmla="*/ 412512 h 6857992"/>
              <a:gd name="connsiteX1117" fmla="*/ 10145643 w 12191985"/>
              <a:gd name="connsiteY1117" fmla="*/ 375118 h 6857992"/>
              <a:gd name="connsiteX1118" fmla="*/ 10173207 w 12191985"/>
              <a:gd name="connsiteY1118" fmla="*/ 337635 h 6857992"/>
              <a:gd name="connsiteX1119" fmla="*/ 10196468 w 12191985"/>
              <a:gd name="connsiteY1119" fmla="*/ 355982 h 6857992"/>
              <a:gd name="connsiteX1120" fmla="*/ 10218939 w 12191985"/>
              <a:gd name="connsiteY1120" fmla="*/ 355982 h 6857992"/>
              <a:gd name="connsiteX1121" fmla="*/ 10172592 w 12191985"/>
              <a:gd name="connsiteY1121" fmla="*/ 319553 h 6857992"/>
              <a:gd name="connsiteX1122" fmla="*/ 9882480 w 12191985"/>
              <a:gd name="connsiteY1122" fmla="*/ 319553 h 6857992"/>
              <a:gd name="connsiteX1123" fmla="*/ 9833236 w 12191985"/>
              <a:gd name="connsiteY1123" fmla="*/ 375469 h 6857992"/>
              <a:gd name="connsiteX1124" fmla="*/ 9882480 w 12191985"/>
              <a:gd name="connsiteY1124" fmla="*/ 431385 h 6857992"/>
              <a:gd name="connsiteX1125" fmla="*/ 9928740 w 12191985"/>
              <a:gd name="connsiteY1125" fmla="*/ 393639 h 6857992"/>
              <a:gd name="connsiteX1126" fmla="*/ 9906181 w 12191985"/>
              <a:gd name="connsiteY1126" fmla="*/ 393639 h 6857992"/>
              <a:gd name="connsiteX1127" fmla="*/ 9883095 w 12191985"/>
              <a:gd name="connsiteY1127" fmla="*/ 412600 h 6857992"/>
              <a:gd name="connsiteX1128" fmla="*/ 9883095 w 12191985"/>
              <a:gd name="connsiteY1128" fmla="*/ 412512 h 6857992"/>
              <a:gd name="connsiteX1129" fmla="*/ 9855444 w 12191985"/>
              <a:gd name="connsiteY1129" fmla="*/ 375118 h 6857992"/>
              <a:gd name="connsiteX1130" fmla="*/ 9883095 w 12191985"/>
              <a:gd name="connsiteY1130" fmla="*/ 337635 h 6857992"/>
              <a:gd name="connsiteX1131" fmla="*/ 9906181 w 12191985"/>
              <a:gd name="connsiteY1131" fmla="*/ 355982 h 6857992"/>
              <a:gd name="connsiteX1132" fmla="*/ 9928565 w 12191985"/>
              <a:gd name="connsiteY1132" fmla="*/ 355982 h 6857992"/>
              <a:gd name="connsiteX1133" fmla="*/ 9882480 w 12191985"/>
              <a:gd name="connsiteY1133" fmla="*/ 319553 h 6857992"/>
              <a:gd name="connsiteX1134" fmla="*/ 9360016 w 12191985"/>
              <a:gd name="connsiteY1134" fmla="*/ 318502 h 6857992"/>
              <a:gd name="connsiteX1135" fmla="*/ 9423832 w 12191985"/>
              <a:gd name="connsiteY1135" fmla="*/ 429104 h 6857992"/>
              <a:gd name="connsiteX1136" fmla="*/ 9551727 w 12191985"/>
              <a:gd name="connsiteY1136" fmla="*/ 429104 h 6857992"/>
              <a:gd name="connsiteX1137" fmla="*/ 9487823 w 12191985"/>
              <a:gd name="connsiteY1137" fmla="*/ 318502 h 6857992"/>
              <a:gd name="connsiteX1138" fmla="*/ 10009937 w 12191985"/>
              <a:gd name="connsiteY1138" fmla="*/ 256791 h 6857992"/>
              <a:gd name="connsiteX1139" fmla="*/ 10034954 w 12191985"/>
              <a:gd name="connsiteY1139" fmla="*/ 256791 h 6857992"/>
              <a:gd name="connsiteX1140" fmla="*/ 10051808 w 12191985"/>
              <a:gd name="connsiteY1140" fmla="*/ 272417 h 6857992"/>
              <a:gd name="connsiteX1141" fmla="*/ 10035218 w 12191985"/>
              <a:gd name="connsiteY1141" fmla="*/ 287866 h 6857992"/>
              <a:gd name="connsiteX1142" fmla="*/ 10009937 w 12191985"/>
              <a:gd name="connsiteY1142" fmla="*/ 287866 h 6857992"/>
              <a:gd name="connsiteX1143" fmla="*/ 10009937 w 12191985"/>
              <a:gd name="connsiteY1143" fmla="*/ 256791 h 6857992"/>
              <a:gd name="connsiteX1144" fmla="*/ 10010025 w 12191985"/>
              <a:gd name="connsiteY1144" fmla="*/ 213955 h 6857992"/>
              <a:gd name="connsiteX1145" fmla="*/ 10036798 w 12191985"/>
              <a:gd name="connsiteY1145" fmla="*/ 213955 h 6857992"/>
              <a:gd name="connsiteX1146" fmla="*/ 10049614 w 12191985"/>
              <a:gd name="connsiteY1146" fmla="*/ 226683 h 6857992"/>
              <a:gd name="connsiteX1147" fmla="*/ 10035656 w 12191985"/>
              <a:gd name="connsiteY1147" fmla="*/ 240114 h 6857992"/>
              <a:gd name="connsiteX1148" fmla="*/ 10010025 w 12191985"/>
              <a:gd name="connsiteY1148" fmla="*/ 240114 h 6857992"/>
              <a:gd name="connsiteX1149" fmla="*/ 10010025 w 12191985"/>
              <a:gd name="connsiteY1149" fmla="*/ 213955 h 6857992"/>
              <a:gd name="connsiteX1150" fmla="*/ 9587453 w 12191985"/>
              <a:gd name="connsiteY1150" fmla="*/ 197103 h 6857992"/>
              <a:gd name="connsiteX1151" fmla="*/ 9587453 w 12191985"/>
              <a:gd name="connsiteY1151" fmla="*/ 304107 h 6857992"/>
              <a:gd name="connsiteX1152" fmla="*/ 9607643 w 12191985"/>
              <a:gd name="connsiteY1152" fmla="*/ 304107 h 6857992"/>
              <a:gd name="connsiteX1153" fmla="*/ 9607643 w 12191985"/>
              <a:gd name="connsiteY1153" fmla="*/ 224490 h 6857992"/>
              <a:gd name="connsiteX1154" fmla="*/ 9630377 w 12191985"/>
              <a:gd name="connsiteY1154" fmla="*/ 304107 h 6857992"/>
              <a:gd name="connsiteX1155" fmla="*/ 9631255 w 12191985"/>
              <a:gd name="connsiteY1155" fmla="*/ 304107 h 6857992"/>
              <a:gd name="connsiteX1156" fmla="*/ 9650303 w 12191985"/>
              <a:gd name="connsiteY1156" fmla="*/ 304107 h 6857992"/>
              <a:gd name="connsiteX1157" fmla="*/ 9651182 w 12191985"/>
              <a:gd name="connsiteY1157" fmla="*/ 304107 h 6857992"/>
              <a:gd name="connsiteX1158" fmla="*/ 9673916 w 12191985"/>
              <a:gd name="connsiteY1158" fmla="*/ 224490 h 6857992"/>
              <a:gd name="connsiteX1159" fmla="*/ 9673916 w 12191985"/>
              <a:gd name="connsiteY1159" fmla="*/ 304107 h 6857992"/>
              <a:gd name="connsiteX1160" fmla="*/ 9694106 w 12191985"/>
              <a:gd name="connsiteY1160" fmla="*/ 304107 h 6857992"/>
              <a:gd name="connsiteX1161" fmla="*/ 9694106 w 12191985"/>
              <a:gd name="connsiteY1161" fmla="*/ 197103 h 6857992"/>
              <a:gd name="connsiteX1162" fmla="*/ 9683045 w 12191985"/>
              <a:gd name="connsiteY1162" fmla="*/ 197103 h 6857992"/>
              <a:gd name="connsiteX1163" fmla="*/ 9673565 w 12191985"/>
              <a:gd name="connsiteY1163" fmla="*/ 197103 h 6857992"/>
              <a:gd name="connsiteX1164" fmla="*/ 9663207 w 12191985"/>
              <a:gd name="connsiteY1164" fmla="*/ 197103 h 6857992"/>
              <a:gd name="connsiteX1165" fmla="*/ 9640823 w 12191985"/>
              <a:gd name="connsiteY1165" fmla="*/ 272242 h 6857992"/>
              <a:gd name="connsiteX1166" fmla="*/ 9618352 w 12191985"/>
              <a:gd name="connsiteY1166" fmla="*/ 197103 h 6857992"/>
              <a:gd name="connsiteX1167" fmla="*/ 9607994 w 12191985"/>
              <a:gd name="connsiteY1167" fmla="*/ 197103 h 6857992"/>
              <a:gd name="connsiteX1168" fmla="*/ 9598425 w 12191985"/>
              <a:gd name="connsiteY1168" fmla="*/ 197103 h 6857992"/>
              <a:gd name="connsiteX1169" fmla="*/ 10198224 w 12191985"/>
              <a:gd name="connsiteY1169" fmla="*/ 197102 h 6857992"/>
              <a:gd name="connsiteX1170" fmla="*/ 10198224 w 12191985"/>
              <a:gd name="connsiteY1170" fmla="*/ 304106 h 6857992"/>
              <a:gd name="connsiteX1171" fmla="*/ 10219466 w 12191985"/>
              <a:gd name="connsiteY1171" fmla="*/ 304106 h 6857992"/>
              <a:gd name="connsiteX1172" fmla="*/ 10219466 w 12191985"/>
              <a:gd name="connsiteY1172" fmla="*/ 257407 h 6857992"/>
              <a:gd name="connsiteX1173" fmla="*/ 10262215 w 12191985"/>
              <a:gd name="connsiteY1173" fmla="*/ 257407 h 6857992"/>
              <a:gd name="connsiteX1174" fmla="*/ 10262215 w 12191985"/>
              <a:gd name="connsiteY1174" fmla="*/ 304106 h 6857992"/>
              <a:gd name="connsiteX1175" fmla="*/ 10283458 w 12191985"/>
              <a:gd name="connsiteY1175" fmla="*/ 304106 h 6857992"/>
              <a:gd name="connsiteX1176" fmla="*/ 10283458 w 12191985"/>
              <a:gd name="connsiteY1176" fmla="*/ 197102 h 6857992"/>
              <a:gd name="connsiteX1177" fmla="*/ 10262215 w 12191985"/>
              <a:gd name="connsiteY1177" fmla="*/ 197102 h 6857992"/>
              <a:gd name="connsiteX1178" fmla="*/ 10262215 w 12191985"/>
              <a:gd name="connsiteY1178" fmla="*/ 238798 h 6857992"/>
              <a:gd name="connsiteX1179" fmla="*/ 10219466 w 12191985"/>
              <a:gd name="connsiteY1179" fmla="*/ 238798 h 6857992"/>
              <a:gd name="connsiteX1180" fmla="*/ 10219466 w 12191985"/>
              <a:gd name="connsiteY1180" fmla="*/ 197102 h 6857992"/>
              <a:gd name="connsiteX1181" fmla="*/ 9730007 w 12191985"/>
              <a:gd name="connsiteY1181" fmla="*/ 197102 h 6857992"/>
              <a:gd name="connsiteX1182" fmla="*/ 9730007 w 12191985"/>
              <a:gd name="connsiteY1182" fmla="*/ 215535 h 6857992"/>
              <a:gd name="connsiteX1183" fmla="*/ 9756253 w 12191985"/>
              <a:gd name="connsiteY1183" fmla="*/ 215535 h 6857992"/>
              <a:gd name="connsiteX1184" fmla="*/ 9756253 w 12191985"/>
              <a:gd name="connsiteY1184" fmla="*/ 304106 h 6857992"/>
              <a:gd name="connsiteX1185" fmla="*/ 9778198 w 12191985"/>
              <a:gd name="connsiteY1185" fmla="*/ 304106 h 6857992"/>
              <a:gd name="connsiteX1186" fmla="*/ 9778198 w 12191985"/>
              <a:gd name="connsiteY1186" fmla="*/ 215535 h 6857992"/>
              <a:gd name="connsiteX1187" fmla="*/ 9804444 w 12191985"/>
              <a:gd name="connsiteY1187" fmla="*/ 215535 h 6857992"/>
              <a:gd name="connsiteX1188" fmla="*/ 9804444 w 12191985"/>
              <a:gd name="connsiteY1188" fmla="*/ 197102 h 6857992"/>
              <a:gd name="connsiteX1189" fmla="*/ 9778198 w 12191985"/>
              <a:gd name="connsiteY1189" fmla="*/ 197102 h 6857992"/>
              <a:gd name="connsiteX1190" fmla="*/ 9756253 w 12191985"/>
              <a:gd name="connsiteY1190" fmla="*/ 197102 h 6857992"/>
              <a:gd name="connsiteX1191" fmla="*/ 10079019 w 12191985"/>
              <a:gd name="connsiteY1191" fmla="*/ 197015 h 6857992"/>
              <a:gd name="connsiteX1192" fmla="*/ 10079019 w 12191985"/>
              <a:gd name="connsiteY1192" fmla="*/ 304105 h 6857992"/>
              <a:gd name="connsiteX1193" fmla="*/ 10100613 w 12191985"/>
              <a:gd name="connsiteY1193" fmla="*/ 304105 h 6857992"/>
              <a:gd name="connsiteX1194" fmla="*/ 10100613 w 12191985"/>
              <a:gd name="connsiteY1194" fmla="*/ 197015 h 6857992"/>
              <a:gd name="connsiteX1195" fmla="*/ 10292324 w 12191985"/>
              <a:gd name="connsiteY1195" fmla="*/ 197014 h 6857992"/>
              <a:gd name="connsiteX1196" fmla="*/ 10292324 w 12191985"/>
              <a:gd name="connsiteY1196" fmla="*/ 304105 h 6857992"/>
              <a:gd name="connsiteX1197" fmla="*/ 10313918 w 12191985"/>
              <a:gd name="connsiteY1197" fmla="*/ 304105 h 6857992"/>
              <a:gd name="connsiteX1198" fmla="*/ 10313918 w 12191985"/>
              <a:gd name="connsiteY1198" fmla="*/ 197014 h 6857992"/>
              <a:gd name="connsiteX1199" fmla="*/ 9988519 w 12191985"/>
              <a:gd name="connsiteY1199" fmla="*/ 197014 h 6857992"/>
              <a:gd name="connsiteX1200" fmla="*/ 9988519 w 12191985"/>
              <a:gd name="connsiteY1200" fmla="*/ 304105 h 6857992"/>
              <a:gd name="connsiteX1201" fmla="*/ 9988607 w 12191985"/>
              <a:gd name="connsiteY1201" fmla="*/ 304105 h 6857992"/>
              <a:gd name="connsiteX1202" fmla="*/ 10010727 w 12191985"/>
              <a:gd name="connsiteY1202" fmla="*/ 304105 h 6857992"/>
              <a:gd name="connsiteX1203" fmla="*/ 10010815 w 12191985"/>
              <a:gd name="connsiteY1203" fmla="*/ 304105 h 6857992"/>
              <a:gd name="connsiteX1204" fmla="*/ 10041889 w 12191985"/>
              <a:gd name="connsiteY1204" fmla="*/ 304105 h 6857992"/>
              <a:gd name="connsiteX1205" fmla="*/ 10074017 w 12191985"/>
              <a:gd name="connsiteY1205" fmla="*/ 275225 h 6857992"/>
              <a:gd name="connsiteX1206" fmla="*/ 10053388 w 12191985"/>
              <a:gd name="connsiteY1206" fmla="*/ 247136 h 6857992"/>
              <a:gd name="connsiteX1207" fmla="*/ 10070330 w 12191985"/>
              <a:gd name="connsiteY1207" fmla="*/ 223348 h 6857992"/>
              <a:gd name="connsiteX1208" fmla="*/ 10036710 w 12191985"/>
              <a:gd name="connsiteY1208" fmla="*/ 197014 h 6857992"/>
              <a:gd name="connsiteX1209" fmla="*/ 10010727 w 12191985"/>
              <a:gd name="connsiteY1209" fmla="*/ 197014 h 6857992"/>
              <a:gd name="connsiteX1210" fmla="*/ 9988607 w 12191985"/>
              <a:gd name="connsiteY1210" fmla="*/ 197014 h 6857992"/>
              <a:gd name="connsiteX1211" fmla="*/ 9895999 w 12191985"/>
              <a:gd name="connsiteY1211" fmla="*/ 197014 h 6857992"/>
              <a:gd name="connsiteX1212" fmla="*/ 9895999 w 12191985"/>
              <a:gd name="connsiteY1212" fmla="*/ 270661 h 6857992"/>
              <a:gd name="connsiteX1213" fmla="*/ 9938309 w 12191985"/>
              <a:gd name="connsiteY1213" fmla="*/ 307178 h 6857992"/>
              <a:gd name="connsiteX1214" fmla="*/ 9980970 w 12191985"/>
              <a:gd name="connsiteY1214" fmla="*/ 270661 h 6857992"/>
              <a:gd name="connsiteX1215" fmla="*/ 9980970 w 12191985"/>
              <a:gd name="connsiteY1215" fmla="*/ 197014 h 6857992"/>
              <a:gd name="connsiteX1216" fmla="*/ 9959464 w 12191985"/>
              <a:gd name="connsiteY1216" fmla="*/ 197014 h 6857992"/>
              <a:gd name="connsiteX1217" fmla="*/ 9959464 w 12191985"/>
              <a:gd name="connsiteY1217" fmla="*/ 272592 h 6857992"/>
              <a:gd name="connsiteX1218" fmla="*/ 9938309 w 12191985"/>
              <a:gd name="connsiteY1218" fmla="*/ 289446 h 6857992"/>
              <a:gd name="connsiteX1219" fmla="*/ 9917242 w 12191985"/>
              <a:gd name="connsiteY1219" fmla="*/ 272592 h 6857992"/>
              <a:gd name="connsiteX1220" fmla="*/ 9917242 w 12191985"/>
              <a:gd name="connsiteY1220" fmla="*/ 197014 h 6857992"/>
              <a:gd name="connsiteX1221" fmla="*/ 9702708 w 12191985"/>
              <a:gd name="connsiteY1221" fmla="*/ 197014 h 6857992"/>
              <a:gd name="connsiteX1222" fmla="*/ 9702708 w 12191985"/>
              <a:gd name="connsiteY1222" fmla="*/ 304105 h 6857992"/>
              <a:gd name="connsiteX1223" fmla="*/ 9724301 w 12191985"/>
              <a:gd name="connsiteY1223" fmla="*/ 304105 h 6857992"/>
              <a:gd name="connsiteX1224" fmla="*/ 9724301 w 12191985"/>
              <a:gd name="connsiteY1224" fmla="*/ 197014 h 6857992"/>
              <a:gd name="connsiteX1225" fmla="*/ 10147575 w 12191985"/>
              <a:gd name="connsiteY1225" fmla="*/ 193765 h 6857992"/>
              <a:gd name="connsiteX1226" fmla="*/ 10107635 w 12191985"/>
              <a:gd name="connsiteY1226" fmla="*/ 226243 h 6857992"/>
              <a:gd name="connsiteX1227" fmla="*/ 10142396 w 12191985"/>
              <a:gd name="connsiteY1227" fmla="*/ 258898 h 6857992"/>
              <a:gd name="connsiteX1228" fmla="*/ 10142484 w 12191985"/>
              <a:gd name="connsiteY1228" fmla="*/ 258898 h 6857992"/>
              <a:gd name="connsiteX1229" fmla="*/ 10169608 w 12191985"/>
              <a:gd name="connsiteY1229" fmla="*/ 275489 h 6857992"/>
              <a:gd name="connsiteX1230" fmla="*/ 10148277 w 12191985"/>
              <a:gd name="connsiteY1230" fmla="*/ 289095 h 6857992"/>
              <a:gd name="connsiteX1231" fmla="*/ 10126508 w 12191985"/>
              <a:gd name="connsiteY1231" fmla="*/ 271188 h 6857992"/>
              <a:gd name="connsiteX1232" fmla="*/ 10105792 w 12191985"/>
              <a:gd name="connsiteY1232" fmla="*/ 271188 h 6857992"/>
              <a:gd name="connsiteX1233" fmla="*/ 10149243 w 12191985"/>
              <a:gd name="connsiteY1233" fmla="*/ 306913 h 6857992"/>
              <a:gd name="connsiteX1234" fmla="*/ 10192080 w 12191985"/>
              <a:gd name="connsiteY1234" fmla="*/ 272943 h 6857992"/>
              <a:gd name="connsiteX1235" fmla="*/ 10161356 w 12191985"/>
              <a:gd name="connsiteY1235" fmla="*/ 241430 h 6857992"/>
              <a:gd name="connsiteX1236" fmla="*/ 10129317 w 12191985"/>
              <a:gd name="connsiteY1236" fmla="*/ 224840 h 6857992"/>
              <a:gd name="connsiteX1237" fmla="*/ 10148454 w 12191985"/>
              <a:gd name="connsiteY1237" fmla="*/ 211672 h 6857992"/>
              <a:gd name="connsiteX1238" fmla="*/ 10167853 w 12191985"/>
              <a:gd name="connsiteY1238" fmla="*/ 228087 h 6857992"/>
              <a:gd name="connsiteX1239" fmla="*/ 10188831 w 12191985"/>
              <a:gd name="connsiteY1239" fmla="*/ 228087 h 6857992"/>
              <a:gd name="connsiteX1240" fmla="*/ 10147575 w 12191985"/>
              <a:gd name="connsiteY1240" fmla="*/ 193765 h 6857992"/>
              <a:gd name="connsiteX1241" fmla="*/ 9845789 w 12191985"/>
              <a:gd name="connsiteY1241" fmla="*/ 193765 h 6857992"/>
              <a:gd name="connsiteX1242" fmla="*/ 9805761 w 12191985"/>
              <a:gd name="connsiteY1242" fmla="*/ 226243 h 6857992"/>
              <a:gd name="connsiteX1243" fmla="*/ 9840610 w 12191985"/>
              <a:gd name="connsiteY1243" fmla="*/ 258898 h 6857992"/>
              <a:gd name="connsiteX1244" fmla="*/ 9867909 w 12191985"/>
              <a:gd name="connsiteY1244" fmla="*/ 275489 h 6857992"/>
              <a:gd name="connsiteX1245" fmla="*/ 9846491 w 12191985"/>
              <a:gd name="connsiteY1245" fmla="*/ 289095 h 6857992"/>
              <a:gd name="connsiteX1246" fmla="*/ 9824722 w 12191985"/>
              <a:gd name="connsiteY1246" fmla="*/ 271188 h 6857992"/>
              <a:gd name="connsiteX1247" fmla="*/ 9803918 w 12191985"/>
              <a:gd name="connsiteY1247" fmla="*/ 271188 h 6857992"/>
              <a:gd name="connsiteX1248" fmla="*/ 9847457 w 12191985"/>
              <a:gd name="connsiteY1248" fmla="*/ 306913 h 6857992"/>
              <a:gd name="connsiteX1249" fmla="*/ 9890381 w 12191985"/>
              <a:gd name="connsiteY1249" fmla="*/ 272943 h 6857992"/>
              <a:gd name="connsiteX1250" fmla="*/ 9859482 w 12191985"/>
              <a:gd name="connsiteY1250" fmla="*/ 241430 h 6857992"/>
              <a:gd name="connsiteX1251" fmla="*/ 9827531 w 12191985"/>
              <a:gd name="connsiteY1251" fmla="*/ 224840 h 6857992"/>
              <a:gd name="connsiteX1252" fmla="*/ 9846667 w 12191985"/>
              <a:gd name="connsiteY1252" fmla="*/ 211673 h 6857992"/>
              <a:gd name="connsiteX1253" fmla="*/ 9866241 w 12191985"/>
              <a:gd name="connsiteY1253" fmla="*/ 228088 h 6857992"/>
              <a:gd name="connsiteX1254" fmla="*/ 9887133 w 12191985"/>
              <a:gd name="connsiteY1254" fmla="*/ 228088 h 6857992"/>
              <a:gd name="connsiteX1255" fmla="*/ 9845789 w 12191985"/>
              <a:gd name="connsiteY1255" fmla="*/ 193765 h 6857992"/>
              <a:gd name="connsiteX1256" fmla="*/ 10393710 w 12191985"/>
              <a:gd name="connsiteY1256" fmla="*/ 179724 h 6857992"/>
              <a:gd name="connsiteX1257" fmla="*/ 10393710 w 12191985"/>
              <a:gd name="connsiteY1257" fmla="*/ 562882 h 6857992"/>
              <a:gd name="connsiteX1258" fmla="*/ 10400030 w 12191985"/>
              <a:gd name="connsiteY1258" fmla="*/ 562882 h 6857992"/>
              <a:gd name="connsiteX1259" fmla="*/ 10400030 w 12191985"/>
              <a:gd name="connsiteY1259" fmla="*/ 179724 h 6857992"/>
              <a:gd name="connsiteX1260" fmla="*/ 9360015 w 12191985"/>
              <a:gd name="connsiteY1260" fmla="*/ 96946 h 6857992"/>
              <a:gd name="connsiteX1261" fmla="*/ 9296024 w 12191985"/>
              <a:gd name="connsiteY1261" fmla="*/ 207723 h 6857992"/>
              <a:gd name="connsiteX1262" fmla="*/ 9360015 w 12191985"/>
              <a:gd name="connsiteY1262" fmla="*/ 318502 h 6857992"/>
              <a:gd name="connsiteX1263" fmla="*/ 9232120 w 12191985"/>
              <a:gd name="connsiteY1263" fmla="*/ 318502 h 6857992"/>
              <a:gd name="connsiteX1264" fmla="*/ 9168217 w 12191985"/>
              <a:gd name="connsiteY1264" fmla="*/ 429104 h 6857992"/>
              <a:gd name="connsiteX1265" fmla="*/ 9296024 w 12191985"/>
              <a:gd name="connsiteY1265" fmla="*/ 429104 h 6857992"/>
              <a:gd name="connsiteX1266" fmla="*/ 9360015 w 12191985"/>
              <a:gd name="connsiteY1266" fmla="*/ 318502 h 6857992"/>
              <a:gd name="connsiteX1267" fmla="*/ 9423831 w 12191985"/>
              <a:gd name="connsiteY1267" fmla="*/ 207723 h 6857992"/>
              <a:gd name="connsiteX1268" fmla="*/ 0 w 12191985"/>
              <a:gd name="connsiteY1268" fmla="*/ 0 h 6857992"/>
              <a:gd name="connsiteX1269" fmla="*/ 12191985 w 12191985"/>
              <a:gd name="connsiteY1269" fmla="*/ 0 h 6857992"/>
              <a:gd name="connsiteX1270" fmla="*/ 12191985 w 12191985"/>
              <a:gd name="connsiteY1270" fmla="*/ 6857992 h 6857992"/>
              <a:gd name="connsiteX1271" fmla="*/ 0 w 12191985"/>
              <a:gd name="connsiteY1271" fmla="*/ 6857992 h 685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Lst>
            <a:rect l="l" t="t" r="r" b="b"/>
            <a:pathLst>
              <a:path w="12191985" h="6857992">
                <a:moveTo>
                  <a:pt x="5485278" y="5091449"/>
                </a:moveTo>
                <a:lnTo>
                  <a:pt x="5485278" y="5106958"/>
                </a:lnTo>
                <a:lnTo>
                  <a:pt x="5628274" y="5106958"/>
                </a:lnTo>
                <a:lnTo>
                  <a:pt x="5628274" y="5091449"/>
                </a:lnTo>
                <a:close/>
                <a:moveTo>
                  <a:pt x="5871679" y="5091081"/>
                </a:moveTo>
                <a:lnTo>
                  <a:pt x="5922507" y="5091081"/>
                </a:lnTo>
                <a:lnTo>
                  <a:pt x="5921632" y="5095835"/>
                </a:lnTo>
                <a:cubicBezTo>
                  <a:pt x="5921125" y="5097819"/>
                  <a:pt x="5919928" y="5101512"/>
                  <a:pt x="5913299" y="5101512"/>
                </a:cubicBezTo>
                <a:lnTo>
                  <a:pt x="5877573" y="5101512"/>
                </a:lnTo>
                <a:cubicBezTo>
                  <a:pt x="5872416" y="5101512"/>
                  <a:pt x="5871679" y="5099620"/>
                  <a:pt x="5871679" y="5096666"/>
                </a:cubicBezTo>
                <a:close/>
                <a:moveTo>
                  <a:pt x="5692819" y="5076034"/>
                </a:moveTo>
                <a:lnTo>
                  <a:pt x="5739042" y="5076034"/>
                </a:lnTo>
                <a:cubicBezTo>
                  <a:pt x="5734576" y="5080558"/>
                  <a:pt x="5724309" y="5085727"/>
                  <a:pt x="5715009" y="5089465"/>
                </a:cubicBezTo>
                <a:cubicBezTo>
                  <a:pt x="5706262" y="5086696"/>
                  <a:pt x="5696870" y="5081158"/>
                  <a:pt x="5692819" y="5076034"/>
                </a:cubicBezTo>
                <a:close/>
                <a:moveTo>
                  <a:pt x="5871587" y="5069619"/>
                </a:moveTo>
                <a:lnTo>
                  <a:pt x="5910767" y="5069619"/>
                </a:lnTo>
                <a:lnTo>
                  <a:pt x="5910767" y="5079865"/>
                </a:lnTo>
                <a:lnTo>
                  <a:pt x="5871587" y="5079865"/>
                </a:lnTo>
                <a:close/>
                <a:moveTo>
                  <a:pt x="5818827" y="5069573"/>
                </a:moveTo>
                <a:lnTo>
                  <a:pt x="5857271" y="5069573"/>
                </a:lnTo>
                <a:lnTo>
                  <a:pt x="5857271" y="5079819"/>
                </a:lnTo>
                <a:lnTo>
                  <a:pt x="5818827" y="5079819"/>
                </a:lnTo>
                <a:close/>
                <a:moveTo>
                  <a:pt x="5871587" y="5051019"/>
                </a:moveTo>
                <a:lnTo>
                  <a:pt x="5910767" y="5051019"/>
                </a:lnTo>
                <a:lnTo>
                  <a:pt x="5910767" y="5059419"/>
                </a:lnTo>
                <a:lnTo>
                  <a:pt x="5871587" y="5059419"/>
                </a:lnTo>
                <a:close/>
                <a:moveTo>
                  <a:pt x="5818827" y="5051019"/>
                </a:moveTo>
                <a:lnTo>
                  <a:pt x="5857271" y="5051019"/>
                </a:lnTo>
                <a:lnTo>
                  <a:pt x="5857271" y="5059511"/>
                </a:lnTo>
                <a:lnTo>
                  <a:pt x="5818827" y="5059511"/>
                </a:lnTo>
                <a:close/>
                <a:moveTo>
                  <a:pt x="5701797" y="5050095"/>
                </a:moveTo>
                <a:cubicBezTo>
                  <a:pt x="5701797" y="5050095"/>
                  <a:pt x="5689044" y="5069572"/>
                  <a:pt x="5642499" y="5079496"/>
                </a:cubicBezTo>
                <a:lnTo>
                  <a:pt x="5649267" y="5091865"/>
                </a:lnTo>
                <a:cubicBezTo>
                  <a:pt x="5649267" y="5091865"/>
                  <a:pt x="5662479" y="5089511"/>
                  <a:pt x="5679330" y="5082265"/>
                </a:cubicBezTo>
                <a:cubicBezTo>
                  <a:pt x="5679330" y="5082265"/>
                  <a:pt x="5685176" y="5086881"/>
                  <a:pt x="5695397" y="5094819"/>
                </a:cubicBezTo>
                <a:cubicBezTo>
                  <a:pt x="5670858" y="5100912"/>
                  <a:pt x="5654469" y="5100358"/>
                  <a:pt x="5641946" y="5100358"/>
                </a:cubicBezTo>
                <a:lnTo>
                  <a:pt x="5648944" y="5114482"/>
                </a:lnTo>
                <a:cubicBezTo>
                  <a:pt x="5670306" y="5113928"/>
                  <a:pt x="5693510" y="5108989"/>
                  <a:pt x="5713721" y="5103174"/>
                </a:cubicBezTo>
                <a:cubicBezTo>
                  <a:pt x="5717358" y="5104282"/>
                  <a:pt x="5727992" y="5107374"/>
                  <a:pt x="5732044" y="5108112"/>
                </a:cubicBezTo>
                <a:cubicBezTo>
                  <a:pt x="5732044" y="5108112"/>
                  <a:pt x="5763442" y="5114112"/>
                  <a:pt x="5778404" y="5113651"/>
                </a:cubicBezTo>
                <a:lnTo>
                  <a:pt x="5784666" y="5098327"/>
                </a:lnTo>
                <a:cubicBezTo>
                  <a:pt x="5773709" y="5098327"/>
                  <a:pt x="5748848" y="5098512"/>
                  <a:pt x="5735405" y="5094404"/>
                </a:cubicBezTo>
                <a:lnTo>
                  <a:pt x="5735405" y="5094358"/>
                </a:lnTo>
                <a:cubicBezTo>
                  <a:pt x="5740009" y="5091865"/>
                  <a:pt x="5758102" y="5079450"/>
                  <a:pt x="5761325" y="5074880"/>
                </a:cubicBezTo>
                <a:lnTo>
                  <a:pt x="5761325" y="5064588"/>
                </a:lnTo>
                <a:lnTo>
                  <a:pt x="5705019" y="5064772"/>
                </a:lnTo>
                <a:cubicBezTo>
                  <a:pt x="5709992" y="5060757"/>
                  <a:pt x="5712294" y="5057619"/>
                  <a:pt x="5716851" y="5052587"/>
                </a:cubicBezTo>
                <a:close/>
                <a:moveTo>
                  <a:pt x="5805153" y="5040218"/>
                </a:moveTo>
                <a:lnTo>
                  <a:pt x="5805153" y="5099943"/>
                </a:lnTo>
                <a:lnTo>
                  <a:pt x="5818781" y="5099943"/>
                </a:lnTo>
                <a:lnTo>
                  <a:pt x="5818781" y="5091081"/>
                </a:lnTo>
                <a:lnTo>
                  <a:pt x="5857223" y="5091081"/>
                </a:lnTo>
                <a:lnTo>
                  <a:pt x="5857223" y="5101974"/>
                </a:lnTo>
                <a:cubicBezTo>
                  <a:pt x="5857223" y="5110328"/>
                  <a:pt x="5862380" y="5113651"/>
                  <a:pt x="5873155" y="5113651"/>
                </a:cubicBezTo>
                <a:lnTo>
                  <a:pt x="5915140" y="5113651"/>
                </a:lnTo>
                <a:cubicBezTo>
                  <a:pt x="5915140" y="5113651"/>
                  <a:pt x="5935168" y="5113097"/>
                  <a:pt x="5936410" y="5098973"/>
                </a:cubicBezTo>
                <a:lnTo>
                  <a:pt x="5937561" y="5087758"/>
                </a:lnTo>
                <a:lnTo>
                  <a:pt x="5924118" y="5082681"/>
                </a:lnTo>
                <a:lnTo>
                  <a:pt x="5924118" y="5040218"/>
                </a:lnTo>
                <a:close/>
                <a:moveTo>
                  <a:pt x="6417563" y="5039664"/>
                </a:moveTo>
                <a:lnTo>
                  <a:pt x="6417563" y="5054203"/>
                </a:lnTo>
                <a:lnTo>
                  <a:pt x="6461531" y="5054203"/>
                </a:lnTo>
                <a:cubicBezTo>
                  <a:pt x="6461531" y="5054203"/>
                  <a:pt x="6450665" y="5079542"/>
                  <a:pt x="6441826" y="5091173"/>
                </a:cubicBezTo>
                <a:lnTo>
                  <a:pt x="6420924" y="5091958"/>
                </a:lnTo>
                <a:lnTo>
                  <a:pt x="6423870" y="5107281"/>
                </a:lnTo>
                <a:cubicBezTo>
                  <a:pt x="6423870" y="5107281"/>
                  <a:pt x="6503978" y="5103358"/>
                  <a:pt x="6527781" y="5097589"/>
                </a:cubicBezTo>
                <a:cubicBezTo>
                  <a:pt x="6527781" y="5097589"/>
                  <a:pt x="6536896" y="5107558"/>
                  <a:pt x="6539521" y="5110697"/>
                </a:cubicBezTo>
                <a:lnTo>
                  <a:pt x="6551491" y="5100866"/>
                </a:lnTo>
                <a:cubicBezTo>
                  <a:pt x="6551491" y="5100866"/>
                  <a:pt x="6525340" y="5070357"/>
                  <a:pt x="6510608" y="5059788"/>
                </a:cubicBezTo>
                <a:lnTo>
                  <a:pt x="6510654" y="5059834"/>
                </a:lnTo>
                <a:lnTo>
                  <a:pt x="6498822" y="5068004"/>
                </a:lnTo>
                <a:cubicBezTo>
                  <a:pt x="6498822" y="5068004"/>
                  <a:pt x="6509549" y="5077281"/>
                  <a:pt x="6516639" y="5085588"/>
                </a:cubicBezTo>
                <a:cubicBezTo>
                  <a:pt x="6516639" y="5085588"/>
                  <a:pt x="6491364" y="5089419"/>
                  <a:pt x="6459965" y="5090619"/>
                </a:cubicBezTo>
                <a:cubicBezTo>
                  <a:pt x="6459965" y="5090619"/>
                  <a:pt x="6470508" y="5072619"/>
                  <a:pt x="6478933" y="5054203"/>
                </a:cubicBezTo>
                <a:lnTo>
                  <a:pt x="6550938" y="5054203"/>
                </a:lnTo>
                <a:lnTo>
                  <a:pt x="6550938" y="5039664"/>
                </a:lnTo>
                <a:close/>
                <a:moveTo>
                  <a:pt x="5499778" y="5034679"/>
                </a:moveTo>
                <a:lnTo>
                  <a:pt x="5499778" y="5049679"/>
                </a:lnTo>
                <a:lnTo>
                  <a:pt x="5613772" y="5049679"/>
                </a:lnTo>
                <a:lnTo>
                  <a:pt x="5613772" y="5034679"/>
                </a:lnTo>
                <a:close/>
                <a:moveTo>
                  <a:pt x="6060670" y="5034310"/>
                </a:moveTo>
                <a:lnTo>
                  <a:pt x="6065092" y="5044695"/>
                </a:lnTo>
                <a:lnTo>
                  <a:pt x="6050311" y="5044695"/>
                </a:lnTo>
                <a:lnTo>
                  <a:pt x="6048792" y="5034633"/>
                </a:lnTo>
                <a:close/>
                <a:moveTo>
                  <a:pt x="6266233" y="5029925"/>
                </a:moveTo>
                <a:lnTo>
                  <a:pt x="6266233" y="5045110"/>
                </a:lnTo>
                <a:lnTo>
                  <a:pt x="6293810" y="5045110"/>
                </a:lnTo>
                <a:lnTo>
                  <a:pt x="6293810" y="5087204"/>
                </a:lnTo>
                <a:cubicBezTo>
                  <a:pt x="6279769" y="5089742"/>
                  <a:pt x="6269778" y="5090711"/>
                  <a:pt x="6260248" y="5091681"/>
                </a:cubicBezTo>
                <a:lnTo>
                  <a:pt x="6262090" y="5107974"/>
                </a:lnTo>
                <a:cubicBezTo>
                  <a:pt x="6262090" y="5107974"/>
                  <a:pt x="6318395" y="5099112"/>
                  <a:pt x="6340356" y="5092327"/>
                </a:cubicBezTo>
                <a:lnTo>
                  <a:pt x="6340356" y="5076911"/>
                </a:lnTo>
                <a:cubicBezTo>
                  <a:pt x="6340356" y="5076911"/>
                  <a:pt x="6327372" y="5080881"/>
                  <a:pt x="6309049" y="5084388"/>
                </a:cubicBezTo>
                <a:lnTo>
                  <a:pt x="6309049" y="5045110"/>
                </a:lnTo>
                <a:lnTo>
                  <a:pt x="6335705" y="5045110"/>
                </a:lnTo>
                <a:lnTo>
                  <a:pt x="6335705" y="5029925"/>
                </a:lnTo>
                <a:close/>
                <a:moveTo>
                  <a:pt x="5878817" y="5025817"/>
                </a:moveTo>
                <a:lnTo>
                  <a:pt x="5878817" y="5032925"/>
                </a:lnTo>
                <a:lnTo>
                  <a:pt x="5913990" y="5032925"/>
                </a:lnTo>
                <a:lnTo>
                  <a:pt x="5913990" y="5025817"/>
                </a:lnTo>
                <a:close/>
                <a:moveTo>
                  <a:pt x="5815698" y="5025817"/>
                </a:moveTo>
                <a:lnTo>
                  <a:pt x="5815698" y="5032925"/>
                </a:lnTo>
                <a:lnTo>
                  <a:pt x="5850916" y="5032925"/>
                </a:lnTo>
                <a:lnTo>
                  <a:pt x="5850916" y="5025817"/>
                </a:lnTo>
                <a:close/>
                <a:moveTo>
                  <a:pt x="5878816" y="5011463"/>
                </a:moveTo>
                <a:lnTo>
                  <a:pt x="5878816" y="5018572"/>
                </a:lnTo>
                <a:lnTo>
                  <a:pt x="5913990" y="5018572"/>
                </a:lnTo>
                <a:lnTo>
                  <a:pt x="5913990" y="5011463"/>
                </a:lnTo>
                <a:close/>
                <a:moveTo>
                  <a:pt x="5815698" y="5011463"/>
                </a:moveTo>
                <a:lnTo>
                  <a:pt x="5815698" y="5018572"/>
                </a:lnTo>
                <a:lnTo>
                  <a:pt x="5850916" y="5018572"/>
                </a:lnTo>
                <a:lnTo>
                  <a:pt x="5850916" y="5011463"/>
                </a:lnTo>
                <a:close/>
                <a:moveTo>
                  <a:pt x="6177194" y="5005971"/>
                </a:moveTo>
                <a:lnTo>
                  <a:pt x="6196991" y="5005971"/>
                </a:lnTo>
                <a:lnTo>
                  <a:pt x="6196991" y="5026418"/>
                </a:lnTo>
                <a:lnTo>
                  <a:pt x="6196899" y="5026418"/>
                </a:lnTo>
                <a:lnTo>
                  <a:pt x="6159285" y="5026418"/>
                </a:lnTo>
                <a:lnTo>
                  <a:pt x="6159285" y="5038418"/>
                </a:lnTo>
                <a:cubicBezTo>
                  <a:pt x="6153254" y="5030110"/>
                  <a:pt x="6147407" y="5023002"/>
                  <a:pt x="6143816" y="5012940"/>
                </a:cubicBezTo>
                <a:lnTo>
                  <a:pt x="6157075" y="5012940"/>
                </a:lnTo>
                <a:lnTo>
                  <a:pt x="6157075" y="5012433"/>
                </a:lnTo>
                <a:lnTo>
                  <a:pt x="6168493" y="5021987"/>
                </a:lnTo>
                <a:cubicBezTo>
                  <a:pt x="6174109" y="5013125"/>
                  <a:pt x="6177194" y="5005971"/>
                  <a:pt x="6177194" y="5005971"/>
                </a:cubicBezTo>
                <a:close/>
                <a:moveTo>
                  <a:pt x="5991152" y="5002971"/>
                </a:moveTo>
                <a:cubicBezTo>
                  <a:pt x="5994006" y="5004679"/>
                  <a:pt x="6002523" y="5015987"/>
                  <a:pt x="6002523" y="5015987"/>
                </a:cubicBezTo>
                <a:cubicBezTo>
                  <a:pt x="6000866" y="5020048"/>
                  <a:pt x="5995203" y="5026371"/>
                  <a:pt x="5995203" y="5026371"/>
                </a:cubicBezTo>
                <a:lnTo>
                  <a:pt x="5991751" y="5026371"/>
                </a:lnTo>
                <a:lnTo>
                  <a:pt x="5991751" y="5031864"/>
                </a:lnTo>
                <a:cubicBezTo>
                  <a:pt x="5985489" y="5027479"/>
                  <a:pt x="5979321" y="5012848"/>
                  <a:pt x="5979321" y="5012848"/>
                </a:cubicBezTo>
                <a:lnTo>
                  <a:pt x="5991152" y="5012848"/>
                </a:lnTo>
                <a:close/>
                <a:moveTo>
                  <a:pt x="5705203" y="4996601"/>
                </a:moveTo>
                <a:lnTo>
                  <a:pt x="5705203" y="5004678"/>
                </a:lnTo>
                <a:lnTo>
                  <a:pt x="5653179" y="5004678"/>
                </a:lnTo>
                <a:lnTo>
                  <a:pt x="5653179" y="5016355"/>
                </a:lnTo>
                <a:lnTo>
                  <a:pt x="5705203" y="5016355"/>
                </a:lnTo>
                <a:lnTo>
                  <a:pt x="5705203" y="5024617"/>
                </a:lnTo>
                <a:lnTo>
                  <a:pt x="5641485" y="5024617"/>
                </a:lnTo>
                <a:lnTo>
                  <a:pt x="5641485" y="5036156"/>
                </a:lnTo>
                <a:lnTo>
                  <a:pt x="5683980" y="5036156"/>
                </a:lnTo>
                <a:cubicBezTo>
                  <a:pt x="5683980" y="5036156"/>
                  <a:pt x="5678270" y="5049079"/>
                  <a:pt x="5639920" y="5055448"/>
                </a:cubicBezTo>
                <a:lnTo>
                  <a:pt x="5639874" y="5055448"/>
                </a:lnTo>
                <a:lnTo>
                  <a:pt x="5646596" y="5068326"/>
                </a:lnTo>
                <a:cubicBezTo>
                  <a:pt x="5646596" y="5068326"/>
                  <a:pt x="5679928" y="5065325"/>
                  <a:pt x="5702441" y="5036156"/>
                </a:cubicBezTo>
                <a:lnTo>
                  <a:pt x="5723296" y="5036156"/>
                </a:lnTo>
                <a:lnTo>
                  <a:pt x="5723296" y="5049310"/>
                </a:lnTo>
                <a:cubicBezTo>
                  <a:pt x="5723296" y="5056094"/>
                  <a:pt x="5726611" y="5057895"/>
                  <a:pt x="5734116" y="5057895"/>
                </a:cubicBezTo>
                <a:lnTo>
                  <a:pt x="5767632" y="5057895"/>
                </a:lnTo>
                <a:cubicBezTo>
                  <a:pt x="5776104" y="5057895"/>
                  <a:pt x="5781674" y="5052771"/>
                  <a:pt x="5781674" y="5047279"/>
                </a:cubicBezTo>
                <a:lnTo>
                  <a:pt x="5782273" y="5043310"/>
                </a:lnTo>
                <a:lnTo>
                  <a:pt x="5767080" y="5038787"/>
                </a:lnTo>
                <a:lnTo>
                  <a:pt x="5766389" y="5043910"/>
                </a:lnTo>
                <a:cubicBezTo>
                  <a:pt x="5765974" y="5046771"/>
                  <a:pt x="5762707" y="5047187"/>
                  <a:pt x="5761233" y="5047233"/>
                </a:cubicBezTo>
                <a:lnTo>
                  <a:pt x="5742173" y="5047233"/>
                </a:lnTo>
                <a:cubicBezTo>
                  <a:pt x="5738029" y="5047233"/>
                  <a:pt x="5737293" y="5045756"/>
                  <a:pt x="5737293" y="5043586"/>
                </a:cubicBezTo>
                <a:lnTo>
                  <a:pt x="5737293" y="5036156"/>
                </a:lnTo>
                <a:lnTo>
                  <a:pt x="5783654" y="5036156"/>
                </a:lnTo>
                <a:lnTo>
                  <a:pt x="5783654" y="5024617"/>
                </a:lnTo>
                <a:lnTo>
                  <a:pt x="5719752" y="5024617"/>
                </a:lnTo>
                <a:lnTo>
                  <a:pt x="5719752" y="5016355"/>
                </a:lnTo>
                <a:lnTo>
                  <a:pt x="5772880" y="5016355"/>
                </a:lnTo>
                <a:lnTo>
                  <a:pt x="5772880" y="5005002"/>
                </a:lnTo>
                <a:lnTo>
                  <a:pt x="5719752" y="5005002"/>
                </a:lnTo>
                <a:lnTo>
                  <a:pt x="5719752" y="4996601"/>
                </a:lnTo>
                <a:close/>
                <a:moveTo>
                  <a:pt x="6046077" y="4993740"/>
                </a:moveTo>
                <a:cubicBezTo>
                  <a:pt x="6053718" y="5000294"/>
                  <a:pt x="6062005" y="5012479"/>
                  <a:pt x="6062005" y="5012479"/>
                </a:cubicBezTo>
                <a:cubicBezTo>
                  <a:pt x="6058000" y="5018941"/>
                  <a:pt x="6052383" y="5023649"/>
                  <a:pt x="6052383" y="5023649"/>
                </a:cubicBezTo>
                <a:lnTo>
                  <a:pt x="6047549" y="5023649"/>
                </a:lnTo>
                <a:cubicBezTo>
                  <a:pt x="6046490" y="5014556"/>
                  <a:pt x="6046077" y="4993740"/>
                  <a:pt x="6046077" y="4993740"/>
                </a:cubicBezTo>
                <a:close/>
                <a:moveTo>
                  <a:pt x="6484596" y="4982847"/>
                </a:moveTo>
                <a:cubicBezTo>
                  <a:pt x="6496935" y="4996878"/>
                  <a:pt x="6521289" y="5010540"/>
                  <a:pt x="6521289" y="5010540"/>
                </a:cubicBezTo>
                <a:lnTo>
                  <a:pt x="6448686" y="5010540"/>
                </a:lnTo>
                <a:lnTo>
                  <a:pt x="6448640" y="5010540"/>
                </a:lnTo>
                <a:cubicBezTo>
                  <a:pt x="6466180" y="5001125"/>
                  <a:pt x="6484596" y="4982847"/>
                  <a:pt x="6484596" y="4982847"/>
                </a:cubicBezTo>
                <a:close/>
                <a:moveTo>
                  <a:pt x="5494576" y="4980862"/>
                </a:moveTo>
                <a:lnTo>
                  <a:pt x="5494576" y="4995678"/>
                </a:lnTo>
                <a:lnTo>
                  <a:pt x="5618881" y="4995678"/>
                </a:lnTo>
                <a:lnTo>
                  <a:pt x="5618881" y="4980862"/>
                </a:lnTo>
                <a:close/>
                <a:moveTo>
                  <a:pt x="5802808" y="4974078"/>
                </a:moveTo>
                <a:lnTo>
                  <a:pt x="5802808" y="4985940"/>
                </a:lnTo>
                <a:lnTo>
                  <a:pt x="5857271" y="4985940"/>
                </a:lnTo>
                <a:lnTo>
                  <a:pt x="5857271" y="4993232"/>
                </a:lnTo>
                <a:lnTo>
                  <a:pt x="5795993" y="4993232"/>
                </a:lnTo>
                <a:lnTo>
                  <a:pt x="5795993" y="5029787"/>
                </a:lnTo>
                <a:lnTo>
                  <a:pt x="5809484" y="5029787"/>
                </a:lnTo>
                <a:lnTo>
                  <a:pt x="5809484" y="5004633"/>
                </a:lnTo>
                <a:lnTo>
                  <a:pt x="5857271" y="5004633"/>
                </a:lnTo>
                <a:lnTo>
                  <a:pt x="5857271" y="5035048"/>
                </a:lnTo>
                <a:lnTo>
                  <a:pt x="5871589" y="5035048"/>
                </a:lnTo>
                <a:lnTo>
                  <a:pt x="5871589" y="5004633"/>
                </a:lnTo>
                <a:lnTo>
                  <a:pt x="5921035" y="5004540"/>
                </a:lnTo>
                <a:lnTo>
                  <a:pt x="5921035" y="5029787"/>
                </a:lnTo>
                <a:lnTo>
                  <a:pt x="5934526" y="5029787"/>
                </a:lnTo>
                <a:lnTo>
                  <a:pt x="5934478" y="4993232"/>
                </a:lnTo>
                <a:lnTo>
                  <a:pt x="5871589" y="4993232"/>
                </a:lnTo>
                <a:lnTo>
                  <a:pt x="5871589" y="4985940"/>
                </a:lnTo>
                <a:lnTo>
                  <a:pt x="5926928" y="4985940"/>
                </a:lnTo>
                <a:lnTo>
                  <a:pt x="5926928" y="4974078"/>
                </a:lnTo>
                <a:close/>
                <a:moveTo>
                  <a:pt x="6658854" y="4970016"/>
                </a:moveTo>
                <a:lnTo>
                  <a:pt x="6658854" y="5006525"/>
                </a:lnTo>
                <a:lnTo>
                  <a:pt x="6630632" y="5006525"/>
                </a:lnTo>
                <a:lnTo>
                  <a:pt x="6630632" y="5021249"/>
                </a:lnTo>
                <a:lnTo>
                  <a:pt x="6658854" y="5021249"/>
                </a:lnTo>
                <a:lnTo>
                  <a:pt x="6658854" y="5093296"/>
                </a:lnTo>
                <a:lnTo>
                  <a:pt x="6621654" y="5093296"/>
                </a:lnTo>
                <a:lnTo>
                  <a:pt x="6621654" y="5107604"/>
                </a:lnTo>
                <a:lnTo>
                  <a:pt x="6707977" y="5107604"/>
                </a:lnTo>
                <a:lnTo>
                  <a:pt x="6707977" y="5093296"/>
                </a:lnTo>
                <a:lnTo>
                  <a:pt x="6673632" y="5093296"/>
                </a:lnTo>
                <a:lnTo>
                  <a:pt x="6673632" y="5021249"/>
                </a:lnTo>
                <a:lnTo>
                  <a:pt x="6703558" y="5021249"/>
                </a:lnTo>
                <a:lnTo>
                  <a:pt x="6703558" y="5006525"/>
                </a:lnTo>
                <a:lnTo>
                  <a:pt x="6673632" y="5006525"/>
                </a:lnTo>
                <a:lnTo>
                  <a:pt x="6673632" y="4970016"/>
                </a:lnTo>
                <a:close/>
                <a:moveTo>
                  <a:pt x="5676430" y="4969416"/>
                </a:moveTo>
                <a:lnTo>
                  <a:pt x="5676430" y="4979155"/>
                </a:lnTo>
                <a:lnTo>
                  <a:pt x="5642270" y="4979155"/>
                </a:lnTo>
                <a:lnTo>
                  <a:pt x="5642270" y="4991340"/>
                </a:lnTo>
                <a:lnTo>
                  <a:pt x="5676660" y="4991340"/>
                </a:lnTo>
                <a:lnTo>
                  <a:pt x="5676660" y="5000525"/>
                </a:lnTo>
                <a:lnTo>
                  <a:pt x="5691393" y="5000525"/>
                </a:lnTo>
                <a:lnTo>
                  <a:pt x="5691393" y="4991340"/>
                </a:lnTo>
                <a:lnTo>
                  <a:pt x="5734577" y="4991340"/>
                </a:lnTo>
                <a:lnTo>
                  <a:pt x="5734577" y="5000525"/>
                </a:lnTo>
                <a:lnTo>
                  <a:pt x="5749035" y="5000525"/>
                </a:lnTo>
                <a:lnTo>
                  <a:pt x="5749035" y="4991340"/>
                </a:lnTo>
                <a:lnTo>
                  <a:pt x="5784437" y="4991340"/>
                </a:lnTo>
                <a:lnTo>
                  <a:pt x="5784437" y="4979155"/>
                </a:lnTo>
                <a:lnTo>
                  <a:pt x="5749035" y="4979109"/>
                </a:lnTo>
                <a:lnTo>
                  <a:pt x="5749035" y="4969416"/>
                </a:lnTo>
                <a:lnTo>
                  <a:pt x="5734577" y="4969416"/>
                </a:lnTo>
                <a:lnTo>
                  <a:pt x="5734577" y="4979016"/>
                </a:lnTo>
                <a:lnTo>
                  <a:pt x="5691393" y="4978970"/>
                </a:lnTo>
                <a:lnTo>
                  <a:pt x="5691393" y="4969416"/>
                </a:lnTo>
                <a:close/>
                <a:moveTo>
                  <a:pt x="6476401" y="4968308"/>
                </a:moveTo>
                <a:cubicBezTo>
                  <a:pt x="6476401" y="4968308"/>
                  <a:pt x="6457295" y="4995909"/>
                  <a:pt x="6411256" y="5010125"/>
                </a:cubicBezTo>
                <a:lnTo>
                  <a:pt x="6418438" y="5025217"/>
                </a:lnTo>
                <a:cubicBezTo>
                  <a:pt x="6418438" y="5025217"/>
                  <a:pt x="6434092" y="5018756"/>
                  <a:pt x="6442103" y="5014417"/>
                </a:cubicBezTo>
                <a:lnTo>
                  <a:pt x="6442103" y="5024017"/>
                </a:lnTo>
                <a:lnTo>
                  <a:pt x="6526261" y="5024017"/>
                </a:lnTo>
                <a:lnTo>
                  <a:pt x="6526261" y="5012802"/>
                </a:lnTo>
                <a:cubicBezTo>
                  <a:pt x="6526261" y="5012802"/>
                  <a:pt x="6533996" y="5016771"/>
                  <a:pt x="6550478" y="5022263"/>
                </a:cubicBezTo>
                <a:lnTo>
                  <a:pt x="6557108" y="5008325"/>
                </a:lnTo>
                <a:cubicBezTo>
                  <a:pt x="6557108" y="5008325"/>
                  <a:pt x="6517514" y="4998678"/>
                  <a:pt x="6491502" y="4968354"/>
                </a:cubicBezTo>
                <a:lnTo>
                  <a:pt x="6491502" y="4968308"/>
                </a:lnTo>
                <a:close/>
                <a:moveTo>
                  <a:pt x="6031758" y="4968170"/>
                </a:moveTo>
                <a:cubicBezTo>
                  <a:pt x="6031758" y="4999833"/>
                  <a:pt x="6034935" y="5033110"/>
                  <a:pt x="6034935" y="5033110"/>
                </a:cubicBezTo>
                <a:cubicBezTo>
                  <a:pt x="6030561" y="5022864"/>
                  <a:pt x="6028212" y="5013494"/>
                  <a:pt x="6028212" y="5013494"/>
                </a:cubicBezTo>
                <a:lnTo>
                  <a:pt x="6018591" y="5015895"/>
                </a:lnTo>
                <a:lnTo>
                  <a:pt x="6020755" y="5024618"/>
                </a:lnTo>
                <a:lnTo>
                  <a:pt x="6008692" y="5025864"/>
                </a:lnTo>
                <a:cubicBezTo>
                  <a:pt x="6015921" y="5017325"/>
                  <a:pt x="6030975" y="4994894"/>
                  <a:pt x="6030975" y="4994894"/>
                </a:cubicBezTo>
                <a:lnTo>
                  <a:pt x="6020432" y="4989447"/>
                </a:lnTo>
                <a:cubicBezTo>
                  <a:pt x="6017440" y="4993832"/>
                  <a:pt x="6010442" y="5005279"/>
                  <a:pt x="6010442" y="5005279"/>
                </a:cubicBezTo>
                <a:lnTo>
                  <a:pt x="6005976" y="5000109"/>
                </a:lnTo>
                <a:cubicBezTo>
                  <a:pt x="6013159" y="4989447"/>
                  <a:pt x="6019375" y="4975601"/>
                  <a:pt x="6019375" y="4975601"/>
                </a:cubicBezTo>
                <a:lnTo>
                  <a:pt x="6007635" y="4971170"/>
                </a:lnTo>
                <a:cubicBezTo>
                  <a:pt x="6002339" y="4983263"/>
                  <a:pt x="5997413" y="4991432"/>
                  <a:pt x="5997413" y="4991432"/>
                </a:cubicBezTo>
                <a:lnTo>
                  <a:pt x="5993363" y="4988248"/>
                </a:lnTo>
                <a:lnTo>
                  <a:pt x="5986088" y="4998632"/>
                </a:lnTo>
                <a:lnTo>
                  <a:pt x="5978583" y="4998632"/>
                </a:lnTo>
                <a:lnTo>
                  <a:pt x="5978583" y="4968263"/>
                </a:lnTo>
                <a:lnTo>
                  <a:pt x="5965093" y="4968263"/>
                </a:lnTo>
                <a:lnTo>
                  <a:pt x="5965093" y="4998725"/>
                </a:lnTo>
                <a:lnTo>
                  <a:pt x="5949394" y="4998725"/>
                </a:lnTo>
                <a:lnTo>
                  <a:pt x="5949394" y="5012848"/>
                </a:lnTo>
                <a:lnTo>
                  <a:pt x="5965093" y="5012848"/>
                </a:lnTo>
                <a:cubicBezTo>
                  <a:pt x="5965093" y="5012848"/>
                  <a:pt x="5958740" y="5037910"/>
                  <a:pt x="5944928" y="5057065"/>
                </a:cubicBezTo>
                <a:lnTo>
                  <a:pt x="5951006" y="5074465"/>
                </a:lnTo>
                <a:cubicBezTo>
                  <a:pt x="5951006" y="5074465"/>
                  <a:pt x="5958510" y="5063803"/>
                  <a:pt x="5965140" y="5045202"/>
                </a:cubicBezTo>
                <a:lnTo>
                  <a:pt x="5965969" y="5042341"/>
                </a:lnTo>
                <a:cubicBezTo>
                  <a:pt x="5965969" y="5042341"/>
                  <a:pt x="5965324" y="5050280"/>
                  <a:pt x="5965140" y="5053972"/>
                </a:cubicBezTo>
                <a:lnTo>
                  <a:pt x="5965140" y="5116096"/>
                </a:lnTo>
                <a:lnTo>
                  <a:pt x="5978629" y="5116096"/>
                </a:lnTo>
                <a:lnTo>
                  <a:pt x="5978629" y="5044141"/>
                </a:lnTo>
                <a:cubicBezTo>
                  <a:pt x="5978629" y="5041695"/>
                  <a:pt x="5977709" y="5031356"/>
                  <a:pt x="5977709" y="5031356"/>
                </a:cubicBezTo>
                <a:cubicBezTo>
                  <a:pt x="5978905" y="5035141"/>
                  <a:pt x="5978675" y="5035095"/>
                  <a:pt x="5986363" y="5047741"/>
                </a:cubicBezTo>
                <a:lnTo>
                  <a:pt x="5992211" y="5038233"/>
                </a:lnTo>
                <a:lnTo>
                  <a:pt x="6022090" y="5035280"/>
                </a:lnTo>
                <a:lnTo>
                  <a:pt x="6024209" y="5041095"/>
                </a:lnTo>
                <a:lnTo>
                  <a:pt x="6035533" y="5036618"/>
                </a:lnTo>
                <a:cubicBezTo>
                  <a:pt x="6036131" y="5040402"/>
                  <a:pt x="6036546" y="5044741"/>
                  <a:pt x="6036546" y="5044741"/>
                </a:cubicBezTo>
                <a:lnTo>
                  <a:pt x="5988481" y="5044741"/>
                </a:lnTo>
                <a:lnTo>
                  <a:pt x="5988481" y="5057341"/>
                </a:lnTo>
                <a:lnTo>
                  <a:pt x="6001280" y="5057341"/>
                </a:lnTo>
                <a:cubicBezTo>
                  <a:pt x="6001372" y="5085265"/>
                  <a:pt x="5983647" y="5101281"/>
                  <a:pt x="5983647" y="5101281"/>
                </a:cubicBezTo>
                <a:lnTo>
                  <a:pt x="5993684" y="5113789"/>
                </a:lnTo>
                <a:cubicBezTo>
                  <a:pt x="6006989" y="5101419"/>
                  <a:pt x="6012376" y="5078526"/>
                  <a:pt x="6012376" y="5078526"/>
                </a:cubicBezTo>
                <a:cubicBezTo>
                  <a:pt x="6019375" y="5081250"/>
                  <a:pt x="6028950" y="5090296"/>
                  <a:pt x="6028950" y="5090296"/>
                </a:cubicBezTo>
                <a:lnTo>
                  <a:pt x="6036179" y="5078019"/>
                </a:lnTo>
                <a:cubicBezTo>
                  <a:pt x="6031527" y="5073126"/>
                  <a:pt x="6015231" y="5063572"/>
                  <a:pt x="6015231" y="5063572"/>
                </a:cubicBezTo>
                <a:lnTo>
                  <a:pt x="6015461" y="5057295"/>
                </a:lnTo>
                <a:lnTo>
                  <a:pt x="6038664" y="5057295"/>
                </a:lnTo>
                <a:cubicBezTo>
                  <a:pt x="6042347" y="5073265"/>
                  <a:pt x="6047826" y="5083373"/>
                  <a:pt x="6047826" y="5083373"/>
                </a:cubicBezTo>
                <a:cubicBezTo>
                  <a:pt x="6038481" y="5092373"/>
                  <a:pt x="6015368" y="5099712"/>
                  <a:pt x="6015368" y="5099712"/>
                </a:cubicBezTo>
                <a:lnTo>
                  <a:pt x="6023747" y="5113050"/>
                </a:lnTo>
                <a:cubicBezTo>
                  <a:pt x="6037789" y="5109358"/>
                  <a:pt x="6055238" y="5096157"/>
                  <a:pt x="6055238" y="5096157"/>
                </a:cubicBezTo>
                <a:cubicBezTo>
                  <a:pt x="6059427" y="5101973"/>
                  <a:pt x="6067760" y="5109265"/>
                  <a:pt x="6067760" y="5109265"/>
                </a:cubicBezTo>
                <a:cubicBezTo>
                  <a:pt x="6080651" y="5118404"/>
                  <a:pt x="6087281" y="5108204"/>
                  <a:pt x="6087281" y="5108204"/>
                </a:cubicBezTo>
                <a:cubicBezTo>
                  <a:pt x="6091334" y="5102942"/>
                  <a:pt x="6096304" y="5091911"/>
                  <a:pt x="6096304" y="5091911"/>
                </a:cubicBezTo>
                <a:lnTo>
                  <a:pt x="6085071" y="5079865"/>
                </a:lnTo>
                <a:cubicBezTo>
                  <a:pt x="6082861" y="5086788"/>
                  <a:pt x="6079040" y="5093296"/>
                  <a:pt x="6079040" y="5093296"/>
                </a:cubicBezTo>
                <a:lnTo>
                  <a:pt x="6079132" y="5093296"/>
                </a:lnTo>
                <a:cubicBezTo>
                  <a:pt x="6074850" y="5098327"/>
                  <a:pt x="6069878" y="5091588"/>
                  <a:pt x="6069878" y="5091588"/>
                </a:cubicBezTo>
                <a:cubicBezTo>
                  <a:pt x="6066932" y="5088357"/>
                  <a:pt x="6066702" y="5086788"/>
                  <a:pt x="6066702" y="5086788"/>
                </a:cubicBezTo>
                <a:cubicBezTo>
                  <a:pt x="6073976" y="5079726"/>
                  <a:pt x="6082309" y="5067403"/>
                  <a:pt x="6082309" y="5067403"/>
                </a:cubicBezTo>
                <a:lnTo>
                  <a:pt x="6070616" y="5058726"/>
                </a:lnTo>
                <a:cubicBezTo>
                  <a:pt x="6068635" y="5063988"/>
                  <a:pt x="6059059" y="5074973"/>
                  <a:pt x="6059059" y="5074973"/>
                </a:cubicBezTo>
                <a:cubicBezTo>
                  <a:pt x="6054547" y="5068511"/>
                  <a:pt x="6052567" y="5057295"/>
                  <a:pt x="6052567" y="5057295"/>
                </a:cubicBezTo>
                <a:lnTo>
                  <a:pt x="6093588" y="5057295"/>
                </a:lnTo>
                <a:lnTo>
                  <a:pt x="6093588" y="5044695"/>
                </a:lnTo>
                <a:lnTo>
                  <a:pt x="6078625" y="5044695"/>
                </a:lnTo>
                <a:cubicBezTo>
                  <a:pt x="6075265" y="5038187"/>
                  <a:pt x="6073331" y="5033387"/>
                  <a:pt x="6073331" y="5033387"/>
                </a:cubicBezTo>
                <a:lnTo>
                  <a:pt x="6082769" y="5032095"/>
                </a:lnTo>
                <a:lnTo>
                  <a:pt x="6085025" y="5037910"/>
                </a:lnTo>
                <a:lnTo>
                  <a:pt x="6095061" y="5033941"/>
                </a:lnTo>
                <a:cubicBezTo>
                  <a:pt x="6092254" y="5022310"/>
                  <a:pt x="6091794" y="5022218"/>
                  <a:pt x="6087557" y="5011187"/>
                </a:cubicBezTo>
                <a:lnTo>
                  <a:pt x="6077566" y="5014510"/>
                </a:lnTo>
                <a:lnTo>
                  <a:pt x="6080145" y="5022172"/>
                </a:lnTo>
                <a:lnTo>
                  <a:pt x="6067346" y="5023556"/>
                </a:lnTo>
                <a:cubicBezTo>
                  <a:pt x="6071029" y="5019633"/>
                  <a:pt x="6087465" y="4998448"/>
                  <a:pt x="6090412" y="4994386"/>
                </a:cubicBezTo>
                <a:lnTo>
                  <a:pt x="6080145" y="4988432"/>
                </a:lnTo>
                <a:lnTo>
                  <a:pt x="6070016" y="5002463"/>
                </a:lnTo>
                <a:lnTo>
                  <a:pt x="6065366" y="4996971"/>
                </a:lnTo>
                <a:cubicBezTo>
                  <a:pt x="6071812" y="4988202"/>
                  <a:pt x="6078902" y="4975094"/>
                  <a:pt x="6078902" y="4975094"/>
                </a:cubicBezTo>
                <a:lnTo>
                  <a:pt x="6066978" y="4970016"/>
                </a:lnTo>
                <a:cubicBezTo>
                  <a:pt x="6065827" y="4972832"/>
                  <a:pt x="6061408" y="4982848"/>
                  <a:pt x="6057770" y="4987555"/>
                </a:cubicBezTo>
                <a:lnTo>
                  <a:pt x="6053903" y="4983909"/>
                </a:lnTo>
                <a:lnTo>
                  <a:pt x="6045984" y="4992909"/>
                </a:lnTo>
                <a:lnTo>
                  <a:pt x="6045247" y="4968170"/>
                </a:lnTo>
                <a:close/>
                <a:moveTo>
                  <a:pt x="6589242" y="4968078"/>
                </a:moveTo>
                <a:lnTo>
                  <a:pt x="6589242" y="4992863"/>
                </a:lnTo>
                <a:lnTo>
                  <a:pt x="6565808" y="4992863"/>
                </a:lnTo>
                <a:lnTo>
                  <a:pt x="6565808" y="5007495"/>
                </a:lnTo>
                <a:lnTo>
                  <a:pt x="6609822" y="5007495"/>
                </a:lnTo>
                <a:cubicBezTo>
                  <a:pt x="6609822" y="5007495"/>
                  <a:pt x="6597852" y="5035972"/>
                  <a:pt x="6562079" y="5061219"/>
                </a:cubicBezTo>
                <a:lnTo>
                  <a:pt x="6568571" y="5076450"/>
                </a:lnTo>
                <a:cubicBezTo>
                  <a:pt x="6568571" y="5076450"/>
                  <a:pt x="6585651" y="5062419"/>
                  <a:pt x="6590715" y="5056834"/>
                </a:cubicBezTo>
                <a:lnTo>
                  <a:pt x="6590715" y="5114251"/>
                </a:lnTo>
                <a:lnTo>
                  <a:pt x="6604481" y="5114251"/>
                </a:lnTo>
                <a:lnTo>
                  <a:pt x="6604481" y="5049495"/>
                </a:lnTo>
                <a:cubicBezTo>
                  <a:pt x="6604481" y="5049495"/>
                  <a:pt x="6617740" y="5063850"/>
                  <a:pt x="6626257" y="5069204"/>
                </a:cubicBezTo>
                <a:lnTo>
                  <a:pt x="6634867" y="5057295"/>
                </a:lnTo>
                <a:lnTo>
                  <a:pt x="6634913" y="5057295"/>
                </a:lnTo>
                <a:cubicBezTo>
                  <a:pt x="6634913" y="5057295"/>
                  <a:pt x="6612307" y="5040403"/>
                  <a:pt x="6609638" y="5034541"/>
                </a:cubicBezTo>
                <a:cubicBezTo>
                  <a:pt x="6609638" y="5034541"/>
                  <a:pt x="6624093" y="5013171"/>
                  <a:pt x="6625705" y="5006294"/>
                </a:cubicBezTo>
                <a:lnTo>
                  <a:pt x="6625705" y="4992956"/>
                </a:lnTo>
                <a:lnTo>
                  <a:pt x="6604113" y="4992956"/>
                </a:lnTo>
                <a:lnTo>
                  <a:pt x="6604113" y="4968078"/>
                </a:lnTo>
                <a:close/>
                <a:moveTo>
                  <a:pt x="6377233" y="4967985"/>
                </a:moveTo>
                <a:lnTo>
                  <a:pt x="6365171" y="4974401"/>
                </a:lnTo>
                <a:cubicBezTo>
                  <a:pt x="6365171" y="4974401"/>
                  <a:pt x="6378890" y="4989586"/>
                  <a:pt x="6379304" y="4993647"/>
                </a:cubicBezTo>
                <a:lnTo>
                  <a:pt x="6358909" y="4993740"/>
                </a:lnTo>
                <a:cubicBezTo>
                  <a:pt x="6358679" y="4986816"/>
                  <a:pt x="6357943" y="4975185"/>
                  <a:pt x="6358357" y="4968262"/>
                </a:cubicBezTo>
                <a:lnTo>
                  <a:pt x="6342565" y="4968262"/>
                </a:lnTo>
                <a:cubicBezTo>
                  <a:pt x="6342565" y="4968262"/>
                  <a:pt x="6342796" y="4981185"/>
                  <a:pt x="6343256" y="4993693"/>
                </a:cubicBezTo>
                <a:lnTo>
                  <a:pt x="6260432" y="4993693"/>
                </a:lnTo>
                <a:lnTo>
                  <a:pt x="6260432" y="5008786"/>
                </a:lnTo>
                <a:lnTo>
                  <a:pt x="6344223" y="5008786"/>
                </a:lnTo>
                <a:cubicBezTo>
                  <a:pt x="6345466" y="5025171"/>
                  <a:pt x="6348136" y="5052495"/>
                  <a:pt x="6350852" y="5060757"/>
                </a:cubicBezTo>
                <a:cubicBezTo>
                  <a:pt x="6350852" y="5060757"/>
                  <a:pt x="6355963" y="5094173"/>
                  <a:pt x="6370281" y="5108112"/>
                </a:cubicBezTo>
                <a:cubicBezTo>
                  <a:pt x="6370281" y="5108112"/>
                  <a:pt x="6381791" y="5120481"/>
                  <a:pt x="6393301" y="5106358"/>
                </a:cubicBezTo>
                <a:cubicBezTo>
                  <a:pt x="6393301" y="5106358"/>
                  <a:pt x="6399009" y="5098604"/>
                  <a:pt x="6403981" y="5080696"/>
                </a:cubicBezTo>
                <a:lnTo>
                  <a:pt x="6392195" y="5065188"/>
                </a:lnTo>
                <a:cubicBezTo>
                  <a:pt x="6392195" y="5065188"/>
                  <a:pt x="6389479" y="5077558"/>
                  <a:pt x="6385474" y="5086973"/>
                </a:cubicBezTo>
                <a:lnTo>
                  <a:pt x="6385474" y="5086927"/>
                </a:lnTo>
                <a:cubicBezTo>
                  <a:pt x="6385474" y="5086927"/>
                  <a:pt x="6381100" y="5100358"/>
                  <a:pt x="6374609" y="5086465"/>
                </a:cubicBezTo>
                <a:cubicBezTo>
                  <a:pt x="6374609" y="5086465"/>
                  <a:pt x="6367933" y="5072849"/>
                  <a:pt x="6364388" y="5052541"/>
                </a:cubicBezTo>
                <a:cubicBezTo>
                  <a:pt x="6364388" y="5052541"/>
                  <a:pt x="6360843" y="5027618"/>
                  <a:pt x="6359554" y="5009017"/>
                </a:cubicBezTo>
                <a:lnTo>
                  <a:pt x="6398733" y="5008740"/>
                </a:lnTo>
                <a:lnTo>
                  <a:pt x="6398733" y="4993647"/>
                </a:lnTo>
                <a:lnTo>
                  <a:pt x="6382757" y="4993647"/>
                </a:lnTo>
                <a:lnTo>
                  <a:pt x="6393485" y="4986632"/>
                </a:lnTo>
                <a:cubicBezTo>
                  <a:pt x="6390860" y="4982340"/>
                  <a:pt x="6380271" y="4969924"/>
                  <a:pt x="6377233" y="4967985"/>
                </a:cubicBezTo>
                <a:close/>
                <a:moveTo>
                  <a:pt x="6196899" y="4967985"/>
                </a:moveTo>
                <a:lnTo>
                  <a:pt x="6196899" y="4992724"/>
                </a:lnTo>
                <a:lnTo>
                  <a:pt x="6181937" y="4992724"/>
                </a:lnTo>
                <a:cubicBezTo>
                  <a:pt x="6182719" y="4989540"/>
                  <a:pt x="6186494" y="4975555"/>
                  <a:pt x="6186494" y="4975555"/>
                </a:cubicBezTo>
                <a:lnTo>
                  <a:pt x="6172728" y="4972278"/>
                </a:lnTo>
                <a:cubicBezTo>
                  <a:pt x="6168309" y="4997663"/>
                  <a:pt x="6159469" y="5008602"/>
                  <a:pt x="6157029" y="5011232"/>
                </a:cubicBezTo>
                <a:lnTo>
                  <a:pt x="6157029" y="4999001"/>
                </a:lnTo>
                <a:lnTo>
                  <a:pt x="6143402" y="4999001"/>
                </a:lnTo>
                <a:lnTo>
                  <a:pt x="6143402" y="4968216"/>
                </a:lnTo>
                <a:lnTo>
                  <a:pt x="6129130" y="4968216"/>
                </a:lnTo>
                <a:lnTo>
                  <a:pt x="6129130" y="4999001"/>
                </a:lnTo>
                <a:lnTo>
                  <a:pt x="6106110" y="4999001"/>
                </a:lnTo>
                <a:lnTo>
                  <a:pt x="6106110" y="5012986"/>
                </a:lnTo>
                <a:lnTo>
                  <a:pt x="6127933" y="5012986"/>
                </a:lnTo>
                <a:cubicBezTo>
                  <a:pt x="6127933" y="5012986"/>
                  <a:pt x="6121534" y="5036710"/>
                  <a:pt x="6102427" y="5059418"/>
                </a:cubicBezTo>
                <a:lnTo>
                  <a:pt x="6108965" y="5074741"/>
                </a:lnTo>
                <a:cubicBezTo>
                  <a:pt x="6123053" y="5056095"/>
                  <a:pt x="6128163" y="5043864"/>
                  <a:pt x="6130051" y="5038325"/>
                </a:cubicBezTo>
                <a:cubicBezTo>
                  <a:pt x="6130051" y="5038325"/>
                  <a:pt x="6129222" y="5047556"/>
                  <a:pt x="6129176" y="5050695"/>
                </a:cubicBezTo>
                <a:lnTo>
                  <a:pt x="6129176" y="5116189"/>
                </a:lnTo>
                <a:lnTo>
                  <a:pt x="6143448" y="5116189"/>
                </a:lnTo>
                <a:lnTo>
                  <a:pt x="6143448" y="5044741"/>
                </a:lnTo>
                <a:cubicBezTo>
                  <a:pt x="6143356" y="5041694"/>
                  <a:pt x="6142573" y="5032556"/>
                  <a:pt x="6142573" y="5032556"/>
                </a:cubicBezTo>
                <a:cubicBezTo>
                  <a:pt x="6142573" y="5032556"/>
                  <a:pt x="6143310" y="5038002"/>
                  <a:pt x="6156707" y="5056279"/>
                </a:cubicBezTo>
                <a:lnTo>
                  <a:pt x="6164211" y="5043449"/>
                </a:lnTo>
                <a:lnTo>
                  <a:pt x="6161173" y="5040402"/>
                </a:lnTo>
                <a:lnTo>
                  <a:pt x="6192341" y="5040402"/>
                </a:lnTo>
                <a:cubicBezTo>
                  <a:pt x="6180785" y="5068649"/>
                  <a:pt x="6150538" y="5090896"/>
                  <a:pt x="6150538" y="5090896"/>
                </a:cubicBezTo>
                <a:lnTo>
                  <a:pt x="6160068" y="5102988"/>
                </a:lnTo>
                <a:cubicBezTo>
                  <a:pt x="6181890" y="5087527"/>
                  <a:pt x="6196991" y="5057941"/>
                  <a:pt x="6196991" y="5057941"/>
                </a:cubicBezTo>
                <a:lnTo>
                  <a:pt x="6196991" y="5115773"/>
                </a:lnTo>
                <a:lnTo>
                  <a:pt x="6210711" y="5115773"/>
                </a:lnTo>
                <a:lnTo>
                  <a:pt x="6210711" y="5057157"/>
                </a:lnTo>
                <a:cubicBezTo>
                  <a:pt x="6217524" y="5068649"/>
                  <a:pt x="6226502" y="5085403"/>
                  <a:pt x="6245562" y="5101373"/>
                </a:cubicBezTo>
                <a:lnTo>
                  <a:pt x="6254401" y="5087342"/>
                </a:lnTo>
                <a:cubicBezTo>
                  <a:pt x="6232947" y="5070957"/>
                  <a:pt x="6219228" y="5049772"/>
                  <a:pt x="6214716" y="5039987"/>
                </a:cubicBezTo>
                <a:lnTo>
                  <a:pt x="6214624" y="5039941"/>
                </a:lnTo>
                <a:lnTo>
                  <a:pt x="6250902" y="5039941"/>
                </a:lnTo>
                <a:lnTo>
                  <a:pt x="6250902" y="5026418"/>
                </a:lnTo>
                <a:lnTo>
                  <a:pt x="6210619" y="5026418"/>
                </a:lnTo>
                <a:lnTo>
                  <a:pt x="6210619" y="5005971"/>
                </a:lnTo>
                <a:lnTo>
                  <a:pt x="6243767" y="5005971"/>
                </a:lnTo>
                <a:lnTo>
                  <a:pt x="6243767" y="4992678"/>
                </a:lnTo>
                <a:lnTo>
                  <a:pt x="6210619" y="4992678"/>
                </a:lnTo>
                <a:lnTo>
                  <a:pt x="6210619" y="4967985"/>
                </a:lnTo>
                <a:close/>
                <a:moveTo>
                  <a:pt x="2918470" y="3507229"/>
                </a:moveTo>
                <a:lnTo>
                  <a:pt x="2918470" y="3525229"/>
                </a:lnTo>
                <a:lnTo>
                  <a:pt x="9273498" y="3525229"/>
                </a:lnTo>
                <a:lnTo>
                  <a:pt x="9273498" y="3507229"/>
                </a:lnTo>
                <a:close/>
                <a:moveTo>
                  <a:pt x="10228132" y="529486"/>
                </a:moveTo>
                <a:lnTo>
                  <a:pt x="10228070" y="529613"/>
                </a:lnTo>
                <a:lnTo>
                  <a:pt x="10228070" y="529524"/>
                </a:lnTo>
                <a:close/>
                <a:moveTo>
                  <a:pt x="10099007" y="529486"/>
                </a:moveTo>
                <a:lnTo>
                  <a:pt x="10098945" y="529613"/>
                </a:lnTo>
                <a:lnTo>
                  <a:pt x="10098945" y="529525"/>
                </a:lnTo>
                <a:close/>
                <a:moveTo>
                  <a:pt x="9514660" y="529485"/>
                </a:moveTo>
                <a:lnTo>
                  <a:pt x="9514596" y="529614"/>
                </a:lnTo>
                <a:lnTo>
                  <a:pt x="9514596" y="529525"/>
                </a:lnTo>
                <a:close/>
                <a:moveTo>
                  <a:pt x="9931562" y="529407"/>
                </a:moveTo>
                <a:lnTo>
                  <a:pt x="9931462" y="529613"/>
                </a:lnTo>
                <a:lnTo>
                  <a:pt x="9931374" y="529525"/>
                </a:lnTo>
                <a:close/>
                <a:moveTo>
                  <a:pt x="10031619" y="520397"/>
                </a:moveTo>
                <a:cubicBezTo>
                  <a:pt x="10041187" y="520397"/>
                  <a:pt x="10052335" y="522591"/>
                  <a:pt x="10051282" y="533827"/>
                </a:cubicBezTo>
                <a:cubicBezTo>
                  <a:pt x="10050404" y="544009"/>
                  <a:pt x="10041187" y="546905"/>
                  <a:pt x="10031882" y="546905"/>
                </a:cubicBezTo>
                <a:cubicBezTo>
                  <a:pt x="10029073" y="546905"/>
                  <a:pt x="10026440" y="546905"/>
                  <a:pt x="10023895" y="546028"/>
                </a:cubicBezTo>
                <a:close/>
                <a:moveTo>
                  <a:pt x="9526096" y="516710"/>
                </a:moveTo>
                <a:cubicBezTo>
                  <a:pt x="9528465" y="516710"/>
                  <a:pt x="9529518" y="517763"/>
                  <a:pt x="9529256" y="520309"/>
                </a:cubicBezTo>
                <a:lnTo>
                  <a:pt x="9514660" y="529485"/>
                </a:lnTo>
                <a:lnTo>
                  <a:pt x="9518722" y="521275"/>
                </a:lnTo>
                <a:cubicBezTo>
                  <a:pt x="9521004" y="518114"/>
                  <a:pt x="9523462" y="516710"/>
                  <a:pt x="9526096" y="516710"/>
                </a:cubicBezTo>
                <a:close/>
                <a:moveTo>
                  <a:pt x="10239481" y="516709"/>
                </a:moveTo>
                <a:cubicBezTo>
                  <a:pt x="10242026" y="516709"/>
                  <a:pt x="10242992" y="517762"/>
                  <a:pt x="10242728" y="520308"/>
                </a:cubicBezTo>
                <a:lnTo>
                  <a:pt x="10228132" y="529486"/>
                </a:lnTo>
                <a:lnTo>
                  <a:pt x="10232107" y="521274"/>
                </a:lnTo>
                <a:cubicBezTo>
                  <a:pt x="10234478" y="518113"/>
                  <a:pt x="10236935" y="516709"/>
                  <a:pt x="10239481" y="516709"/>
                </a:cubicBezTo>
                <a:close/>
                <a:moveTo>
                  <a:pt x="10110356" y="516709"/>
                </a:moveTo>
                <a:cubicBezTo>
                  <a:pt x="10112727" y="516709"/>
                  <a:pt x="10113868" y="517763"/>
                  <a:pt x="10113605" y="520308"/>
                </a:cubicBezTo>
                <a:lnTo>
                  <a:pt x="10099007" y="529486"/>
                </a:lnTo>
                <a:lnTo>
                  <a:pt x="10102983" y="521274"/>
                </a:lnTo>
                <a:cubicBezTo>
                  <a:pt x="10105353" y="518114"/>
                  <a:pt x="10107811" y="516709"/>
                  <a:pt x="10110356" y="516709"/>
                </a:cubicBezTo>
                <a:close/>
                <a:moveTo>
                  <a:pt x="9942874" y="516709"/>
                </a:moveTo>
                <a:cubicBezTo>
                  <a:pt x="9945243" y="516709"/>
                  <a:pt x="9946297" y="517763"/>
                  <a:pt x="9946034" y="520308"/>
                </a:cubicBezTo>
                <a:lnTo>
                  <a:pt x="9931562" y="529407"/>
                </a:lnTo>
                <a:lnTo>
                  <a:pt x="9935500" y="521274"/>
                </a:lnTo>
                <a:cubicBezTo>
                  <a:pt x="9937870" y="518114"/>
                  <a:pt x="9940240" y="516709"/>
                  <a:pt x="9942874" y="516709"/>
                </a:cubicBezTo>
                <a:close/>
                <a:moveTo>
                  <a:pt x="9704199" y="516095"/>
                </a:moveTo>
                <a:cubicBezTo>
                  <a:pt x="9706482" y="516095"/>
                  <a:pt x="9708150" y="516974"/>
                  <a:pt x="9709203" y="518905"/>
                </a:cubicBezTo>
                <a:cubicBezTo>
                  <a:pt x="9709993" y="520573"/>
                  <a:pt x="9710344" y="522592"/>
                  <a:pt x="9709993" y="525225"/>
                </a:cubicBezTo>
                <a:cubicBezTo>
                  <a:pt x="9709554" y="530053"/>
                  <a:pt x="9707974" y="534881"/>
                  <a:pt x="9705428" y="539182"/>
                </a:cubicBezTo>
                <a:lnTo>
                  <a:pt x="9705516" y="539269"/>
                </a:lnTo>
                <a:cubicBezTo>
                  <a:pt x="9702268" y="544536"/>
                  <a:pt x="9698581" y="547170"/>
                  <a:pt x="9694193" y="547170"/>
                </a:cubicBezTo>
                <a:cubicBezTo>
                  <a:pt x="9691998" y="547170"/>
                  <a:pt x="9690330" y="546117"/>
                  <a:pt x="9689277" y="544185"/>
                </a:cubicBezTo>
                <a:cubicBezTo>
                  <a:pt x="9688487" y="542517"/>
                  <a:pt x="9688136" y="540410"/>
                  <a:pt x="9688399" y="537953"/>
                </a:cubicBezTo>
                <a:cubicBezTo>
                  <a:pt x="9688838" y="532949"/>
                  <a:pt x="9690330" y="528210"/>
                  <a:pt x="9692876" y="523908"/>
                </a:cubicBezTo>
                <a:cubicBezTo>
                  <a:pt x="9695948" y="518642"/>
                  <a:pt x="9699723" y="516095"/>
                  <a:pt x="9704199" y="516095"/>
                </a:cubicBezTo>
                <a:close/>
                <a:moveTo>
                  <a:pt x="9468774" y="515832"/>
                </a:moveTo>
                <a:cubicBezTo>
                  <a:pt x="9470705" y="515832"/>
                  <a:pt x="9472373" y="516271"/>
                  <a:pt x="9474041" y="517061"/>
                </a:cubicBezTo>
                <a:lnTo>
                  <a:pt x="9472549" y="522328"/>
                </a:lnTo>
                <a:lnTo>
                  <a:pt x="9472460" y="522328"/>
                </a:lnTo>
                <a:cubicBezTo>
                  <a:pt x="9471847" y="524435"/>
                  <a:pt x="9469125" y="528121"/>
                  <a:pt x="9464034" y="533564"/>
                </a:cubicBezTo>
                <a:cubicBezTo>
                  <a:pt x="9458943" y="539006"/>
                  <a:pt x="9455607" y="541727"/>
                  <a:pt x="9453940" y="541727"/>
                </a:cubicBezTo>
                <a:cubicBezTo>
                  <a:pt x="9452886" y="541727"/>
                  <a:pt x="9452534" y="540761"/>
                  <a:pt x="9452710" y="538831"/>
                </a:cubicBezTo>
                <a:cubicBezTo>
                  <a:pt x="9453149" y="534354"/>
                  <a:pt x="9454817" y="529525"/>
                  <a:pt x="9457714" y="524522"/>
                </a:cubicBezTo>
                <a:cubicBezTo>
                  <a:pt x="9461137" y="518641"/>
                  <a:pt x="9464824" y="515832"/>
                  <a:pt x="9468774" y="515832"/>
                </a:cubicBezTo>
                <a:close/>
                <a:moveTo>
                  <a:pt x="9348516" y="515832"/>
                </a:moveTo>
                <a:cubicBezTo>
                  <a:pt x="9350272" y="515832"/>
                  <a:pt x="9352115" y="516359"/>
                  <a:pt x="9353958" y="517325"/>
                </a:cubicBezTo>
                <a:lnTo>
                  <a:pt x="9352466" y="522328"/>
                </a:lnTo>
                <a:cubicBezTo>
                  <a:pt x="9351939" y="523996"/>
                  <a:pt x="9349130" y="527595"/>
                  <a:pt x="9344127" y="533477"/>
                </a:cubicBezTo>
                <a:cubicBezTo>
                  <a:pt x="9338773" y="539708"/>
                  <a:pt x="9335262" y="542781"/>
                  <a:pt x="9333418" y="542781"/>
                </a:cubicBezTo>
                <a:cubicBezTo>
                  <a:pt x="9332102" y="542781"/>
                  <a:pt x="9331574" y="541727"/>
                  <a:pt x="9331750" y="539884"/>
                </a:cubicBezTo>
                <a:cubicBezTo>
                  <a:pt x="9332189" y="535144"/>
                  <a:pt x="9333945" y="530141"/>
                  <a:pt x="9336929" y="524961"/>
                </a:cubicBezTo>
                <a:cubicBezTo>
                  <a:pt x="9340528" y="518730"/>
                  <a:pt x="9344391" y="515832"/>
                  <a:pt x="9348516" y="515832"/>
                </a:cubicBezTo>
                <a:close/>
                <a:moveTo>
                  <a:pt x="9532942" y="505562"/>
                </a:moveTo>
                <a:cubicBezTo>
                  <a:pt x="9523813" y="505562"/>
                  <a:pt x="9515386" y="509073"/>
                  <a:pt x="9507838" y="516183"/>
                </a:cubicBezTo>
                <a:cubicBezTo>
                  <a:pt x="9500113" y="523118"/>
                  <a:pt x="9495899" y="531457"/>
                  <a:pt x="9495021" y="540937"/>
                </a:cubicBezTo>
                <a:cubicBezTo>
                  <a:pt x="9494495" y="546379"/>
                  <a:pt x="9496251" y="550593"/>
                  <a:pt x="9500200" y="553753"/>
                </a:cubicBezTo>
                <a:cubicBezTo>
                  <a:pt x="9503712" y="556387"/>
                  <a:pt x="9508276" y="557704"/>
                  <a:pt x="9513894" y="557704"/>
                </a:cubicBezTo>
                <a:cubicBezTo>
                  <a:pt x="9520829" y="557704"/>
                  <a:pt x="9529431" y="555859"/>
                  <a:pt x="9539789" y="552261"/>
                </a:cubicBezTo>
                <a:lnTo>
                  <a:pt x="9543476" y="539884"/>
                </a:lnTo>
                <a:cubicBezTo>
                  <a:pt x="9534434" y="544800"/>
                  <a:pt x="9526798" y="547170"/>
                  <a:pt x="9520565" y="547170"/>
                </a:cubicBezTo>
                <a:lnTo>
                  <a:pt x="9520565" y="547081"/>
                </a:lnTo>
                <a:cubicBezTo>
                  <a:pt x="9514771" y="547081"/>
                  <a:pt x="9512051" y="544624"/>
                  <a:pt x="9512490" y="539533"/>
                </a:cubicBezTo>
                <a:cubicBezTo>
                  <a:pt x="9519512" y="539533"/>
                  <a:pt x="9526358" y="537514"/>
                  <a:pt x="9532942" y="533564"/>
                </a:cubicBezTo>
                <a:cubicBezTo>
                  <a:pt x="9540403" y="528912"/>
                  <a:pt x="9544441" y="523294"/>
                  <a:pt x="9545056" y="516710"/>
                </a:cubicBezTo>
                <a:cubicBezTo>
                  <a:pt x="9545407" y="513111"/>
                  <a:pt x="9544265" y="510390"/>
                  <a:pt x="9541720" y="508283"/>
                </a:cubicBezTo>
                <a:cubicBezTo>
                  <a:pt x="9539350" y="506440"/>
                  <a:pt x="9536453" y="505562"/>
                  <a:pt x="9532942" y="505562"/>
                </a:cubicBezTo>
                <a:close/>
                <a:moveTo>
                  <a:pt x="9482643" y="505562"/>
                </a:moveTo>
                <a:cubicBezTo>
                  <a:pt x="9477465" y="505562"/>
                  <a:pt x="9471056" y="505825"/>
                  <a:pt x="9471056" y="505825"/>
                </a:cubicBezTo>
                <a:cubicBezTo>
                  <a:pt x="9462718" y="505825"/>
                  <a:pt x="9454729" y="509951"/>
                  <a:pt x="9447180" y="518202"/>
                </a:cubicBezTo>
                <a:cubicBezTo>
                  <a:pt x="9439895" y="526190"/>
                  <a:pt x="9435857" y="534705"/>
                  <a:pt x="9435067" y="543308"/>
                </a:cubicBezTo>
                <a:cubicBezTo>
                  <a:pt x="9434716" y="546906"/>
                  <a:pt x="9435418" y="549978"/>
                  <a:pt x="9437174" y="552348"/>
                </a:cubicBezTo>
                <a:cubicBezTo>
                  <a:pt x="9439017" y="554982"/>
                  <a:pt x="9441738" y="556211"/>
                  <a:pt x="9445249" y="556211"/>
                </a:cubicBezTo>
                <a:cubicBezTo>
                  <a:pt x="9453676" y="556211"/>
                  <a:pt x="9461576" y="549364"/>
                  <a:pt x="9468949" y="535582"/>
                </a:cubicBezTo>
                <a:lnTo>
                  <a:pt x="9471056" y="535582"/>
                </a:lnTo>
                <a:cubicBezTo>
                  <a:pt x="9469915" y="539445"/>
                  <a:pt x="9468598" y="543395"/>
                  <a:pt x="9467370" y="547257"/>
                </a:cubicBezTo>
                <a:cubicBezTo>
                  <a:pt x="9465614" y="552788"/>
                  <a:pt x="9463771" y="557001"/>
                  <a:pt x="9461752" y="559722"/>
                </a:cubicBezTo>
                <a:cubicBezTo>
                  <a:pt x="9458943" y="563672"/>
                  <a:pt x="9455607" y="565516"/>
                  <a:pt x="9451745" y="565516"/>
                </a:cubicBezTo>
                <a:cubicBezTo>
                  <a:pt x="9445952" y="565516"/>
                  <a:pt x="9439017" y="563496"/>
                  <a:pt x="9430941" y="559371"/>
                </a:cubicBezTo>
                <a:lnTo>
                  <a:pt x="9432258" y="574205"/>
                </a:lnTo>
                <a:cubicBezTo>
                  <a:pt x="9436471" y="575171"/>
                  <a:pt x="9441826" y="575610"/>
                  <a:pt x="9448146" y="575610"/>
                </a:cubicBezTo>
                <a:cubicBezTo>
                  <a:pt x="9466140" y="575610"/>
                  <a:pt x="9477289" y="568149"/>
                  <a:pt x="9481414" y="553402"/>
                </a:cubicBezTo>
                <a:lnTo>
                  <a:pt x="9494757" y="505562"/>
                </a:lnTo>
                <a:cubicBezTo>
                  <a:pt x="9492123" y="505562"/>
                  <a:pt x="9488086" y="505649"/>
                  <a:pt x="9482819" y="505562"/>
                </a:cubicBezTo>
                <a:close/>
                <a:moveTo>
                  <a:pt x="10246503" y="505561"/>
                </a:moveTo>
                <a:cubicBezTo>
                  <a:pt x="10237374" y="505561"/>
                  <a:pt x="10228947" y="509072"/>
                  <a:pt x="10221399" y="516182"/>
                </a:cubicBezTo>
                <a:cubicBezTo>
                  <a:pt x="10213761" y="523117"/>
                  <a:pt x="10209460" y="531456"/>
                  <a:pt x="10208582" y="540936"/>
                </a:cubicBezTo>
                <a:cubicBezTo>
                  <a:pt x="10208056" y="546378"/>
                  <a:pt x="10209812" y="550592"/>
                  <a:pt x="10213761" y="553752"/>
                </a:cubicBezTo>
                <a:cubicBezTo>
                  <a:pt x="10217273" y="556386"/>
                  <a:pt x="10221750" y="557703"/>
                  <a:pt x="10227368" y="557703"/>
                </a:cubicBezTo>
                <a:cubicBezTo>
                  <a:pt x="10234214" y="557703"/>
                  <a:pt x="10242904" y="555859"/>
                  <a:pt x="10253262" y="552260"/>
                </a:cubicBezTo>
                <a:lnTo>
                  <a:pt x="10256862" y="539883"/>
                </a:lnTo>
                <a:cubicBezTo>
                  <a:pt x="10247820" y="544799"/>
                  <a:pt x="10240095" y="547169"/>
                  <a:pt x="10233950" y="547169"/>
                </a:cubicBezTo>
                <a:lnTo>
                  <a:pt x="10234039" y="547081"/>
                </a:lnTo>
                <a:cubicBezTo>
                  <a:pt x="10228245" y="547081"/>
                  <a:pt x="10225524" y="544623"/>
                  <a:pt x="10225963" y="539532"/>
                </a:cubicBezTo>
                <a:cubicBezTo>
                  <a:pt x="10232986" y="539532"/>
                  <a:pt x="10239832" y="537513"/>
                  <a:pt x="10246416" y="533563"/>
                </a:cubicBezTo>
                <a:cubicBezTo>
                  <a:pt x="10253877" y="528911"/>
                  <a:pt x="10258003" y="523293"/>
                  <a:pt x="10258617" y="516709"/>
                </a:cubicBezTo>
                <a:cubicBezTo>
                  <a:pt x="10258968" y="513110"/>
                  <a:pt x="10257827" y="510389"/>
                  <a:pt x="10255281" y="508282"/>
                </a:cubicBezTo>
                <a:cubicBezTo>
                  <a:pt x="10252999" y="506439"/>
                  <a:pt x="10250014" y="505561"/>
                  <a:pt x="10246503" y="505561"/>
                </a:cubicBezTo>
                <a:close/>
                <a:moveTo>
                  <a:pt x="10117379" y="505561"/>
                </a:moveTo>
                <a:cubicBezTo>
                  <a:pt x="10108162" y="505561"/>
                  <a:pt x="10099823" y="509072"/>
                  <a:pt x="10092098" y="516182"/>
                </a:cubicBezTo>
                <a:cubicBezTo>
                  <a:pt x="10084549" y="523117"/>
                  <a:pt x="10080248" y="531456"/>
                  <a:pt x="10079370" y="540937"/>
                </a:cubicBezTo>
                <a:cubicBezTo>
                  <a:pt x="10078844" y="546378"/>
                  <a:pt x="10080600" y="550592"/>
                  <a:pt x="10084549" y="553752"/>
                </a:cubicBezTo>
                <a:cubicBezTo>
                  <a:pt x="10088061" y="556386"/>
                  <a:pt x="10092625" y="557703"/>
                  <a:pt x="10098156" y="557703"/>
                </a:cubicBezTo>
                <a:cubicBezTo>
                  <a:pt x="10105178" y="557703"/>
                  <a:pt x="10113780" y="555859"/>
                  <a:pt x="10124050" y="552260"/>
                </a:cubicBezTo>
                <a:lnTo>
                  <a:pt x="10127737" y="539883"/>
                </a:lnTo>
                <a:cubicBezTo>
                  <a:pt x="10118696" y="544799"/>
                  <a:pt x="10110971" y="547169"/>
                  <a:pt x="10104827" y="547169"/>
                </a:cubicBezTo>
                <a:lnTo>
                  <a:pt x="10104914" y="547081"/>
                </a:lnTo>
                <a:cubicBezTo>
                  <a:pt x="10099120" y="547081"/>
                  <a:pt x="10096400" y="544623"/>
                  <a:pt x="10096839" y="539532"/>
                </a:cubicBezTo>
                <a:cubicBezTo>
                  <a:pt x="10103861" y="539532"/>
                  <a:pt x="10110707" y="537513"/>
                  <a:pt x="10117291" y="533563"/>
                </a:cubicBezTo>
                <a:cubicBezTo>
                  <a:pt x="10124665" y="528911"/>
                  <a:pt x="10128791" y="523293"/>
                  <a:pt x="10129405" y="516709"/>
                </a:cubicBezTo>
                <a:cubicBezTo>
                  <a:pt x="10129756" y="513111"/>
                  <a:pt x="10128615" y="510389"/>
                  <a:pt x="10126069" y="508282"/>
                </a:cubicBezTo>
                <a:cubicBezTo>
                  <a:pt x="10123787" y="506439"/>
                  <a:pt x="10120890" y="505561"/>
                  <a:pt x="10117379" y="505561"/>
                </a:cubicBezTo>
                <a:close/>
                <a:moveTo>
                  <a:pt x="9949720" y="505561"/>
                </a:moveTo>
                <a:cubicBezTo>
                  <a:pt x="9940591" y="505561"/>
                  <a:pt x="9932164" y="509072"/>
                  <a:pt x="9924616" y="516182"/>
                </a:cubicBezTo>
                <a:cubicBezTo>
                  <a:pt x="9916891" y="523117"/>
                  <a:pt x="9912678" y="531456"/>
                  <a:pt x="9911799" y="540937"/>
                </a:cubicBezTo>
                <a:cubicBezTo>
                  <a:pt x="9911273" y="546379"/>
                  <a:pt x="9913029" y="550592"/>
                  <a:pt x="9916979" y="553752"/>
                </a:cubicBezTo>
                <a:cubicBezTo>
                  <a:pt x="9920577" y="556386"/>
                  <a:pt x="9925142" y="557703"/>
                  <a:pt x="9930672" y="557703"/>
                </a:cubicBezTo>
                <a:cubicBezTo>
                  <a:pt x="9937607" y="557703"/>
                  <a:pt x="9946297" y="555859"/>
                  <a:pt x="9956655" y="552260"/>
                </a:cubicBezTo>
                <a:lnTo>
                  <a:pt x="9960254" y="539883"/>
                </a:lnTo>
                <a:cubicBezTo>
                  <a:pt x="9951212" y="544799"/>
                  <a:pt x="9943576" y="547169"/>
                  <a:pt x="9937344" y="547169"/>
                </a:cubicBezTo>
                <a:lnTo>
                  <a:pt x="9937344" y="547081"/>
                </a:lnTo>
                <a:cubicBezTo>
                  <a:pt x="9931550" y="547081"/>
                  <a:pt x="9928829" y="544623"/>
                  <a:pt x="9929180" y="539532"/>
                </a:cubicBezTo>
                <a:cubicBezTo>
                  <a:pt x="9936203" y="539532"/>
                  <a:pt x="9943137" y="537513"/>
                  <a:pt x="9949720" y="533563"/>
                </a:cubicBezTo>
                <a:cubicBezTo>
                  <a:pt x="9957094" y="528911"/>
                  <a:pt x="9961220" y="523293"/>
                  <a:pt x="9961834" y="516709"/>
                </a:cubicBezTo>
                <a:cubicBezTo>
                  <a:pt x="9962186" y="513111"/>
                  <a:pt x="9961132" y="510389"/>
                  <a:pt x="9958498" y="508282"/>
                </a:cubicBezTo>
                <a:cubicBezTo>
                  <a:pt x="9956128" y="506439"/>
                  <a:pt x="9953144" y="505561"/>
                  <a:pt x="9949720" y="505561"/>
                </a:cubicBezTo>
                <a:close/>
                <a:moveTo>
                  <a:pt x="10311109" y="505560"/>
                </a:moveTo>
                <a:cubicBezTo>
                  <a:pt x="10306545" y="505560"/>
                  <a:pt x="10301629" y="508106"/>
                  <a:pt x="10296538" y="513460"/>
                </a:cubicBezTo>
                <a:cubicBezTo>
                  <a:pt x="10292500" y="517498"/>
                  <a:pt x="10289164" y="522238"/>
                  <a:pt x="10286268" y="527768"/>
                </a:cubicBezTo>
                <a:lnTo>
                  <a:pt x="10285127" y="527768"/>
                </a:lnTo>
                <a:cubicBezTo>
                  <a:pt x="10285127" y="527768"/>
                  <a:pt x="10292500" y="505824"/>
                  <a:pt x="10292500" y="505824"/>
                </a:cubicBezTo>
                <a:lnTo>
                  <a:pt x="10275383" y="505824"/>
                </a:lnTo>
                <a:cubicBezTo>
                  <a:pt x="10275383" y="505824"/>
                  <a:pt x="10260636" y="556647"/>
                  <a:pt x="10260636" y="556647"/>
                </a:cubicBezTo>
                <a:lnTo>
                  <a:pt x="10277928" y="556647"/>
                </a:lnTo>
                <a:lnTo>
                  <a:pt x="10282405" y="541111"/>
                </a:lnTo>
                <a:cubicBezTo>
                  <a:pt x="10283371" y="538038"/>
                  <a:pt x="10286355" y="533913"/>
                  <a:pt x="10291447" y="528822"/>
                </a:cubicBezTo>
                <a:cubicBezTo>
                  <a:pt x="10296801" y="523467"/>
                  <a:pt x="10300927" y="520834"/>
                  <a:pt x="10304000" y="520834"/>
                </a:cubicBezTo>
                <a:cubicBezTo>
                  <a:pt x="10305228" y="520834"/>
                  <a:pt x="10307949" y="521185"/>
                  <a:pt x="10309265" y="521975"/>
                </a:cubicBezTo>
                <a:lnTo>
                  <a:pt x="10315147" y="506614"/>
                </a:lnTo>
                <a:lnTo>
                  <a:pt x="10315323" y="506614"/>
                </a:lnTo>
                <a:cubicBezTo>
                  <a:pt x="10314270" y="505912"/>
                  <a:pt x="10312778" y="505560"/>
                  <a:pt x="10311109" y="505560"/>
                </a:cubicBezTo>
                <a:close/>
                <a:moveTo>
                  <a:pt x="9374762" y="505475"/>
                </a:moveTo>
                <a:cubicBezTo>
                  <a:pt x="9371953" y="505475"/>
                  <a:pt x="9368529" y="505650"/>
                  <a:pt x="9362824" y="505562"/>
                </a:cubicBezTo>
                <a:cubicBezTo>
                  <a:pt x="9357470" y="505475"/>
                  <a:pt x="9352818" y="505738"/>
                  <a:pt x="9350009" y="505738"/>
                </a:cubicBezTo>
                <a:cubicBezTo>
                  <a:pt x="9341845" y="505738"/>
                  <a:pt x="9333857" y="510214"/>
                  <a:pt x="9326220" y="519081"/>
                </a:cubicBezTo>
                <a:cubicBezTo>
                  <a:pt x="9318934" y="527508"/>
                  <a:pt x="9314809" y="536022"/>
                  <a:pt x="9314019" y="544624"/>
                </a:cubicBezTo>
                <a:cubicBezTo>
                  <a:pt x="9313667" y="548048"/>
                  <a:pt x="9314370" y="551033"/>
                  <a:pt x="9316125" y="553665"/>
                </a:cubicBezTo>
                <a:cubicBezTo>
                  <a:pt x="9317968" y="556299"/>
                  <a:pt x="9320602" y="557704"/>
                  <a:pt x="9323850" y="557704"/>
                </a:cubicBezTo>
                <a:cubicBezTo>
                  <a:pt x="9328414" y="557704"/>
                  <a:pt x="9333243" y="555070"/>
                  <a:pt x="9338334" y="549803"/>
                </a:cubicBezTo>
                <a:cubicBezTo>
                  <a:pt x="9342284" y="545590"/>
                  <a:pt x="9345795" y="540850"/>
                  <a:pt x="9348604" y="535495"/>
                </a:cubicBezTo>
                <a:lnTo>
                  <a:pt x="9349745" y="535495"/>
                </a:lnTo>
                <a:cubicBezTo>
                  <a:pt x="9349745" y="535495"/>
                  <a:pt x="9342635" y="556562"/>
                  <a:pt x="9342635" y="556562"/>
                </a:cubicBezTo>
                <a:lnTo>
                  <a:pt x="9359840" y="556562"/>
                </a:lnTo>
                <a:cubicBezTo>
                  <a:pt x="9359840" y="556562"/>
                  <a:pt x="9374762" y="505475"/>
                  <a:pt x="9374762" y="505475"/>
                </a:cubicBezTo>
                <a:close/>
                <a:moveTo>
                  <a:pt x="9779077" y="505474"/>
                </a:moveTo>
                <a:cubicBezTo>
                  <a:pt x="9774601" y="505474"/>
                  <a:pt x="9769772" y="508019"/>
                  <a:pt x="9764593" y="513374"/>
                </a:cubicBezTo>
                <a:cubicBezTo>
                  <a:pt x="9760731" y="517412"/>
                  <a:pt x="9757220" y="522152"/>
                  <a:pt x="9754323" y="527682"/>
                </a:cubicBezTo>
                <a:lnTo>
                  <a:pt x="9753270" y="527682"/>
                </a:lnTo>
                <a:cubicBezTo>
                  <a:pt x="9753270" y="527682"/>
                  <a:pt x="9760818" y="505649"/>
                  <a:pt x="9760818" y="505649"/>
                </a:cubicBezTo>
                <a:lnTo>
                  <a:pt x="9743702" y="505649"/>
                </a:lnTo>
                <a:cubicBezTo>
                  <a:pt x="9743702" y="505649"/>
                  <a:pt x="9728779" y="556561"/>
                  <a:pt x="9728779" y="556561"/>
                </a:cubicBezTo>
                <a:lnTo>
                  <a:pt x="9746160" y="556561"/>
                </a:lnTo>
                <a:lnTo>
                  <a:pt x="9750636" y="540937"/>
                </a:lnTo>
                <a:cubicBezTo>
                  <a:pt x="9751602" y="537864"/>
                  <a:pt x="9754587" y="533826"/>
                  <a:pt x="9759678" y="528648"/>
                </a:cubicBezTo>
                <a:cubicBezTo>
                  <a:pt x="9765032" y="523292"/>
                  <a:pt x="9769245" y="520659"/>
                  <a:pt x="9772230" y="520659"/>
                </a:cubicBezTo>
                <a:cubicBezTo>
                  <a:pt x="9773546" y="520659"/>
                  <a:pt x="9776706" y="520659"/>
                  <a:pt x="9777848" y="521800"/>
                </a:cubicBezTo>
                <a:lnTo>
                  <a:pt x="9782764" y="506088"/>
                </a:lnTo>
                <a:lnTo>
                  <a:pt x="9782764" y="506000"/>
                </a:lnTo>
                <a:cubicBezTo>
                  <a:pt x="9781623" y="505385"/>
                  <a:pt x="9780745" y="505474"/>
                  <a:pt x="9779077" y="505474"/>
                </a:cubicBezTo>
                <a:close/>
                <a:moveTo>
                  <a:pt x="9708763" y="505474"/>
                </a:moveTo>
                <a:cubicBezTo>
                  <a:pt x="9699547" y="505474"/>
                  <a:pt x="9691208" y="508986"/>
                  <a:pt x="9683483" y="516095"/>
                </a:cubicBezTo>
                <a:cubicBezTo>
                  <a:pt x="9675934" y="523030"/>
                  <a:pt x="9671633" y="531370"/>
                  <a:pt x="9670755" y="540938"/>
                </a:cubicBezTo>
                <a:cubicBezTo>
                  <a:pt x="9670317" y="546292"/>
                  <a:pt x="9671985" y="550593"/>
                  <a:pt x="9675934" y="553665"/>
                </a:cubicBezTo>
                <a:cubicBezTo>
                  <a:pt x="9679446" y="556299"/>
                  <a:pt x="9684010" y="557615"/>
                  <a:pt x="9689540" y="557615"/>
                </a:cubicBezTo>
                <a:cubicBezTo>
                  <a:pt x="9698581" y="557615"/>
                  <a:pt x="9707096" y="554017"/>
                  <a:pt x="9714732" y="546731"/>
                </a:cubicBezTo>
                <a:cubicBezTo>
                  <a:pt x="9722457" y="539533"/>
                  <a:pt x="9726671" y="531194"/>
                  <a:pt x="9727549" y="521889"/>
                </a:cubicBezTo>
                <a:cubicBezTo>
                  <a:pt x="9728076" y="516623"/>
                  <a:pt x="9726319" y="512321"/>
                  <a:pt x="9722370" y="509337"/>
                </a:cubicBezTo>
                <a:lnTo>
                  <a:pt x="9722370" y="509424"/>
                </a:lnTo>
                <a:cubicBezTo>
                  <a:pt x="9718858" y="506703"/>
                  <a:pt x="9714294" y="505474"/>
                  <a:pt x="9708763" y="505474"/>
                </a:cubicBezTo>
                <a:close/>
                <a:moveTo>
                  <a:pt x="9423217" y="505384"/>
                </a:moveTo>
                <a:cubicBezTo>
                  <a:pt x="9418653" y="505384"/>
                  <a:pt x="9413737" y="507930"/>
                  <a:pt x="9408645" y="513285"/>
                </a:cubicBezTo>
                <a:cubicBezTo>
                  <a:pt x="9404696" y="517235"/>
                  <a:pt x="9401273" y="522150"/>
                  <a:pt x="9398375" y="527592"/>
                </a:cubicBezTo>
                <a:lnTo>
                  <a:pt x="9397234" y="527592"/>
                </a:lnTo>
                <a:cubicBezTo>
                  <a:pt x="9397234" y="527592"/>
                  <a:pt x="9404696" y="505472"/>
                  <a:pt x="9404696" y="505472"/>
                </a:cubicBezTo>
                <a:lnTo>
                  <a:pt x="9387491" y="505472"/>
                </a:lnTo>
                <a:cubicBezTo>
                  <a:pt x="9387491" y="505472"/>
                  <a:pt x="9372656" y="556473"/>
                  <a:pt x="9372656" y="556473"/>
                </a:cubicBezTo>
                <a:lnTo>
                  <a:pt x="9389948" y="556473"/>
                </a:lnTo>
                <a:lnTo>
                  <a:pt x="9394513" y="540935"/>
                </a:lnTo>
                <a:cubicBezTo>
                  <a:pt x="9395040" y="539179"/>
                  <a:pt x="9397586" y="535668"/>
                  <a:pt x="9402150" y="530314"/>
                </a:cubicBezTo>
                <a:cubicBezTo>
                  <a:pt x="9406802" y="525135"/>
                  <a:pt x="9410577" y="521536"/>
                  <a:pt x="9411806" y="521097"/>
                </a:cubicBezTo>
                <a:cubicBezTo>
                  <a:pt x="9412947" y="520658"/>
                  <a:pt x="9412596" y="522502"/>
                  <a:pt x="9412596" y="522502"/>
                </a:cubicBezTo>
                <a:cubicBezTo>
                  <a:pt x="9411806" y="528471"/>
                  <a:pt x="9402852" y="556560"/>
                  <a:pt x="9402852" y="556560"/>
                </a:cubicBezTo>
                <a:lnTo>
                  <a:pt x="9420057" y="556560"/>
                </a:lnTo>
                <a:lnTo>
                  <a:pt x="9420321" y="556473"/>
                </a:lnTo>
                <a:lnTo>
                  <a:pt x="9431118" y="518463"/>
                </a:lnTo>
                <a:cubicBezTo>
                  <a:pt x="9432785" y="512407"/>
                  <a:pt x="9431118" y="509685"/>
                  <a:pt x="9430065" y="508281"/>
                </a:cubicBezTo>
                <a:cubicBezTo>
                  <a:pt x="9428309" y="506350"/>
                  <a:pt x="9426026" y="505384"/>
                  <a:pt x="9423217" y="505384"/>
                </a:cubicBezTo>
                <a:close/>
                <a:moveTo>
                  <a:pt x="9583767" y="505299"/>
                </a:moveTo>
                <a:cubicBezTo>
                  <a:pt x="9577885" y="505299"/>
                  <a:pt x="9572970" y="506352"/>
                  <a:pt x="9568756" y="508371"/>
                </a:cubicBezTo>
                <a:cubicBezTo>
                  <a:pt x="9563402" y="511092"/>
                  <a:pt x="9560504" y="515393"/>
                  <a:pt x="9559978" y="520660"/>
                </a:cubicBezTo>
                <a:cubicBezTo>
                  <a:pt x="9559715" y="523644"/>
                  <a:pt x="9560593" y="526629"/>
                  <a:pt x="9562787" y="529613"/>
                </a:cubicBezTo>
                <a:cubicBezTo>
                  <a:pt x="9564806" y="531808"/>
                  <a:pt x="9566825" y="534178"/>
                  <a:pt x="9568844" y="536284"/>
                </a:cubicBezTo>
                <a:cubicBezTo>
                  <a:pt x="9571038" y="538742"/>
                  <a:pt x="9572004" y="540936"/>
                  <a:pt x="9571829" y="542780"/>
                </a:cubicBezTo>
                <a:cubicBezTo>
                  <a:pt x="9571740" y="544185"/>
                  <a:pt x="9571038" y="545238"/>
                  <a:pt x="9569897" y="546116"/>
                </a:cubicBezTo>
                <a:cubicBezTo>
                  <a:pt x="9568756" y="546994"/>
                  <a:pt x="9567439" y="547520"/>
                  <a:pt x="9566035" y="547520"/>
                </a:cubicBezTo>
                <a:cubicBezTo>
                  <a:pt x="9562436" y="547520"/>
                  <a:pt x="9557433" y="546028"/>
                  <a:pt x="9551024" y="543044"/>
                </a:cubicBezTo>
                <a:lnTo>
                  <a:pt x="9547689" y="554806"/>
                </a:lnTo>
                <a:cubicBezTo>
                  <a:pt x="9554535" y="556649"/>
                  <a:pt x="9560329" y="557527"/>
                  <a:pt x="9565069" y="557527"/>
                </a:cubicBezTo>
                <a:cubicBezTo>
                  <a:pt x="9571214" y="557527"/>
                  <a:pt x="9576393" y="556298"/>
                  <a:pt x="9580607" y="554016"/>
                </a:cubicBezTo>
                <a:cubicBezTo>
                  <a:pt x="9585785" y="551120"/>
                  <a:pt x="9588770" y="546730"/>
                  <a:pt x="9589296" y="540936"/>
                </a:cubicBezTo>
                <a:cubicBezTo>
                  <a:pt x="9589560" y="537865"/>
                  <a:pt x="9588594" y="534968"/>
                  <a:pt x="9586312" y="531896"/>
                </a:cubicBezTo>
                <a:cubicBezTo>
                  <a:pt x="9585610" y="531194"/>
                  <a:pt x="9583416" y="529087"/>
                  <a:pt x="9579641" y="525488"/>
                </a:cubicBezTo>
                <a:cubicBezTo>
                  <a:pt x="9577358" y="523118"/>
                  <a:pt x="9576217" y="521274"/>
                  <a:pt x="9576393" y="519870"/>
                </a:cubicBezTo>
                <a:cubicBezTo>
                  <a:pt x="9576657" y="516885"/>
                  <a:pt x="9579026" y="515393"/>
                  <a:pt x="9583591" y="515393"/>
                </a:cubicBezTo>
                <a:cubicBezTo>
                  <a:pt x="9586838" y="515393"/>
                  <a:pt x="9590262" y="516096"/>
                  <a:pt x="9594300" y="517413"/>
                </a:cubicBezTo>
                <a:lnTo>
                  <a:pt x="9597372" y="506791"/>
                </a:lnTo>
                <a:lnTo>
                  <a:pt x="9597197" y="506791"/>
                </a:lnTo>
                <a:cubicBezTo>
                  <a:pt x="9589121" y="505825"/>
                  <a:pt x="9584644" y="505299"/>
                  <a:pt x="9583767" y="505299"/>
                </a:cubicBezTo>
                <a:close/>
                <a:moveTo>
                  <a:pt x="10204281" y="496257"/>
                </a:moveTo>
                <a:lnTo>
                  <a:pt x="10186023" y="498715"/>
                </a:lnTo>
                <a:cubicBezTo>
                  <a:pt x="10186023" y="498715"/>
                  <a:pt x="10177508" y="526453"/>
                  <a:pt x="10175928" y="531544"/>
                </a:cubicBezTo>
                <a:cubicBezTo>
                  <a:pt x="10173909" y="537953"/>
                  <a:pt x="10172768" y="543043"/>
                  <a:pt x="10172417" y="547082"/>
                </a:cubicBezTo>
                <a:cubicBezTo>
                  <a:pt x="10172066" y="550593"/>
                  <a:pt x="10173032" y="553402"/>
                  <a:pt x="10175401" y="555245"/>
                </a:cubicBezTo>
                <a:cubicBezTo>
                  <a:pt x="10177596" y="556913"/>
                  <a:pt x="10180405" y="557703"/>
                  <a:pt x="10184092" y="557703"/>
                </a:cubicBezTo>
                <a:cubicBezTo>
                  <a:pt x="10187252" y="557703"/>
                  <a:pt x="10191554" y="556913"/>
                  <a:pt x="10197434" y="555509"/>
                </a:cubicBezTo>
                <a:lnTo>
                  <a:pt x="10200594" y="544624"/>
                </a:lnTo>
                <a:cubicBezTo>
                  <a:pt x="10198487" y="546028"/>
                  <a:pt x="10196644" y="546642"/>
                  <a:pt x="10194976" y="546642"/>
                </a:cubicBezTo>
                <a:cubicBezTo>
                  <a:pt x="10192080" y="546642"/>
                  <a:pt x="10191026" y="545062"/>
                  <a:pt x="10191290" y="541815"/>
                </a:cubicBezTo>
                <a:cubicBezTo>
                  <a:pt x="10191641" y="538391"/>
                  <a:pt x="10192606" y="534178"/>
                  <a:pt x="10194274" y="528998"/>
                </a:cubicBezTo>
                <a:cubicBezTo>
                  <a:pt x="10195766" y="524961"/>
                  <a:pt x="10197347" y="519694"/>
                  <a:pt x="10198751" y="515656"/>
                </a:cubicBezTo>
                <a:lnTo>
                  <a:pt x="10207002" y="515656"/>
                </a:lnTo>
                <a:lnTo>
                  <a:pt x="10209987" y="505737"/>
                </a:lnTo>
                <a:lnTo>
                  <a:pt x="10209899" y="505737"/>
                </a:lnTo>
                <a:lnTo>
                  <a:pt x="10201472" y="505737"/>
                </a:lnTo>
                <a:close/>
                <a:moveTo>
                  <a:pt x="10167413" y="496257"/>
                </a:moveTo>
                <a:lnTo>
                  <a:pt x="10149418" y="498715"/>
                </a:lnTo>
                <a:cubicBezTo>
                  <a:pt x="10149418" y="498715"/>
                  <a:pt x="10141079" y="526453"/>
                  <a:pt x="10139411" y="531544"/>
                </a:cubicBezTo>
                <a:cubicBezTo>
                  <a:pt x="10137392" y="537953"/>
                  <a:pt x="10136251" y="543043"/>
                  <a:pt x="10135812" y="547082"/>
                </a:cubicBezTo>
                <a:cubicBezTo>
                  <a:pt x="10135461" y="550593"/>
                  <a:pt x="10136515" y="553402"/>
                  <a:pt x="10138884" y="555245"/>
                </a:cubicBezTo>
                <a:cubicBezTo>
                  <a:pt x="10141079" y="556913"/>
                  <a:pt x="10143888" y="557703"/>
                  <a:pt x="10147487" y="557703"/>
                </a:cubicBezTo>
                <a:cubicBezTo>
                  <a:pt x="10150734" y="557703"/>
                  <a:pt x="10155035" y="556913"/>
                  <a:pt x="10160566" y="555509"/>
                </a:cubicBezTo>
                <a:lnTo>
                  <a:pt x="10163726" y="544624"/>
                </a:lnTo>
                <a:cubicBezTo>
                  <a:pt x="10161619" y="546028"/>
                  <a:pt x="10159776" y="546642"/>
                  <a:pt x="10158196" y="546642"/>
                </a:cubicBezTo>
                <a:cubicBezTo>
                  <a:pt x="10155475" y="546642"/>
                  <a:pt x="10154422" y="545063"/>
                  <a:pt x="10154684" y="541815"/>
                </a:cubicBezTo>
                <a:cubicBezTo>
                  <a:pt x="10155124" y="538391"/>
                  <a:pt x="10156001" y="534178"/>
                  <a:pt x="10157582" y="528999"/>
                </a:cubicBezTo>
                <a:cubicBezTo>
                  <a:pt x="10158898" y="524961"/>
                  <a:pt x="10160215" y="519694"/>
                  <a:pt x="10161619" y="515656"/>
                </a:cubicBezTo>
                <a:lnTo>
                  <a:pt x="10169958" y="515656"/>
                </a:lnTo>
                <a:lnTo>
                  <a:pt x="10172855" y="505737"/>
                </a:lnTo>
                <a:lnTo>
                  <a:pt x="10164516" y="505737"/>
                </a:lnTo>
                <a:close/>
                <a:moveTo>
                  <a:pt x="9845175" y="496257"/>
                </a:moveTo>
                <a:lnTo>
                  <a:pt x="9827179" y="498715"/>
                </a:lnTo>
                <a:cubicBezTo>
                  <a:pt x="9827179" y="498715"/>
                  <a:pt x="9818753" y="526453"/>
                  <a:pt x="9817085" y="531544"/>
                </a:cubicBezTo>
                <a:cubicBezTo>
                  <a:pt x="9815154" y="537953"/>
                  <a:pt x="9813925" y="543131"/>
                  <a:pt x="9813574" y="547082"/>
                </a:cubicBezTo>
                <a:cubicBezTo>
                  <a:pt x="9813223" y="550593"/>
                  <a:pt x="9814277" y="553402"/>
                  <a:pt x="9816646" y="555245"/>
                </a:cubicBezTo>
                <a:cubicBezTo>
                  <a:pt x="9818753" y="556825"/>
                  <a:pt x="9821650" y="557703"/>
                  <a:pt x="9825336" y="557703"/>
                </a:cubicBezTo>
                <a:cubicBezTo>
                  <a:pt x="9828409" y="557703"/>
                  <a:pt x="9832710" y="556913"/>
                  <a:pt x="9838240" y="555509"/>
                </a:cubicBezTo>
                <a:lnTo>
                  <a:pt x="9841400" y="544624"/>
                </a:lnTo>
                <a:cubicBezTo>
                  <a:pt x="9839293" y="546029"/>
                  <a:pt x="9837450" y="546642"/>
                  <a:pt x="9835870" y="546642"/>
                </a:cubicBezTo>
                <a:cubicBezTo>
                  <a:pt x="9833237" y="546642"/>
                  <a:pt x="9832095" y="545063"/>
                  <a:pt x="9832446" y="541815"/>
                </a:cubicBezTo>
                <a:cubicBezTo>
                  <a:pt x="9832710" y="538392"/>
                  <a:pt x="9833675" y="534178"/>
                  <a:pt x="9835255" y="528999"/>
                </a:cubicBezTo>
                <a:cubicBezTo>
                  <a:pt x="9836572" y="524873"/>
                  <a:pt x="9837889" y="520659"/>
                  <a:pt x="9839293" y="516535"/>
                </a:cubicBezTo>
                <a:lnTo>
                  <a:pt x="9847632" y="516535"/>
                </a:lnTo>
                <a:lnTo>
                  <a:pt x="9850529" y="506615"/>
                </a:lnTo>
                <a:lnTo>
                  <a:pt x="9850441" y="506615"/>
                </a:lnTo>
                <a:lnTo>
                  <a:pt x="9842102" y="506615"/>
                </a:lnTo>
                <a:close/>
                <a:moveTo>
                  <a:pt x="9272763" y="485371"/>
                </a:moveTo>
                <a:cubicBezTo>
                  <a:pt x="9272763" y="485371"/>
                  <a:pt x="9252134" y="556648"/>
                  <a:pt x="9252134" y="556648"/>
                </a:cubicBezTo>
                <a:lnTo>
                  <a:pt x="9269426" y="556648"/>
                </a:lnTo>
                <a:lnTo>
                  <a:pt x="9273991" y="541023"/>
                </a:lnTo>
                <a:cubicBezTo>
                  <a:pt x="9274518" y="539267"/>
                  <a:pt x="9277064" y="535669"/>
                  <a:pt x="9281716" y="530402"/>
                </a:cubicBezTo>
                <a:cubicBezTo>
                  <a:pt x="9286369" y="525223"/>
                  <a:pt x="9289967" y="521711"/>
                  <a:pt x="9291372" y="521185"/>
                </a:cubicBezTo>
                <a:cubicBezTo>
                  <a:pt x="9292776" y="520659"/>
                  <a:pt x="9292162" y="522590"/>
                  <a:pt x="9292162" y="522590"/>
                </a:cubicBezTo>
                <a:cubicBezTo>
                  <a:pt x="9291021" y="527856"/>
                  <a:pt x="9282418" y="556561"/>
                  <a:pt x="9282418" y="556561"/>
                </a:cubicBezTo>
                <a:lnTo>
                  <a:pt x="9282594" y="556561"/>
                </a:lnTo>
                <a:lnTo>
                  <a:pt x="9299711" y="556561"/>
                </a:lnTo>
                <a:lnTo>
                  <a:pt x="9310508" y="518640"/>
                </a:lnTo>
                <a:cubicBezTo>
                  <a:pt x="9312176" y="512583"/>
                  <a:pt x="9310420" y="509862"/>
                  <a:pt x="9309367" y="508457"/>
                </a:cubicBezTo>
                <a:cubicBezTo>
                  <a:pt x="9307699" y="506526"/>
                  <a:pt x="9305417" y="505561"/>
                  <a:pt x="9302520" y="505561"/>
                </a:cubicBezTo>
                <a:cubicBezTo>
                  <a:pt x="9297956" y="505561"/>
                  <a:pt x="9293128" y="508106"/>
                  <a:pt x="9287948" y="513461"/>
                </a:cubicBezTo>
                <a:cubicBezTo>
                  <a:pt x="9283998" y="517499"/>
                  <a:pt x="9280575" y="522326"/>
                  <a:pt x="9277678" y="527769"/>
                </a:cubicBezTo>
                <a:lnTo>
                  <a:pt x="9276537" y="527769"/>
                </a:lnTo>
                <a:cubicBezTo>
                  <a:pt x="9281541" y="513812"/>
                  <a:pt x="9286018" y="499591"/>
                  <a:pt x="9289880" y="485371"/>
                </a:cubicBezTo>
                <a:close/>
                <a:moveTo>
                  <a:pt x="9870192" y="485195"/>
                </a:moveTo>
                <a:cubicBezTo>
                  <a:pt x="9870192" y="485195"/>
                  <a:pt x="9849563" y="556472"/>
                  <a:pt x="9849563" y="556472"/>
                </a:cubicBezTo>
                <a:lnTo>
                  <a:pt x="9866944" y="556472"/>
                </a:lnTo>
                <a:lnTo>
                  <a:pt x="9871420" y="540936"/>
                </a:lnTo>
                <a:cubicBezTo>
                  <a:pt x="9871947" y="539180"/>
                  <a:pt x="9874493" y="535669"/>
                  <a:pt x="9879057" y="530314"/>
                </a:cubicBezTo>
                <a:cubicBezTo>
                  <a:pt x="9883798" y="525135"/>
                  <a:pt x="9887309" y="521624"/>
                  <a:pt x="9888801" y="521097"/>
                </a:cubicBezTo>
                <a:cubicBezTo>
                  <a:pt x="9890206" y="520571"/>
                  <a:pt x="9889591" y="522501"/>
                  <a:pt x="9889591" y="522501"/>
                </a:cubicBezTo>
                <a:cubicBezTo>
                  <a:pt x="9888800" y="526518"/>
                  <a:pt x="9883715" y="543668"/>
                  <a:pt x="9881221" y="551991"/>
                </a:cubicBezTo>
                <a:lnTo>
                  <a:pt x="9879873" y="556472"/>
                </a:lnTo>
                <a:lnTo>
                  <a:pt x="9879847" y="556472"/>
                </a:lnTo>
                <a:lnTo>
                  <a:pt x="9879847" y="556560"/>
                </a:lnTo>
                <a:lnTo>
                  <a:pt x="9879873" y="556472"/>
                </a:lnTo>
                <a:lnTo>
                  <a:pt x="9897052" y="556472"/>
                </a:lnTo>
                <a:lnTo>
                  <a:pt x="9907849" y="518552"/>
                </a:lnTo>
                <a:cubicBezTo>
                  <a:pt x="9909517" y="512583"/>
                  <a:pt x="9907849" y="509861"/>
                  <a:pt x="9906796" y="508369"/>
                </a:cubicBezTo>
                <a:cubicBezTo>
                  <a:pt x="9905215" y="506438"/>
                  <a:pt x="9902933" y="505473"/>
                  <a:pt x="9899949" y="505473"/>
                </a:cubicBezTo>
                <a:cubicBezTo>
                  <a:pt x="9895385" y="505473"/>
                  <a:pt x="9890557" y="508018"/>
                  <a:pt x="9885377" y="513285"/>
                </a:cubicBezTo>
                <a:cubicBezTo>
                  <a:pt x="9881340" y="517235"/>
                  <a:pt x="9877916" y="522063"/>
                  <a:pt x="9875107" y="527593"/>
                </a:cubicBezTo>
                <a:lnTo>
                  <a:pt x="9873965" y="527593"/>
                </a:lnTo>
                <a:cubicBezTo>
                  <a:pt x="9878970" y="513548"/>
                  <a:pt x="9883447" y="499416"/>
                  <a:pt x="9887309" y="485195"/>
                </a:cubicBezTo>
                <a:close/>
                <a:moveTo>
                  <a:pt x="9672600" y="484231"/>
                </a:moveTo>
                <a:cubicBezTo>
                  <a:pt x="9665841" y="484231"/>
                  <a:pt x="9659696" y="486338"/>
                  <a:pt x="9654516" y="490288"/>
                </a:cubicBezTo>
                <a:cubicBezTo>
                  <a:pt x="9649513" y="494238"/>
                  <a:pt x="9645827" y="499681"/>
                  <a:pt x="9643457" y="506528"/>
                </a:cubicBezTo>
                <a:cubicBezTo>
                  <a:pt x="9643457" y="506528"/>
                  <a:pt x="9625637" y="567885"/>
                  <a:pt x="9625637" y="567885"/>
                </a:cubicBezTo>
                <a:lnTo>
                  <a:pt x="9643018" y="567885"/>
                </a:lnTo>
                <a:cubicBezTo>
                  <a:pt x="9643018" y="567885"/>
                  <a:pt x="9657940" y="516534"/>
                  <a:pt x="9657940" y="516534"/>
                </a:cubicBezTo>
                <a:lnTo>
                  <a:pt x="9670493" y="516534"/>
                </a:lnTo>
                <a:cubicBezTo>
                  <a:pt x="9670493" y="516534"/>
                  <a:pt x="9673477" y="506528"/>
                  <a:pt x="9673477" y="506528"/>
                </a:cubicBezTo>
                <a:lnTo>
                  <a:pt x="9660662" y="506528"/>
                </a:lnTo>
                <a:cubicBezTo>
                  <a:pt x="9661890" y="502138"/>
                  <a:pt x="9662856" y="499330"/>
                  <a:pt x="9663558" y="498013"/>
                </a:cubicBezTo>
                <a:cubicBezTo>
                  <a:pt x="9665226" y="495555"/>
                  <a:pt x="9667596" y="494238"/>
                  <a:pt x="9670932" y="494238"/>
                </a:cubicBezTo>
                <a:cubicBezTo>
                  <a:pt x="9674268" y="494238"/>
                  <a:pt x="9677954" y="495204"/>
                  <a:pt x="9681816" y="497135"/>
                </a:cubicBezTo>
                <a:lnTo>
                  <a:pt x="9684801" y="486514"/>
                </a:lnTo>
                <a:lnTo>
                  <a:pt x="9684889" y="486426"/>
                </a:lnTo>
                <a:cubicBezTo>
                  <a:pt x="9681114" y="484934"/>
                  <a:pt x="9677077" y="484231"/>
                  <a:pt x="9672600" y="484231"/>
                </a:cubicBezTo>
                <a:close/>
                <a:moveTo>
                  <a:pt x="10048912" y="483617"/>
                </a:moveTo>
                <a:cubicBezTo>
                  <a:pt x="10054091" y="483617"/>
                  <a:pt x="10060937" y="484231"/>
                  <a:pt x="10060323" y="490727"/>
                </a:cubicBezTo>
                <a:cubicBezTo>
                  <a:pt x="10059182" y="502752"/>
                  <a:pt x="10047507" y="507054"/>
                  <a:pt x="10043030" y="507054"/>
                </a:cubicBezTo>
                <a:lnTo>
                  <a:pt x="10035920" y="507054"/>
                </a:lnTo>
                <a:cubicBezTo>
                  <a:pt x="10035920" y="507054"/>
                  <a:pt x="10042855" y="484494"/>
                  <a:pt x="10042855" y="484494"/>
                </a:cubicBezTo>
                <a:cubicBezTo>
                  <a:pt x="10044611" y="483968"/>
                  <a:pt x="10046892" y="483617"/>
                  <a:pt x="10048912" y="483617"/>
                </a:cubicBezTo>
                <a:close/>
                <a:moveTo>
                  <a:pt x="10024421" y="472468"/>
                </a:moveTo>
                <a:cubicBezTo>
                  <a:pt x="10024421" y="472468"/>
                  <a:pt x="9999404" y="557351"/>
                  <a:pt x="9999404" y="557351"/>
                </a:cubicBezTo>
                <a:lnTo>
                  <a:pt x="9999579" y="557351"/>
                </a:lnTo>
                <a:lnTo>
                  <a:pt x="10041362" y="557351"/>
                </a:lnTo>
                <a:cubicBezTo>
                  <a:pt x="10050931" y="557351"/>
                  <a:pt x="10070593" y="551470"/>
                  <a:pt x="10072261" y="533299"/>
                </a:cubicBezTo>
                <a:cubicBezTo>
                  <a:pt x="10073314" y="522152"/>
                  <a:pt x="10064010" y="516271"/>
                  <a:pt x="10054442" y="513637"/>
                </a:cubicBezTo>
                <a:lnTo>
                  <a:pt x="10054442" y="513374"/>
                </a:lnTo>
                <a:cubicBezTo>
                  <a:pt x="10066380" y="510477"/>
                  <a:pt x="10079722" y="501524"/>
                  <a:pt x="10080951" y="488707"/>
                </a:cubicBezTo>
                <a:cubicBezTo>
                  <a:pt x="10082531" y="472293"/>
                  <a:pt x="10063746" y="472468"/>
                  <a:pt x="10051545" y="472468"/>
                </a:cubicBezTo>
                <a:close/>
                <a:moveTo>
                  <a:pt x="9236422" y="472205"/>
                </a:moveTo>
                <a:cubicBezTo>
                  <a:pt x="9196131" y="472205"/>
                  <a:pt x="9171465" y="505385"/>
                  <a:pt x="9169270" y="529174"/>
                </a:cubicBezTo>
                <a:lnTo>
                  <a:pt x="9169358" y="529174"/>
                </a:lnTo>
                <a:cubicBezTo>
                  <a:pt x="9167339" y="549275"/>
                  <a:pt x="9179892" y="561126"/>
                  <a:pt x="9202802" y="561126"/>
                </a:cubicBezTo>
                <a:cubicBezTo>
                  <a:pt x="9215442" y="561126"/>
                  <a:pt x="9227820" y="559019"/>
                  <a:pt x="9239143" y="556561"/>
                </a:cubicBezTo>
                <a:cubicBezTo>
                  <a:pt x="9239582" y="555156"/>
                  <a:pt x="9242040" y="547257"/>
                  <a:pt x="9243006" y="544009"/>
                </a:cubicBezTo>
                <a:cubicBezTo>
                  <a:pt x="9242040" y="544184"/>
                  <a:pt x="9241074" y="544535"/>
                  <a:pt x="9241074" y="544535"/>
                </a:cubicBezTo>
                <a:cubicBezTo>
                  <a:pt x="9232208" y="546906"/>
                  <a:pt x="9222290" y="549715"/>
                  <a:pt x="9213863" y="549715"/>
                </a:cubicBezTo>
                <a:cubicBezTo>
                  <a:pt x="9199993" y="549715"/>
                  <a:pt x="9191479" y="540322"/>
                  <a:pt x="9192883" y="526365"/>
                </a:cubicBezTo>
                <a:cubicBezTo>
                  <a:pt x="9194902" y="505737"/>
                  <a:pt x="9211580" y="483528"/>
                  <a:pt x="9233262" y="483528"/>
                </a:cubicBezTo>
                <a:cubicBezTo>
                  <a:pt x="9241425" y="483528"/>
                  <a:pt x="9250028" y="485460"/>
                  <a:pt x="9258894" y="488971"/>
                </a:cubicBezTo>
                <a:cubicBezTo>
                  <a:pt x="9259596" y="486777"/>
                  <a:pt x="9262230" y="477999"/>
                  <a:pt x="9262932" y="475452"/>
                </a:cubicBezTo>
                <a:cubicBezTo>
                  <a:pt x="9254065" y="473345"/>
                  <a:pt x="9245112" y="472205"/>
                  <a:pt x="9236422" y="472205"/>
                </a:cubicBezTo>
                <a:close/>
                <a:moveTo>
                  <a:pt x="11002023" y="395487"/>
                </a:moveTo>
                <a:cubicBezTo>
                  <a:pt x="11004129" y="395487"/>
                  <a:pt x="11006149" y="395663"/>
                  <a:pt x="11007817" y="395751"/>
                </a:cubicBezTo>
                <a:cubicBezTo>
                  <a:pt x="11007817" y="409093"/>
                  <a:pt x="11000706" y="415589"/>
                  <a:pt x="10991138" y="415589"/>
                </a:cubicBezTo>
                <a:cubicBezTo>
                  <a:pt x="10984467" y="415589"/>
                  <a:pt x="10980253" y="412604"/>
                  <a:pt x="10980253" y="406372"/>
                </a:cubicBezTo>
                <a:cubicBezTo>
                  <a:pt x="10980253" y="398560"/>
                  <a:pt x="10988066" y="395487"/>
                  <a:pt x="11002023" y="395487"/>
                </a:cubicBezTo>
                <a:close/>
                <a:moveTo>
                  <a:pt x="11262026" y="370909"/>
                </a:moveTo>
                <a:cubicBezTo>
                  <a:pt x="11272208" y="370909"/>
                  <a:pt x="11279143" y="379687"/>
                  <a:pt x="11279143" y="391537"/>
                </a:cubicBezTo>
                <a:cubicBezTo>
                  <a:pt x="11279143" y="403388"/>
                  <a:pt x="11272032" y="411902"/>
                  <a:pt x="11262289" y="411902"/>
                </a:cubicBezTo>
                <a:cubicBezTo>
                  <a:pt x="11252633" y="411902"/>
                  <a:pt x="11246138" y="403300"/>
                  <a:pt x="11246138" y="391537"/>
                </a:cubicBezTo>
                <a:cubicBezTo>
                  <a:pt x="11246138" y="379776"/>
                  <a:pt x="11252633" y="370909"/>
                  <a:pt x="11262026" y="370909"/>
                </a:cubicBezTo>
                <a:close/>
                <a:moveTo>
                  <a:pt x="11964702" y="370821"/>
                </a:moveTo>
                <a:cubicBezTo>
                  <a:pt x="11975235" y="370821"/>
                  <a:pt x="11981995" y="380038"/>
                  <a:pt x="11981995" y="392502"/>
                </a:cubicBezTo>
                <a:cubicBezTo>
                  <a:pt x="11981995" y="404967"/>
                  <a:pt x="11975060" y="414009"/>
                  <a:pt x="11965141" y="414009"/>
                </a:cubicBezTo>
                <a:cubicBezTo>
                  <a:pt x="11955221" y="414009"/>
                  <a:pt x="11948814" y="404967"/>
                  <a:pt x="11948814" y="392239"/>
                </a:cubicBezTo>
                <a:cubicBezTo>
                  <a:pt x="11948814" y="379599"/>
                  <a:pt x="11955046" y="370821"/>
                  <a:pt x="11964702" y="370821"/>
                </a:cubicBezTo>
                <a:close/>
                <a:moveTo>
                  <a:pt x="10776077" y="369681"/>
                </a:moveTo>
                <a:cubicBezTo>
                  <a:pt x="10786698" y="369681"/>
                  <a:pt x="10793458" y="378634"/>
                  <a:pt x="10793458" y="392328"/>
                </a:cubicBezTo>
                <a:cubicBezTo>
                  <a:pt x="10793458" y="406022"/>
                  <a:pt x="10786435" y="414800"/>
                  <a:pt x="10776077" y="414800"/>
                </a:cubicBezTo>
                <a:cubicBezTo>
                  <a:pt x="10765720" y="414800"/>
                  <a:pt x="10758785" y="405934"/>
                  <a:pt x="10758785" y="392328"/>
                </a:cubicBezTo>
                <a:cubicBezTo>
                  <a:pt x="10758785" y="378634"/>
                  <a:pt x="10765456" y="369681"/>
                  <a:pt x="10776077" y="369681"/>
                </a:cubicBezTo>
                <a:close/>
                <a:moveTo>
                  <a:pt x="11783700" y="369680"/>
                </a:moveTo>
                <a:cubicBezTo>
                  <a:pt x="11794321" y="369680"/>
                  <a:pt x="11801081" y="378633"/>
                  <a:pt x="11801081" y="392327"/>
                </a:cubicBezTo>
                <a:cubicBezTo>
                  <a:pt x="11801081" y="406021"/>
                  <a:pt x="11794058" y="414798"/>
                  <a:pt x="11783700" y="414798"/>
                </a:cubicBezTo>
                <a:cubicBezTo>
                  <a:pt x="11773343" y="414798"/>
                  <a:pt x="11766408" y="405933"/>
                  <a:pt x="11766408" y="392327"/>
                </a:cubicBezTo>
                <a:cubicBezTo>
                  <a:pt x="11766408" y="378633"/>
                  <a:pt x="11773079" y="369680"/>
                  <a:pt x="11783700" y="369680"/>
                </a:cubicBezTo>
                <a:close/>
                <a:moveTo>
                  <a:pt x="11525453" y="368978"/>
                </a:moveTo>
                <a:cubicBezTo>
                  <a:pt x="11534231" y="368978"/>
                  <a:pt x="11539761" y="373806"/>
                  <a:pt x="11539761" y="384690"/>
                </a:cubicBezTo>
                <a:lnTo>
                  <a:pt x="11509478" y="384690"/>
                </a:lnTo>
                <a:cubicBezTo>
                  <a:pt x="11510618" y="374332"/>
                  <a:pt x="11517377" y="368978"/>
                  <a:pt x="11525453" y="368978"/>
                </a:cubicBezTo>
                <a:close/>
                <a:moveTo>
                  <a:pt x="10599377" y="355813"/>
                </a:moveTo>
                <a:lnTo>
                  <a:pt x="10599377" y="402863"/>
                </a:lnTo>
                <a:cubicBezTo>
                  <a:pt x="10599377" y="419716"/>
                  <a:pt x="10609736" y="430865"/>
                  <a:pt x="10625447" y="430865"/>
                </a:cubicBezTo>
                <a:cubicBezTo>
                  <a:pt x="10637737" y="430865"/>
                  <a:pt x="10646691" y="425071"/>
                  <a:pt x="10651782" y="416556"/>
                </a:cubicBezTo>
                <a:lnTo>
                  <a:pt x="10651958" y="416644"/>
                </a:lnTo>
                <a:lnTo>
                  <a:pt x="10652221" y="416644"/>
                </a:lnTo>
                <a:cubicBezTo>
                  <a:pt x="10652221" y="421472"/>
                  <a:pt x="10652484" y="426124"/>
                  <a:pt x="10652747" y="429109"/>
                </a:cubicBezTo>
                <a:lnTo>
                  <a:pt x="10673376" y="429109"/>
                </a:lnTo>
                <a:cubicBezTo>
                  <a:pt x="10672674" y="422964"/>
                  <a:pt x="10672674" y="415064"/>
                  <a:pt x="10672674" y="407427"/>
                </a:cubicBezTo>
                <a:lnTo>
                  <a:pt x="10672674" y="355900"/>
                </a:lnTo>
                <a:lnTo>
                  <a:pt x="10650290" y="355900"/>
                </a:lnTo>
                <a:lnTo>
                  <a:pt x="10650290" y="391539"/>
                </a:lnTo>
                <a:cubicBezTo>
                  <a:pt x="10650290" y="403565"/>
                  <a:pt x="10643706" y="412606"/>
                  <a:pt x="10634138" y="412606"/>
                </a:cubicBezTo>
                <a:cubicBezTo>
                  <a:pt x="10624570" y="412606"/>
                  <a:pt x="10621498" y="406023"/>
                  <a:pt x="10621498" y="394874"/>
                </a:cubicBezTo>
                <a:lnTo>
                  <a:pt x="10621498" y="355813"/>
                </a:lnTo>
                <a:close/>
                <a:moveTo>
                  <a:pt x="11098580" y="355812"/>
                </a:moveTo>
                <a:lnTo>
                  <a:pt x="11098580" y="429020"/>
                </a:lnTo>
                <a:lnTo>
                  <a:pt x="11120964" y="429020"/>
                </a:lnTo>
                <a:lnTo>
                  <a:pt x="11120964" y="355812"/>
                </a:lnTo>
                <a:close/>
                <a:moveTo>
                  <a:pt x="10873777" y="354056"/>
                </a:moveTo>
                <a:cubicBezTo>
                  <a:pt x="10863595" y="354056"/>
                  <a:pt x="10854554" y="359323"/>
                  <a:pt x="10849286" y="368540"/>
                </a:cubicBezTo>
                <a:lnTo>
                  <a:pt x="10849024" y="368540"/>
                </a:lnTo>
                <a:cubicBezTo>
                  <a:pt x="10849024" y="364678"/>
                  <a:pt x="10848848" y="358885"/>
                  <a:pt x="10848584" y="355900"/>
                </a:cubicBezTo>
                <a:lnTo>
                  <a:pt x="10828044" y="355900"/>
                </a:lnTo>
                <a:cubicBezTo>
                  <a:pt x="10828570" y="364678"/>
                  <a:pt x="10828746" y="372578"/>
                  <a:pt x="10828746" y="379073"/>
                </a:cubicBezTo>
                <a:lnTo>
                  <a:pt x="10828746" y="429020"/>
                </a:lnTo>
                <a:lnTo>
                  <a:pt x="10850954" y="429020"/>
                </a:lnTo>
                <a:lnTo>
                  <a:pt x="10850954" y="394874"/>
                </a:lnTo>
                <a:cubicBezTo>
                  <a:pt x="10850954" y="382233"/>
                  <a:pt x="10855606" y="371787"/>
                  <a:pt x="10865790" y="371787"/>
                </a:cubicBezTo>
                <a:cubicBezTo>
                  <a:pt x="10874918" y="371787"/>
                  <a:pt x="10876937" y="380565"/>
                  <a:pt x="10876937" y="393206"/>
                </a:cubicBezTo>
                <a:lnTo>
                  <a:pt x="10876937" y="429020"/>
                </a:lnTo>
                <a:lnTo>
                  <a:pt x="10877113" y="429020"/>
                </a:lnTo>
                <a:lnTo>
                  <a:pt x="10899321" y="429020"/>
                </a:lnTo>
                <a:lnTo>
                  <a:pt x="10899321" y="395225"/>
                </a:lnTo>
                <a:cubicBezTo>
                  <a:pt x="10899321" y="382672"/>
                  <a:pt x="10903359" y="371876"/>
                  <a:pt x="10914156" y="371876"/>
                </a:cubicBezTo>
                <a:cubicBezTo>
                  <a:pt x="10921880" y="371876"/>
                  <a:pt x="10925304" y="378284"/>
                  <a:pt x="10925304" y="391450"/>
                </a:cubicBezTo>
                <a:lnTo>
                  <a:pt x="10925304" y="429108"/>
                </a:lnTo>
                <a:lnTo>
                  <a:pt x="10947512" y="429108"/>
                </a:lnTo>
                <a:lnTo>
                  <a:pt x="10947512" y="385745"/>
                </a:lnTo>
                <a:cubicBezTo>
                  <a:pt x="10947512" y="366697"/>
                  <a:pt x="10939876" y="354056"/>
                  <a:pt x="10922320" y="354056"/>
                </a:cubicBezTo>
                <a:cubicBezTo>
                  <a:pt x="10911698" y="354056"/>
                  <a:pt x="10901779" y="359236"/>
                  <a:pt x="10896425" y="368891"/>
                </a:cubicBezTo>
                <a:cubicBezTo>
                  <a:pt x="10892913" y="359147"/>
                  <a:pt x="10884838" y="354056"/>
                  <a:pt x="10873777" y="354056"/>
                </a:cubicBezTo>
                <a:close/>
                <a:moveTo>
                  <a:pt x="10776517" y="353969"/>
                </a:moveTo>
                <a:cubicBezTo>
                  <a:pt x="10751586" y="353969"/>
                  <a:pt x="10735611" y="369593"/>
                  <a:pt x="10735611" y="392592"/>
                </a:cubicBezTo>
                <a:cubicBezTo>
                  <a:pt x="10735611" y="415590"/>
                  <a:pt x="10751850" y="430863"/>
                  <a:pt x="10776077" y="430863"/>
                </a:cubicBezTo>
                <a:cubicBezTo>
                  <a:pt x="10800304" y="430863"/>
                  <a:pt x="10816544" y="415678"/>
                  <a:pt x="10816544" y="392592"/>
                </a:cubicBezTo>
                <a:cubicBezTo>
                  <a:pt x="10816544" y="369154"/>
                  <a:pt x="10801446" y="353969"/>
                  <a:pt x="10776517" y="353969"/>
                </a:cubicBezTo>
                <a:close/>
                <a:moveTo>
                  <a:pt x="11874991" y="353968"/>
                </a:moveTo>
                <a:cubicBezTo>
                  <a:pt x="11835667" y="353968"/>
                  <a:pt x="11834789" y="369066"/>
                  <a:pt x="11834789" y="381794"/>
                </a:cubicBezTo>
                <a:lnTo>
                  <a:pt x="11834789" y="429020"/>
                </a:lnTo>
                <a:lnTo>
                  <a:pt x="11856295" y="429020"/>
                </a:lnTo>
                <a:lnTo>
                  <a:pt x="11856295" y="391976"/>
                </a:lnTo>
                <a:cubicBezTo>
                  <a:pt x="11856295" y="378546"/>
                  <a:pt x="11856031" y="372050"/>
                  <a:pt x="11874027" y="372050"/>
                </a:cubicBezTo>
                <a:lnTo>
                  <a:pt x="11881136" y="372050"/>
                </a:lnTo>
                <a:lnTo>
                  <a:pt x="11881136" y="353968"/>
                </a:lnTo>
                <a:close/>
                <a:moveTo>
                  <a:pt x="11256408" y="353968"/>
                </a:moveTo>
                <a:cubicBezTo>
                  <a:pt x="11236833" y="353968"/>
                  <a:pt x="11223403" y="369505"/>
                  <a:pt x="11223403" y="392064"/>
                </a:cubicBezTo>
                <a:cubicBezTo>
                  <a:pt x="11223403" y="414624"/>
                  <a:pt x="11236131" y="428843"/>
                  <a:pt x="11255531" y="428843"/>
                </a:cubicBezTo>
                <a:cubicBezTo>
                  <a:pt x="11266590" y="428843"/>
                  <a:pt x="11274490" y="423577"/>
                  <a:pt x="11279494" y="415677"/>
                </a:cubicBezTo>
                <a:lnTo>
                  <a:pt x="11279757" y="415677"/>
                </a:lnTo>
                <a:cubicBezTo>
                  <a:pt x="11279494" y="418397"/>
                  <a:pt x="11279494" y="420768"/>
                  <a:pt x="11279494" y="422787"/>
                </a:cubicBezTo>
                <a:cubicBezTo>
                  <a:pt x="11279494" y="438675"/>
                  <a:pt x="11270453" y="444293"/>
                  <a:pt x="11257725" y="444293"/>
                </a:cubicBezTo>
                <a:cubicBezTo>
                  <a:pt x="11249473" y="444293"/>
                  <a:pt x="11240695" y="442186"/>
                  <a:pt x="11231655" y="437534"/>
                </a:cubicBezTo>
                <a:lnTo>
                  <a:pt x="11231655" y="456143"/>
                </a:lnTo>
                <a:cubicBezTo>
                  <a:pt x="11240695" y="459127"/>
                  <a:pt x="11250351" y="460444"/>
                  <a:pt x="11259656" y="460444"/>
                </a:cubicBezTo>
                <a:cubicBezTo>
                  <a:pt x="11286253" y="460444"/>
                  <a:pt x="11301000" y="447101"/>
                  <a:pt x="11301000" y="422523"/>
                </a:cubicBezTo>
                <a:lnTo>
                  <a:pt x="11301000" y="355811"/>
                </a:lnTo>
                <a:lnTo>
                  <a:pt x="11280372" y="355811"/>
                </a:lnTo>
                <a:cubicBezTo>
                  <a:pt x="11280372" y="359498"/>
                  <a:pt x="11280372" y="362570"/>
                  <a:pt x="11280635" y="367135"/>
                </a:cubicBezTo>
                <a:lnTo>
                  <a:pt x="11280372" y="367135"/>
                </a:lnTo>
                <a:cubicBezTo>
                  <a:pt x="11275281" y="358620"/>
                  <a:pt x="11267907" y="353968"/>
                  <a:pt x="11256408" y="353968"/>
                </a:cubicBezTo>
                <a:close/>
                <a:moveTo>
                  <a:pt x="11183902" y="353968"/>
                </a:moveTo>
                <a:cubicBezTo>
                  <a:pt x="11173369" y="353968"/>
                  <a:pt x="11164152" y="359762"/>
                  <a:pt x="11158797" y="368276"/>
                </a:cubicBezTo>
                <a:lnTo>
                  <a:pt x="11158709" y="368364"/>
                </a:lnTo>
                <a:lnTo>
                  <a:pt x="11158446" y="368364"/>
                </a:lnTo>
                <a:cubicBezTo>
                  <a:pt x="11158446" y="364502"/>
                  <a:pt x="11158182" y="358971"/>
                  <a:pt x="11157920" y="355900"/>
                </a:cubicBezTo>
                <a:lnTo>
                  <a:pt x="11136940" y="355900"/>
                </a:lnTo>
                <a:cubicBezTo>
                  <a:pt x="11137466" y="364678"/>
                  <a:pt x="11137642" y="372490"/>
                  <a:pt x="11137642" y="379161"/>
                </a:cubicBezTo>
                <a:lnTo>
                  <a:pt x="11137642" y="429107"/>
                </a:lnTo>
                <a:lnTo>
                  <a:pt x="11159763" y="429107"/>
                </a:lnTo>
                <a:lnTo>
                  <a:pt x="11159763" y="396804"/>
                </a:lnTo>
                <a:cubicBezTo>
                  <a:pt x="11159763" y="390484"/>
                  <a:pt x="11160640" y="384603"/>
                  <a:pt x="11162748" y="380390"/>
                </a:cubicBezTo>
                <a:cubicBezTo>
                  <a:pt x="11165468" y="375299"/>
                  <a:pt x="11170120" y="371875"/>
                  <a:pt x="11176616" y="371875"/>
                </a:cubicBezTo>
                <a:cubicBezTo>
                  <a:pt x="11187413" y="371875"/>
                  <a:pt x="11189081" y="380214"/>
                  <a:pt x="11189081" y="394083"/>
                </a:cubicBezTo>
                <a:lnTo>
                  <a:pt x="11189081" y="429020"/>
                </a:lnTo>
                <a:lnTo>
                  <a:pt x="11211201" y="429020"/>
                </a:lnTo>
                <a:lnTo>
                  <a:pt x="11211201" y="385656"/>
                </a:lnTo>
                <a:cubicBezTo>
                  <a:pt x="11211201" y="365819"/>
                  <a:pt x="11202599" y="353968"/>
                  <a:pt x="11183902" y="353968"/>
                </a:cubicBezTo>
                <a:close/>
                <a:moveTo>
                  <a:pt x="10994649" y="353968"/>
                </a:moveTo>
                <a:cubicBezTo>
                  <a:pt x="10986135" y="353968"/>
                  <a:pt x="10975514" y="355548"/>
                  <a:pt x="10967877" y="359060"/>
                </a:cubicBezTo>
                <a:lnTo>
                  <a:pt x="10967877" y="375474"/>
                </a:lnTo>
                <a:cubicBezTo>
                  <a:pt x="10974548" y="371787"/>
                  <a:pt x="10983326" y="369242"/>
                  <a:pt x="10991138" y="369242"/>
                </a:cubicBezTo>
                <a:cubicBezTo>
                  <a:pt x="11001935" y="369242"/>
                  <a:pt x="11007553" y="373455"/>
                  <a:pt x="11007553" y="383725"/>
                </a:cubicBezTo>
                <a:cubicBezTo>
                  <a:pt x="11004042" y="383462"/>
                  <a:pt x="11000004" y="383286"/>
                  <a:pt x="10997107" y="383286"/>
                </a:cubicBezTo>
                <a:cubicBezTo>
                  <a:pt x="10972792" y="383286"/>
                  <a:pt x="10958835" y="391537"/>
                  <a:pt x="10958835" y="407514"/>
                </a:cubicBezTo>
                <a:cubicBezTo>
                  <a:pt x="10958835" y="421557"/>
                  <a:pt x="10969632" y="430424"/>
                  <a:pt x="10984203" y="430424"/>
                </a:cubicBezTo>
                <a:cubicBezTo>
                  <a:pt x="10996054" y="430424"/>
                  <a:pt x="11004481" y="425069"/>
                  <a:pt x="11009221" y="416818"/>
                </a:cubicBezTo>
                <a:lnTo>
                  <a:pt x="11009484" y="416818"/>
                </a:lnTo>
                <a:cubicBezTo>
                  <a:pt x="11009309" y="419363"/>
                  <a:pt x="11009221" y="421646"/>
                  <a:pt x="11009221" y="423225"/>
                </a:cubicBezTo>
                <a:cubicBezTo>
                  <a:pt x="11009221" y="425332"/>
                  <a:pt x="11009396" y="427877"/>
                  <a:pt x="11009660" y="429019"/>
                </a:cubicBezTo>
                <a:lnTo>
                  <a:pt x="11029059" y="429019"/>
                </a:lnTo>
                <a:cubicBezTo>
                  <a:pt x="11028533" y="424367"/>
                  <a:pt x="11028093" y="416028"/>
                  <a:pt x="11028093" y="402861"/>
                </a:cubicBezTo>
                <a:cubicBezTo>
                  <a:pt x="11028093" y="396892"/>
                  <a:pt x="11028357" y="389167"/>
                  <a:pt x="11028357" y="384427"/>
                </a:cubicBezTo>
                <a:cubicBezTo>
                  <a:pt x="11028357" y="365204"/>
                  <a:pt x="11018262" y="353968"/>
                  <a:pt x="10994649" y="353968"/>
                </a:cubicBezTo>
                <a:close/>
                <a:moveTo>
                  <a:pt x="11784140" y="353967"/>
                </a:moveTo>
                <a:cubicBezTo>
                  <a:pt x="11759209" y="353967"/>
                  <a:pt x="11743234" y="369592"/>
                  <a:pt x="11743234" y="392590"/>
                </a:cubicBezTo>
                <a:cubicBezTo>
                  <a:pt x="11743234" y="415589"/>
                  <a:pt x="11759473" y="430862"/>
                  <a:pt x="11783700" y="430862"/>
                </a:cubicBezTo>
                <a:cubicBezTo>
                  <a:pt x="11807927" y="430862"/>
                  <a:pt x="11824167" y="415677"/>
                  <a:pt x="11824167" y="392590"/>
                </a:cubicBezTo>
                <a:cubicBezTo>
                  <a:pt x="11824167" y="369153"/>
                  <a:pt x="11809069" y="353967"/>
                  <a:pt x="11784140" y="353967"/>
                </a:cubicBezTo>
                <a:close/>
                <a:moveTo>
                  <a:pt x="11526068" y="353880"/>
                </a:moveTo>
                <a:cubicBezTo>
                  <a:pt x="11502981" y="353880"/>
                  <a:pt x="11487532" y="369680"/>
                  <a:pt x="11487532" y="392152"/>
                </a:cubicBezTo>
                <a:cubicBezTo>
                  <a:pt x="11487532" y="416642"/>
                  <a:pt x="11504210" y="430774"/>
                  <a:pt x="11529139" y="430774"/>
                </a:cubicBezTo>
                <a:cubicBezTo>
                  <a:pt x="11538883" y="430774"/>
                  <a:pt x="11547837" y="428931"/>
                  <a:pt x="11554069" y="425859"/>
                </a:cubicBezTo>
                <a:lnTo>
                  <a:pt x="11553630" y="409181"/>
                </a:lnTo>
                <a:cubicBezTo>
                  <a:pt x="11546871" y="413043"/>
                  <a:pt x="11539498" y="414887"/>
                  <a:pt x="11531686" y="414887"/>
                </a:cubicBezTo>
                <a:cubicBezTo>
                  <a:pt x="11518343" y="414887"/>
                  <a:pt x="11510091" y="408215"/>
                  <a:pt x="11509565" y="398559"/>
                </a:cubicBezTo>
                <a:lnTo>
                  <a:pt x="11509653" y="398472"/>
                </a:lnTo>
                <a:lnTo>
                  <a:pt x="11559599" y="398472"/>
                </a:lnTo>
                <a:cubicBezTo>
                  <a:pt x="11559688" y="397418"/>
                  <a:pt x="11559863" y="394346"/>
                  <a:pt x="11559863" y="393205"/>
                </a:cubicBezTo>
                <a:cubicBezTo>
                  <a:pt x="11559863" y="366607"/>
                  <a:pt x="11547749" y="353880"/>
                  <a:pt x="11526068" y="353880"/>
                </a:cubicBezTo>
                <a:close/>
                <a:moveTo>
                  <a:pt x="11044508" y="340714"/>
                </a:moveTo>
                <a:lnTo>
                  <a:pt x="11043806" y="402950"/>
                </a:lnTo>
                <a:cubicBezTo>
                  <a:pt x="11043806" y="421823"/>
                  <a:pt x="11051707" y="429986"/>
                  <a:pt x="11069876" y="429986"/>
                </a:cubicBezTo>
                <a:cubicBezTo>
                  <a:pt x="11074178" y="429986"/>
                  <a:pt x="11079006" y="429460"/>
                  <a:pt x="11083044" y="428494"/>
                </a:cubicBezTo>
                <a:lnTo>
                  <a:pt x="11083044" y="412870"/>
                </a:lnTo>
                <a:cubicBezTo>
                  <a:pt x="11080937" y="413483"/>
                  <a:pt x="11078479" y="413747"/>
                  <a:pt x="11076109" y="413747"/>
                </a:cubicBezTo>
                <a:cubicBezTo>
                  <a:pt x="11067067" y="413747"/>
                  <a:pt x="11065488" y="407778"/>
                  <a:pt x="11065488" y="400141"/>
                </a:cubicBezTo>
                <a:lnTo>
                  <a:pt x="11065488" y="371525"/>
                </a:lnTo>
                <a:lnTo>
                  <a:pt x="11083044" y="371525"/>
                </a:lnTo>
                <a:lnTo>
                  <a:pt x="11083044" y="355812"/>
                </a:lnTo>
                <a:lnTo>
                  <a:pt x="11065488" y="355812"/>
                </a:lnTo>
                <a:lnTo>
                  <a:pt x="11065488" y="340714"/>
                </a:lnTo>
                <a:close/>
                <a:moveTo>
                  <a:pt x="10689614" y="340714"/>
                </a:moveTo>
                <a:lnTo>
                  <a:pt x="10688912" y="402950"/>
                </a:lnTo>
                <a:cubicBezTo>
                  <a:pt x="10688912" y="421823"/>
                  <a:pt x="10696813" y="429986"/>
                  <a:pt x="10714982" y="429986"/>
                </a:cubicBezTo>
                <a:cubicBezTo>
                  <a:pt x="10719284" y="429986"/>
                  <a:pt x="10724112" y="429460"/>
                  <a:pt x="10728150" y="428494"/>
                </a:cubicBezTo>
                <a:lnTo>
                  <a:pt x="10728150" y="412870"/>
                </a:lnTo>
                <a:cubicBezTo>
                  <a:pt x="10726043" y="413483"/>
                  <a:pt x="10723585" y="413747"/>
                  <a:pt x="10721215" y="413747"/>
                </a:cubicBezTo>
                <a:cubicBezTo>
                  <a:pt x="10712173" y="413747"/>
                  <a:pt x="10710594" y="407778"/>
                  <a:pt x="10710594" y="400141"/>
                </a:cubicBezTo>
                <a:lnTo>
                  <a:pt x="10710594" y="371525"/>
                </a:lnTo>
                <a:lnTo>
                  <a:pt x="10728150" y="371525"/>
                </a:lnTo>
                <a:lnTo>
                  <a:pt x="10728150" y="355812"/>
                </a:lnTo>
                <a:lnTo>
                  <a:pt x="10710594" y="355812"/>
                </a:lnTo>
                <a:lnTo>
                  <a:pt x="10710594" y="340714"/>
                </a:lnTo>
                <a:close/>
                <a:moveTo>
                  <a:pt x="10535736" y="340714"/>
                </a:moveTo>
                <a:lnTo>
                  <a:pt x="10536000" y="340714"/>
                </a:lnTo>
                <a:cubicBezTo>
                  <a:pt x="10537404" y="346244"/>
                  <a:pt x="10541354" y="360025"/>
                  <a:pt x="10543812" y="367399"/>
                </a:cubicBezTo>
                <a:lnTo>
                  <a:pt x="10550571" y="387149"/>
                </a:lnTo>
                <a:lnTo>
                  <a:pt x="10520375" y="387149"/>
                </a:lnTo>
                <a:lnTo>
                  <a:pt x="10527309" y="367399"/>
                </a:lnTo>
                <a:cubicBezTo>
                  <a:pt x="10529943" y="360201"/>
                  <a:pt x="10534244" y="346419"/>
                  <a:pt x="10535736" y="340714"/>
                </a:cubicBezTo>
                <a:close/>
                <a:moveTo>
                  <a:pt x="11349455" y="340713"/>
                </a:moveTo>
                <a:lnTo>
                  <a:pt x="11348753" y="402949"/>
                </a:lnTo>
                <a:cubicBezTo>
                  <a:pt x="11348753" y="421822"/>
                  <a:pt x="11356653" y="429985"/>
                  <a:pt x="11374823" y="429985"/>
                </a:cubicBezTo>
                <a:cubicBezTo>
                  <a:pt x="11379124" y="429985"/>
                  <a:pt x="11383953" y="429459"/>
                  <a:pt x="11387991" y="428493"/>
                </a:cubicBezTo>
                <a:lnTo>
                  <a:pt x="11387991" y="412869"/>
                </a:lnTo>
                <a:cubicBezTo>
                  <a:pt x="11385884" y="413482"/>
                  <a:pt x="11383426" y="413746"/>
                  <a:pt x="11381056" y="413746"/>
                </a:cubicBezTo>
                <a:cubicBezTo>
                  <a:pt x="11372014" y="413746"/>
                  <a:pt x="11370435" y="407777"/>
                  <a:pt x="11370435" y="400140"/>
                </a:cubicBezTo>
                <a:lnTo>
                  <a:pt x="11370435" y="371524"/>
                </a:lnTo>
                <a:lnTo>
                  <a:pt x="11387991" y="371524"/>
                </a:lnTo>
                <a:lnTo>
                  <a:pt x="11387991" y="355811"/>
                </a:lnTo>
                <a:lnTo>
                  <a:pt x="11370435" y="355811"/>
                </a:lnTo>
                <a:lnTo>
                  <a:pt x="11370435" y="340713"/>
                </a:lnTo>
                <a:close/>
                <a:moveTo>
                  <a:pt x="10028019" y="340533"/>
                </a:moveTo>
                <a:cubicBezTo>
                  <a:pt x="10028019" y="340533"/>
                  <a:pt x="10054441" y="340533"/>
                  <a:pt x="10054441" y="340533"/>
                </a:cubicBezTo>
                <a:cubicBezTo>
                  <a:pt x="10063219" y="340533"/>
                  <a:pt x="10069099" y="346678"/>
                  <a:pt x="10069099" y="355193"/>
                </a:cubicBezTo>
                <a:cubicBezTo>
                  <a:pt x="10069099" y="360987"/>
                  <a:pt x="10063921" y="369676"/>
                  <a:pt x="10055143" y="369676"/>
                </a:cubicBezTo>
                <a:lnTo>
                  <a:pt x="10028107" y="369676"/>
                </a:lnTo>
                <a:lnTo>
                  <a:pt x="10028019" y="369676"/>
                </a:lnTo>
                <a:close/>
                <a:moveTo>
                  <a:pt x="11600505" y="330179"/>
                </a:moveTo>
                <a:lnTo>
                  <a:pt x="11625698" y="429018"/>
                </a:lnTo>
                <a:lnTo>
                  <a:pt x="11655718" y="429018"/>
                </a:lnTo>
                <a:lnTo>
                  <a:pt x="11668446" y="366257"/>
                </a:lnTo>
                <a:cubicBezTo>
                  <a:pt x="11669412" y="361605"/>
                  <a:pt x="11670816" y="352387"/>
                  <a:pt x="11671518" y="346594"/>
                </a:cubicBezTo>
                <a:lnTo>
                  <a:pt x="11671782" y="346594"/>
                </a:lnTo>
                <a:cubicBezTo>
                  <a:pt x="11672484" y="352387"/>
                  <a:pt x="11674240" y="361605"/>
                  <a:pt x="11675206" y="366257"/>
                </a:cubicBezTo>
                <a:lnTo>
                  <a:pt x="11675381" y="366257"/>
                </a:lnTo>
                <a:lnTo>
                  <a:pt x="11689074" y="429018"/>
                </a:lnTo>
                <a:lnTo>
                  <a:pt x="11718919" y="429018"/>
                </a:lnTo>
                <a:lnTo>
                  <a:pt x="11743410" y="330179"/>
                </a:lnTo>
                <a:lnTo>
                  <a:pt x="11720500" y="330179"/>
                </a:lnTo>
                <a:lnTo>
                  <a:pt x="11708913" y="384954"/>
                </a:lnTo>
                <a:cubicBezTo>
                  <a:pt x="11708035" y="388728"/>
                  <a:pt x="11705226" y="404089"/>
                  <a:pt x="11704348" y="410849"/>
                </a:cubicBezTo>
                <a:lnTo>
                  <a:pt x="11704085" y="410849"/>
                </a:lnTo>
                <a:cubicBezTo>
                  <a:pt x="11703031" y="403914"/>
                  <a:pt x="11700222" y="388377"/>
                  <a:pt x="11699520" y="384954"/>
                </a:cubicBezTo>
                <a:lnTo>
                  <a:pt x="11687758" y="330179"/>
                </a:lnTo>
                <a:lnTo>
                  <a:pt x="11656860" y="330179"/>
                </a:lnTo>
                <a:lnTo>
                  <a:pt x="11646063" y="384954"/>
                </a:lnTo>
                <a:cubicBezTo>
                  <a:pt x="11645361" y="388377"/>
                  <a:pt x="11642639" y="403650"/>
                  <a:pt x="11641673" y="410849"/>
                </a:cubicBezTo>
                <a:lnTo>
                  <a:pt x="11641411" y="410849"/>
                </a:lnTo>
                <a:cubicBezTo>
                  <a:pt x="11640532" y="403650"/>
                  <a:pt x="11637548" y="388377"/>
                  <a:pt x="11636845" y="384954"/>
                </a:cubicBezTo>
                <a:lnTo>
                  <a:pt x="11624996" y="330179"/>
                </a:lnTo>
                <a:close/>
                <a:moveTo>
                  <a:pt x="11098580" y="325001"/>
                </a:moveTo>
                <a:lnTo>
                  <a:pt x="11098580" y="343523"/>
                </a:lnTo>
                <a:lnTo>
                  <a:pt x="11120964" y="343523"/>
                </a:lnTo>
                <a:lnTo>
                  <a:pt x="11120964" y="325001"/>
                </a:lnTo>
                <a:close/>
                <a:moveTo>
                  <a:pt x="11402210" y="322104"/>
                </a:moveTo>
                <a:lnTo>
                  <a:pt x="11402210" y="429108"/>
                </a:lnTo>
                <a:lnTo>
                  <a:pt x="11424331" y="429108"/>
                </a:lnTo>
                <a:lnTo>
                  <a:pt x="11424331" y="396805"/>
                </a:lnTo>
                <a:cubicBezTo>
                  <a:pt x="11424331" y="383198"/>
                  <a:pt x="11428193" y="371875"/>
                  <a:pt x="11440921" y="371875"/>
                </a:cubicBezTo>
                <a:cubicBezTo>
                  <a:pt x="11451630" y="371875"/>
                  <a:pt x="11453648" y="380390"/>
                  <a:pt x="11453648" y="394083"/>
                </a:cubicBezTo>
                <a:lnTo>
                  <a:pt x="11453648" y="429019"/>
                </a:lnTo>
                <a:lnTo>
                  <a:pt x="11475770" y="429019"/>
                </a:lnTo>
                <a:lnTo>
                  <a:pt x="11475770" y="385831"/>
                </a:lnTo>
                <a:cubicBezTo>
                  <a:pt x="11475770" y="365818"/>
                  <a:pt x="11466816" y="353968"/>
                  <a:pt x="11448119" y="353968"/>
                </a:cubicBezTo>
                <a:cubicBezTo>
                  <a:pt x="11437673" y="353968"/>
                  <a:pt x="11429422" y="359761"/>
                  <a:pt x="11424067" y="368100"/>
                </a:cubicBezTo>
                <a:lnTo>
                  <a:pt x="11423979" y="368275"/>
                </a:lnTo>
                <a:lnTo>
                  <a:pt x="11423716" y="368275"/>
                </a:lnTo>
                <a:cubicBezTo>
                  <a:pt x="11423979" y="363009"/>
                  <a:pt x="11424155" y="356513"/>
                  <a:pt x="11424155" y="351422"/>
                </a:cubicBezTo>
                <a:lnTo>
                  <a:pt x="11424155" y="322104"/>
                </a:lnTo>
                <a:close/>
                <a:moveTo>
                  <a:pt x="11981117" y="322103"/>
                </a:moveTo>
                <a:lnTo>
                  <a:pt x="11981117" y="345716"/>
                </a:lnTo>
                <a:cubicBezTo>
                  <a:pt x="11981117" y="352827"/>
                  <a:pt x="11981293" y="360726"/>
                  <a:pt x="11981555" y="366959"/>
                </a:cubicBezTo>
                <a:lnTo>
                  <a:pt x="11981293" y="366959"/>
                </a:lnTo>
                <a:cubicBezTo>
                  <a:pt x="11976816" y="358971"/>
                  <a:pt x="11969442" y="354055"/>
                  <a:pt x="11958382" y="354055"/>
                </a:cubicBezTo>
                <a:cubicBezTo>
                  <a:pt x="11939158" y="354055"/>
                  <a:pt x="11925991" y="368715"/>
                  <a:pt x="11925991" y="392151"/>
                </a:cubicBezTo>
                <a:cubicBezTo>
                  <a:pt x="11925991" y="415588"/>
                  <a:pt x="11938631" y="430774"/>
                  <a:pt x="11958294" y="430774"/>
                </a:cubicBezTo>
                <a:cubicBezTo>
                  <a:pt x="11969706" y="430774"/>
                  <a:pt x="11977782" y="425947"/>
                  <a:pt x="11983048" y="416203"/>
                </a:cubicBezTo>
                <a:lnTo>
                  <a:pt x="11983223" y="416203"/>
                </a:lnTo>
                <a:cubicBezTo>
                  <a:pt x="11983223" y="421206"/>
                  <a:pt x="11983311" y="425858"/>
                  <a:pt x="11983487" y="429107"/>
                </a:cubicBezTo>
                <a:lnTo>
                  <a:pt x="12004027" y="429107"/>
                </a:lnTo>
                <a:cubicBezTo>
                  <a:pt x="12003501" y="423051"/>
                  <a:pt x="12003325" y="414974"/>
                  <a:pt x="12003325" y="407338"/>
                </a:cubicBezTo>
                <a:lnTo>
                  <a:pt x="12003325" y="322103"/>
                </a:lnTo>
                <a:close/>
                <a:moveTo>
                  <a:pt x="10521253" y="322017"/>
                </a:moveTo>
                <a:lnTo>
                  <a:pt x="10479821" y="429021"/>
                </a:lnTo>
                <a:lnTo>
                  <a:pt x="10505453" y="429021"/>
                </a:lnTo>
                <a:lnTo>
                  <a:pt x="10514318" y="405232"/>
                </a:lnTo>
                <a:lnTo>
                  <a:pt x="10556628" y="405232"/>
                </a:lnTo>
                <a:lnTo>
                  <a:pt x="10565406" y="429021"/>
                </a:lnTo>
                <a:lnTo>
                  <a:pt x="10592706" y="429021"/>
                </a:lnTo>
                <a:lnTo>
                  <a:pt x="10550659" y="322017"/>
                </a:lnTo>
                <a:close/>
                <a:moveTo>
                  <a:pt x="11892372" y="322015"/>
                </a:moveTo>
                <a:lnTo>
                  <a:pt x="11892372" y="429019"/>
                </a:lnTo>
                <a:lnTo>
                  <a:pt x="11914756" y="429019"/>
                </a:lnTo>
                <a:lnTo>
                  <a:pt x="11914756" y="322015"/>
                </a:lnTo>
                <a:close/>
                <a:moveTo>
                  <a:pt x="9587453" y="322013"/>
                </a:moveTo>
                <a:lnTo>
                  <a:pt x="9587453" y="340534"/>
                </a:lnTo>
                <a:lnTo>
                  <a:pt x="9587453" y="410494"/>
                </a:lnTo>
                <a:lnTo>
                  <a:pt x="9587453" y="429104"/>
                </a:lnTo>
                <a:lnTo>
                  <a:pt x="9609046" y="429104"/>
                </a:lnTo>
                <a:lnTo>
                  <a:pt x="9668210" y="429104"/>
                </a:lnTo>
                <a:lnTo>
                  <a:pt x="9668210" y="410494"/>
                </a:lnTo>
                <a:lnTo>
                  <a:pt x="9609046" y="410494"/>
                </a:lnTo>
                <a:lnTo>
                  <a:pt x="9609046" y="381966"/>
                </a:lnTo>
                <a:lnTo>
                  <a:pt x="9660222" y="381966"/>
                </a:lnTo>
                <a:lnTo>
                  <a:pt x="9660222" y="363445"/>
                </a:lnTo>
                <a:lnTo>
                  <a:pt x="9609046" y="363445"/>
                </a:lnTo>
                <a:lnTo>
                  <a:pt x="9609046" y="340534"/>
                </a:lnTo>
                <a:lnTo>
                  <a:pt x="9666718" y="340534"/>
                </a:lnTo>
                <a:lnTo>
                  <a:pt x="9666718" y="322013"/>
                </a:lnTo>
                <a:lnTo>
                  <a:pt x="9609046" y="322013"/>
                </a:lnTo>
                <a:close/>
                <a:moveTo>
                  <a:pt x="10096663" y="322012"/>
                </a:moveTo>
                <a:lnTo>
                  <a:pt x="10096663" y="429103"/>
                </a:lnTo>
                <a:lnTo>
                  <a:pt x="10118257" y="429103"/>
                </a:lnTo>
                <a:lnTo>
                  <a:pt x="10118257" y="322012"/>
                </a:lnTo>
                <a:close/>
                <a:moveTo>
                  <a:pt x="9926809" y="322012"/>
                </a:moveTo>
                <a:lnTo>
                  <a:pt x="9926809" y="340534"/>
                </a:lnTo>
                <a:lnTo>
                  <a:pt x="9952967" y="340534"/>
                </a:lnTo>
                <a:lnTo>
                  <a:pt x="9952967" y="429103"/>
                </a:lnTo>
                <a:lnTo>
                  <a:pt x="9975000" y="429103"/>
                </a:lnTo>
                <a:lnTo>
                  <a:pt x="9975000" y="340534"/>
                </a:lnTo>
                <a:lnTo>
                  <a:pt x="10001070" y="340534"/>
                </a:lnTo>
                <a:lnTo>
                  <a:pt x="10001070" y="322012"/>
                </a:lnTo>
                <a:lnTo>
                  <a:pt x="9975000" y="322012"/>
                </a:lnTo>
                <a:lnTo>
                  <a:pt x="9952967" y="322012"/>
                </a:lnTo>
                <a:close/>
                <a:moveTo>
                  <a:pt x="9753532" y="322012"/>
                </a:moveTo>
                <a:lnTo>
                  <a:pt x="9753532" y="340533"/>
                </a:lnTo>
                <a:lnTo>
                  <a:pt x="9753532" y="410493"/>
                </a:lnTo>
                <a:lnTo>
                  <a:pt x="9753532" y="429103"/>
                </a:lnTo>
                <a:lnTo>
                  <a:pt x="9775214" y="429103"/>
                </a:lnTo>
                <a:lnTo>
                  <a:pt x="9834377" y="429103"/>
                </a:lnTo>
                <a:lnTo>
                  <a:pt x="9834377" y="410493"/>
                </a:lnTo>
                <a:lnTo>
                  <a:pt x="9775214" y="410493"/>
                </a:lnTo>
                <a:lnTo>
                  <a:pt x="9775214" y="381965"/>
                </a:lnTo>
                <a:lnTo>
                  <a:pt x="9826477" y="381965"/>
                </a:lnTo>
                <a:lnTo>
                  <a:pt x="9826477" y="363444"/>
                </a:lnTo>
                <a:lnTo>
                  <a:pt x="9775214" y="363444"/>
                </a:lnTo>
                <a:lnTo>
                  <a:pt x="9775214" y="340533"/>
                </a:lnTo>
                <a:lnTo>
                  <a:pt x="9832885" y="340533"/>
                </a:lnTo>
                <a:lnTo>
                  <a:pt x="9832885" y="322012"/>
                </a:lnTo>
                <a:lnTo>
                  <a:pt x="9775214" y="322012"/>
                </a:lnTo>
                <a:close/>
                <a:moveTo>
                  <a:pt x="9675232" y="322011"/>
                </a:moveTo>
                <a:lnTo>
                  <a:pt x="9675232" y="410493"/>
                </a:lnTo>
                <a:lnTo>
                  <a:pt x="9675232" y="429102"/>
                </a:lnTo>
                <a:lnTo>
                  <a:pt x="9696825" y="429102"/>
                </a:lnTo>
                <a:lnTo>
                  <a:pt x="9747387" y="429102"/>
                </a:lnTo>
                <a:lnTo>
                  <a:pt x="9747387" y="410493"/>
                </a:lnTo>
                <a:lnTo>
                  <a:pt x="9696825" y="410493"/>
                </a:lnTo>
                <a:lnTo>
                  <a:pt x="9696825" y="322011"/>
                </a:lnTo>
                <a:close/>
                <a:moveTo>
                  <a:pt x="10006425" y="321837"/>
                </a:moveTo>
                <a:lnTo>
                  <a:pt x="10006425" y="429015"/>
                </a:lnTo>
                <a:lnTo>
                  <a:pt x="10028019" y="429015"/>
                </a:lnTo>
                <a:lnTo>
                  <a:pt x="10028019" y="386881"/>
                </a:lnTo>
                <a:cubicBezTo>
                  <a:pt x="10028019" y="386881"/>
                  <a:pt x="10046716" y="386881"/>
                  <a:pt x="10046716" y="386881"/>
                </a:cubicBezTo>
                <a:cubicBezTo>
                  <a:pt x="10057776" y="386881"/>
                  <a:pt x="10063834" y="392587"/>
                  <a:pt x="10065677" y="400223"/>
                </a:cubicBezTo>
                <a:cubicBezTo>
                  <a:pt x="10067696" y="408650"/>
                  <a:pt x="10067169" y="421203"/>
                  <a:pt x="10069363" y="429104"/>
                </a:cubicBezTo>
                <a:lnTo>
                  <a:pt x="10091045" y="429104"/>
                </a:lnTo>
                <a:cubicBezTo>
                  <a:pt x="10088938" y="420852"/>
                  <a:pt x="10087710" y="409616"/>
                  <a:pt x="10087270" y="401014"/>
                </a:cubicBezTo>
                <a:cubicBezTo>
                  <a:pt x="10086480" y="386442"/>
                  <a:pt x="10078843" y="380649"/>
                  <a:pt x="10071295" y="377928"/>
                </a:cubicBezTo>
                <a:lnTo>
                  <a:pt x="10071295" y="377752"/>
                </a:lnTo>
                <a:cubicBezTo>
                  <a:pt x="10080424" y="374855"/>
                  <a:pt x="10090255" y="366605"/>
                  <a:pt x="10090255" y="351769"/>
                </a:cubicBezTo>
                <a:cubicBezTo>
                  <a:pt x="10090255" y="332721"/>
                  <a:pt x="10077351" y="321837"/>
                  <a:pt x="10055494" y="321837"/>
                </a:cubicBezTo>
                <a:lnTo>
                  <a:pt x="10028019" y="321837"/>
                </a:lnTo>
                <a:cubicBezTo>
                  <a:pt x="10028019" y="321837"/>
                  <a:pt x="10006601" y="321837"/>
                  <a:pt x="10006601" y="321837"/>
                </a:cubicBezTo>
                <a:close/>
                <a:moveTo>
                  <a:pt x="10172592" y="319553"/>
                </a:moveTo>
                <a:cubicBezTo>
                  <a:pt x="10139938" y="319553"/>
                  <a:pt x="10123348" y="344570"/>
                  <a:pt x="10123348" y="375469"/>
                </a:cubicBezTo>
                <a:cubicBezTo>
                  <a:pt x="10123348" y="406367"/>
                  <a:pt x="10140640" y="431385"/>
                  <a:pt x="10172592" y="431385"/>
                </a:cubicBezTo>
                <a:cubicBezTo>
                  <a:pt x="10198575" y="431385"/>
                  <a:pt x="10215867" y="416637"/>
                  <a:pt x="10219027" y="393639"/>
                </a:cubicBezTo>
                <a:lnTo>
                  <a:pt x="10196468" y="393639"/>
                </a:lnTo>
                <a:cubicBezTo>
                  <a:pt x="10193220" y="404349"/>
                  <a:pt x="10186198" y="412600"/>
                  <a:pt x="10173207" y="412600"/>
                </a:cubicBezTo>
                <a:lnTo>
                  <a:pt x="10173207" y="412512"/>
                </a:lnTo>
                <a:cubicBezTo>
                  <a:pt x="10155826" y="412512"/>
                  <a:pt x="10145643" y="395482"/>
                  <a:pt x="10145643" y="375118"/>
                </a:cubicBezTo>
                <a:cubicBezTo>
                  <a:pt x="10145643" y="354753"/>
                  <a:pt x="10155387" y="337635"/>
                  <a:pt x="10173207" y="337635"/>
                </a:cubicBezTo>
                <a:cubicBezTo>
                  <a:pt x="10186462" y="337635"/>
                  <a:pt x="10193220" y="345887"/>
                  <a:pt x="10196468" y="355982"/>
                </a:cubicBezTo>
                <a:lnTo>
                  <a:pt x="10218939" y="355982"/>
                </a:lnTo>
                <a:cubicBezTo>
                  <a:pt x="10215253" y="335002"/>
                  <a:pt x="10198838" y="319553"/>
                  <a:pt x="10172592" y="319553"/>
                </a:cubicBezTo>
                <a:close/>
                <a:moveTo>
                  <a:pt x="9882480" y="319553"/>
                </a:moveTo>
                <a:cubicBezTo>
                  <a:pt x="9849739" y="319553"/>
                  <a:pt x="9833236" y="344570"/>
                  <a:pt x="9833236" y="375469"/>
                </a:cubicBezTo>
                <a:cubicBezTo>
                  <a:pt x="9833236" y="406367"/>
                  <a:pt x="9850441" y="431385"/>
                  <a:pt x="9882480" y="431385"/>
                </a:cubicBezTo>
                <a:cubicBezTo>
                  <a:pt x="9908199" y="431385"/>
                  <a:pt x="9925580" y="416637"/>
                  <a:pt x="9928740" y="393639"/>
                </a:cubicBezTo>
                <a:lnTo>
                  <a:pt x="9906181" y="393639"/>
                </a:lnTo>
                <a:cubicBezTo>
                  <a:pt x="9903196" y="404349"/>
                  <a:pt x="9896174" y="412600"/>
                  <a:pt x="9883095" y="412600"/>
                </a:cubicBezTo>
                <a:lnTo>
                  <a:pt x="9883095" y="412512"/>
                </a:lnTo>
                <a:cubicBezTo>
                  <a:pt x="9865714" y="412512"/>
                  <a:pt x="9855444" y="395483"/>
                  <a:pt x="9855444" y="375118"/>
                </a:cubicBezTo>
                <a:cubicBezTo>
                  <a:pt x="9855444" y="354753"/>
                  <a:pt x="9865364" y="337635"/>
                  <a:pt x="9883095" y="337635"/>
                </a:cubicBezTo>
                <a:cubicBezTo>
                  <a:pt x="9896262" y="337635"/>
                  <a:pt x="9903196" y="345887"/>
                  <a:pt x="9906181" y="355982"/>
                </a:cubicBezTo>
                <a:lnTo>
                  <a:pt x="9928565" y="355982"/>
                </a:lnTo>
                <a:cubicBezTo>
                  <a:pt x="9924965" y="335002"/>
                  <a:pt x="9908551" y="319553"/>
                  <a:pt x="9882480" y="319553"/>
                </a:cubicBezTo>
                <a:close/>
                <a:moveTo>
                  <a:pt x="9360016" y="318502"/>
                </a:moveTo>
                <a:lnTo>
                  <a:pt x="9423832" y="429104"/>
                </a:lnTo>
                <a:lnTo>
                  <a:pt x="9551727" y="429104"/>
                </a:lnTo>
                <a:lnTo>
                  <a:pt x="9487823" y="318502"/>
                </a:lnTo>
                <a:close/>
                <a:moveTo>
                  <a:pt x="10009937" y="256791"/>
                </a:moveTo>
                <a:lnTo>
                  <a:pt x="10034954" y="256791"/>
                </a:lnTo>
                <a:cubicBezTo>
                  <a:pt x="10044171" y="256791"/>
                  <a:pt x="10051808" y="262058"/>
                  <a:pt x="10051808" y="272417"/>
                </a:cubicBezTo>
                <a:cubicBezTo>
                  <a:pt x="10051808" y="281194"/>
                  <a:pt x="10044873" y="287866"/>
                  <a:pt x="10035218" y="287866"/>
                </a:cubicBezTo>
                <a:lnTo>
                  <a:pt x="10009937" y="287866"/>
                </a:lnTo>
                <a:cubicBezTo>
                  <a:pt x="10009937" y="287866"/>
                  <a:pt x="10009937" y="256791"/>
                  <a:pt x="10009937" y="256791"/>
                </a:cubicBezTo>
                <a:close/>
                <a:moveTo>
                  <a:pt x="10010025" y="213955"/>
                </a:moveTo>
                <a:lnTo>
                  <a:pt x="10036798" y="213955"/>
                </a:lnTo>
                <a:cubicBezTo>
                  <a:pt x="10042942" y="213955"/>
                  <a:pt x="10049614" y="219573"/>
                  <a:pt x="10049614" y="226683"/>
                </a:cubicBezTo>
                <a:cubicBezTo>
                  <a:pt x="10049614" y="233091"/>
                  <a:pt x="10044962" y="240114"/>
                  <a:pt x="10035656" y="240114"/>
                </a:cubicBezTo>
                <a:lnTo>
                  <a:pt x="10010025" y="240114"/>
                </a:lnTo>
                <a:cubicBezTo>
                  <a:pt x="10010025" y="240114"/>
                  <a:pt x="10010025" y="213955"/>
                  <a:pt x="10010025" y="213955"/>
                </a:cubicBezTo>
                <a:close/>
                <a:moveTo>
                  <a:pt x="9587453" y="197103"/>
                </a:moveTo>
                <a:lnTo>
                  <a:pt x="9587453" y="304107"/>
                </a:lnTo>
                <a:lnTo>
                  <a:pt x="9607643" y="304107"/>
                </a:lnTo>
                <a:lnTo>
                  <a:pt x="9607643" y="224490"/>
                </a:lnTo>
                <a:lnTo>
                  <a:pt x="9630377" y="304107"/>
                </a:lnTo>
                <a:lnTo>
                  <a:pt x="9631255" y="304107"/>
                </a:lnTo>
                <a:lnTo>
                  <a:pt x="9650303" y="304107"/>
                </a:lnTo>
                <a:lnTo>
                  <a:pt x="9651182" y="304107"/>
                </a:lnTo>
                <a:lnTo>
                  <a:pt x="9673916" y="224490"/>
                </a:lnTo>
                <a:lnTo>
                  <a:pt x="9673916" y="304107"/>
                </a:lnTo>
                <a:lnTo>
                  <a:pt x="9694106" y="304107"/>
                </a:lnTo>
                <a:lnTo>
                  <a:pt x="9694106" y="197103"/>
                </a:lnTo>
                <a:lnTo>
                  <a:pt x="9683045" y="197103"/>
                </a:lnTo>
                <a:lnTo>
                  <a:pt x="9673565" y="197103"/>
                </a:lnTo>
                <a:lnTo>
                  <a:pt x="9663207" y="197103"/>
                </a:lnTo>
                <a:lnTo>
                  <a:pt x="9640823" y="272242"/>
                </a:lnTo>
                <a:lnTo>
                  <a:pt x="9618352" y="197103"/>
                </a:lnTo>
                <a:lnTo>
                  <a:pt x="9607994" y="197103"/>
                </a:lnTo>
                <a:lnTo>
                  <a:pt x="9598425" y="197103"/>
                </a:lnTo>
                <a:close/>
                <a:moveTo>
                  <a:pt x="10198224" y="197102"/>
                </a:moveTo>
                <a:lnTo>
                  <a:pt x="10198224" y="304106"/>
                </a:lnTo>
                <a:lnTo>
                  <a:pt x="10219466" y="304106"/>
                </a:lnTo>
                <a:lnTo>
                  <a:pt x="10219466" y="257407"/>
                </a:lnTo>
                <a:lnTo>
                  <a:pt x="10262215" y="257407"/>
                </a:lnTo>
                <a:lnTo>
                  <a:pt x="10262215" y="304106"/>
                </a:lnTo>
                <a:lnTo>
                  <a:pt x="10283458" y="304106"/>
                </a:lnTo>
                <a:lnTo>
                  <a:pt x="10283458" y="197102"/>
                </a:lnTo>
                <a:lnTo>
                  <a:pt x="10262215" y="197102"/>
                </a:lnTo>
                <a:lnTo>
                  <a:pt x="10262215" y="238798"/>
                </a:lnTo>
                <a:lnTo>
                  <a:pt x="10219466" y="238798"/>
                </a:lnTo>
                <a:lnTo>
                  <a:pt x="10219466" y="197102"/>
                </a:lnTo>
                <a:close/>
                <a:moveTo>
                  <a:pt x="9730007" y="197102"/>
                </a:moveTo>
                <a:lnTo>
                  <a:pt x="9730007" y="215535"/>
                </a:lnTo>
                <a:lnTo>
                  <a:pt x="9756253" y="215535"/>
                </a:lnTo>
                <a:lnTo>
                  <a:pt x="9756253" y="304106"/>
                </a:lnTo>
                <a:lnTo>
                  <a:pt x="9778198" y="304106"/>
                </a:lnTo>
                <a:lnTo>
                  <a:pt x="9778198" y="215535"/>
                </a:lnTo>
                <a:lnTo>
                  <a:pt x="9804444" y="215535"/>
                </a:lnTo>
                <a:lnTo>
                  <a:pt x="9804444" y="197102"/>
                </a:lnTo>
                <a:lnTo>
                  <a:pt x="9778198" y="197102"/>
                </a:lnTo>
                <a:lnTo>
                  <a:pt x="9756253" y="197102"/>
                </a:lnTo>
                <a:close/>
                <a:moveTo>
                  <a:pt x="10079019" y="197015"/>
                </a:moveTo>
                <a:lnTo>
                  <a:pt x="10079019" y="304105"/>
                </a:lnTo>
                <a:lnTo>
                  <a:pt x="10100613" y="304105"/>
                </a:lnTo>
                <a:lnTo>
                  <a:pt x="10100613" y="197015"/>
                </a:lnTo>
                <a:close/>
                <a:moveTo>
                  <a:pt x="10292324" y="197014"/>
                </a:moveTo>
                <a:lnTo>
                  <a:pt x="10292324" y="304105"/>
                </a:lnTo>
                <a:lnTo>
                  <a:pt x="10313918" y="304105"/>
                </a:lnTo>
                <a:lnTo>
                  <a:pt x="10313918" y="197014"/>
                </a:lnTo>
                <a:close/>
                <a:moveTo>
                  <a:pt x="9988519" y="197014"/>
                </a:moveTo>
                <a:lnTo>
                  <a:pt x="9988519" y="304105"/>
                </a:lnTo>
                <a:lnTo>
                  <a:pt x="9988607" y="304105"/>
                </a:lnTo>
                <a:cubicBezTo>
                  <a:pt x="9988607" y="304105"/>
                  <a:pt x="10010727" y="304105"/>
                  <a:pt x="10010727" y="304105"/>
                </a:cubicBezTo>
                <a:lnTo>
                  <a:pt x="10010815" y="304105"/>
                </a:lnTo>
                <a:lnTo>
                  <a:pt x="10041889" y="304105"/>
                </a:lnTo>
                <a:cubicBezTo>
                  <a:pt x="10061990" y="304105"/>
                  <a:pt x="10074017" y="291991"/>
                  <a:pt x="10074017" y="275225"/>
                </a:cubicBezTo>
                <a:cubicBezTo>
                  <a:pt x="10074017" y="261619"/>
                  <a:pt x="10064097" y="249856"/>
                  <a:pt x="10053388" y="247136"/>
                </a:cubicBezTo>
                <a:cubicBezTo>
                  <a:pt x="10062780" y="244766"/>
                  <a:pt x="10070330" y="235110"/>
                  <a:pt x="10070330" y="223348"/>
                </a:cubicBezTo>
                <a:cubicBezTo>
                  <a:pt x="10070330" y="207547"/>
                  <a:pt x="10058655" y="197014"/>
                  <a:pt x="10036710" y="197014"/>
                </a:cubicBezTo>
                <a:lnTo>
                  <a:pt x="10010727" y="197014"/>
                </a:lnTo>
                <a:cubicBezTo>
                  <a:pt x="10010727" y="197014"/>
                  <a:pt x="9988607" y="197014"/>
                  <a:pt x="9988607" y="197014"/>
                </a:cubicBezTo>
                <a:close/>
                <a:moveTo>
                  <a:pt x="9895999" y="197014"/>
                </a:moveTo>
                <a:lnTo>
                  <a:pt x="9895999" y="270661"/>
                </a:lnTo>
                <a:cubicBezTo>
                  <a:pt x="9895999" y="296381"/>
                  <a:pt x="9911975" y="307178"/>
                  <a:pt x="9938309" y="307178"/>
                </a:cubicBezTo>
                <a:cubicBezTo>
                  <a:pt x="9965697" y="307178"/>
                  <a:pt x="9980970" y="294625"/>
                  <a:pt x="9980970" y="270661"/>
                </a:cubicBezTo>
                <a:lnTo>
                  <a:pt x="9980970" y="197014"/>
                </a:lnTo>
                <a:lnTo>
                  <a:pt x="9959464" y="197014"/>
                </a:lnTo>
                <a:lnTo>
                  <a:pt x="9959464" y="272592"/>
                </a:lnTo>
                <a:cubicBezTo>
                  <a:pt x="9959464" y="281809"/>
                  <a:pt x="9951652" y="289446"/>
                  <a:pt x="9938309" y="289446"/>
                </a:cubicBezTo>
                <a:cubicBezTo>
                  <a:pt x="9922158" y="289446"/>
                  <a:pt x="9917242" y="280405"/>
                  <a:pt x="9917242" y="272592"/>
                </a:cubicBezTo>
                <a:lnTo>
                  <a:pt x="9917242" y="197014"/>
                </a:lnTo>
                <a:close/>
                <a:moveTo>
                  <a:pt x="9702708" y="197014"/>
                </a:moveTo>
                <a:lnTo>
                  <a:pt x="9702708" y="304105"/>
                </a:lnTo>
                <a:lnTo>
                  <a:pt x="9724301" y="304105"/>
                </a:lnTo>
                <a:lnTo>
                  <a:pt x="9724301" y="197014"/>
                </a:lnTo>
                <a:close/>
                <a:moveTo>
                  <a:pt x="10147575" y="193765"/>
                </a:moveTo>
                <a:cubicBezTo>
                  <a:pt x="10128000" y="193765"/>
                  <a:pt x="10107635" y="205089"/>
                  <a:pt x="10107635" y="226243"/>
                </a:cubicBezTo>
                <a:cubicBezTo>
                  <a:pt x="10107635" y="244063"/>
                  <a:pt x="10120714" y="255035"/>
                  <a:pt x="10142396" y="258898"/>
                </a:cubicBezTo>
                <a:lnTo>
                  <a:pt x="10142484" y="258898"/>
                </a:lnTo>
                <a:cubicBezTo>
                  <a:pt x="10159864" y="261882"/>
                  <a:pt x="10169608" y="265130"/>
                  <a:pt x="10169608" y="275489"/>
                </a:cubicBezTo>
                <a:cubicBezTo>
                  <a:pt x="10169608" y="282511"/>
                  <a:pt x="10162761" y="289095"/>
                  <a:pt x="10148277" y="289095"/>
                </a:cubicBezTo>
                <a:cubicBezTo>
                  <a:pt x="10133794" y="289095"/>
                  <a:pt x="10126508" y="280930"/>
                  <a:pt x="10126508" y="271188"/>
                </a:cubicBezTo>
                <a:lnTo>
                  <a:pt x="10105792" y="271188"/>
                </a:lnTo>
                <a:cubicBezTo>
                  <a:pt x="10105792" y="289797"/>
                  <a:pt x="10117818" y="306913"/>
                  <a:pt x="10149243" y="306913"/>
                </a:cubicBezTo>
                <a:cubicBezTo>
                  <a:pt x="10180668" y="306913"/>
                  <a:pt x="10192080" y="290938"/>
                  <a:pt x="10192080" y="272943"/>
                </a:cubicBezTo>
                <a:cubicBezTo>
                  <a:pt x="10192080" y="256001"/>
                  <a:pt x="10181019" y="245292"/>
                  <a:pt x="10161356" y="241430"/>
                </a:cubicBezTo>
                <a:cubicBezTo>
                  <a:pt x="10142308" y="237743"/>
                  <a:pt x="10129317" y="236953"/>
                  <a:pt x="10129317" y="224840"/>
                </a:cubicBezTo>
                <a:cubicBezTo>
                  <a:pt x="10129317" y="216588"/>
                  <a:pt x="10136778" y="211672"/>
                  <a:pt x="10148454" y="211672"/>
                </a:cubicBezTo>
                <a:cubicBezTo>
                  <a:pt x="10160742" y="211672"/>
                  <a:pt x="10167853" y="217817"/>
                  <a:pt x="10167853" y="228087"/>
                </a:cubicBezTo>
                <a:lnTo>
                  <a:pt x="10188831" y="228087"/>
                </a:lnTo>
                <a:cubicBezTo>
                  <a:pt x="10188831" y="211145"/>
                  <a:pt x="10175928" y="193765"/>
                  <a:pt x="10147575" y="193765"/>
                </a:cubicBezTo>
                <a:close/>
                <a:moveTo>
                  <a:pt x="9845789" y="193765"/>
                </a:moveTo>
                <a:cubicBezTo>
                  <a:pt x="9826214" y="193765"/>
                  <a:pt x="9805761" y="205089"/>
                  <a:pt x="9805761" y="226243"/>
                </a:cubicBezTo>
                <a:cubicBezTo>
                  <a:pt x="9805761" y="244063"/>
                  <a:pt x="9818840" y="255035"/>
                  <a:pt x="9840610" y="258898"/>
                </a:cubicBezTo>
                <a:cubicBezTo>
                  <a:pt x="9857990" y="261883"/>
                  <a:pt x="9867909" y="265130"/>
                  <a:pt x="9867909" y="275489"/>
                </a:cubicBezTo>
                <a:cubicBezTo>
                  <a:pt x="9867909" y="282511"/>
                  <a:pt x="9860975" y="289095"/>
                  <a:pt x="9846491" y="289095"/>
                </a:cubicBezTo>
                <a:cubicBezTo>
                  <a:pt x="9832008" y="289095"/>
                  <a:pt x="9824722" y="280931"/>
                  <a:pt x="9824722" y="271188"/>
                </a:cubicBezTo>
                <a:lnTo>
                  <a:pt x="9803918" y="271188"/>
                </a:lnTo>
                <a:cubicBezTo>
                  <a:pt x="9803918" y="289797"/>
                  <a:pt x="9815944" y="306913"/>
                  <a:pt x="9847457" y="306913"/>
                </a:cubicBezTo>
                <a:cubicBezTo>
                  <a:pt x="9878970" y="306913"/>
                  <a:pt x="9890381" y="290938"/>
                  <a:pt x="9890381" y="272943"/>
                </a:cubicBezTo>
                <a:cubicBezTo>
                  <a:pt x="9890381" y="256001"/>
                  <a:pt x="9879233" y="245292"/>
                  <a:pt x="9859482" y="241430"/>
                </a:cubicBezTo>
                <a:cubicBezTo>
                  <a:pt x="9840522" y="237743"/>
                  <a:pt x="9827531" y="236953"/>
                  <a:pt x="9827531" y="224840"/>
                </a:cubicBezTo>
                <a:cubicBezTo>
                  <a:pt x="9827531" y="216588"/>
                  <a:pt x="9834992" y="211673"/>
                  <a:pt x="9846667" y="211673"/>
                </a:cubicBezTo>
                <a:cubicBezTo>
                  <a:pt x="9859044" y="211673"/>
                  <a:pt x="9866241" y="217818"/>
                  <a:pt x="9866241" y="228088"/>
                </a:cubicBezTo>
                <a:lnTo>
                  <a:pt x="9887133" y="228088"/>
                </a:lnTo>
                <a:cubicBezTo>
                  <a:pt x="9887133" y="211145"/>
                  <a:pt x="9874406" y="193765"/>
                  <a:pt x="9845789" y="193765"/>
                </a:cubicBezTo>
                <a:close/>
                <a:moveTo>
                  <a:pt x="10393710" y="179724"/>
                </a:moveTo>
                <a:lnTo>
                  <a:pt x="10393710" y="562882"/>
                </a:lnTo>
                <a:lnTo>
                  <a:pt x="10400030" y="562882"/>
                </a:lnTo>
                <a:lnTo>
                  <a:pt x="10400030" y="179724"/>
                </a:lnTo>
                <a:close/>
                <a:moveTo>
                  <a:pt x="9360015" y="96946"/>
                </a:moveTo>
                <a:lnTo>
                  <a:pt x="9296024" y="207723"/>
                </a:lnTo>
                <a:lnTo>
                  <a:pt x="9360015" y="318502"/>
                </a:lnTo>
                <a:lnTo>
                  <a:pt x="9232120" y="318502"/>
                </a:lnTo>
                <a:lnTo>
                  <a:pt x="9168217" y="429104"/>
                </a:lnTo>
                <a:lnTo>
                  <a:pt x="9296024" y="429104"/>
                </a:lnTo>
                <a:lnTo>
                  <a:pt x="9360015" y="318502"/>
                </a:lnTo>
                <a:lnTo>
                  <a:pt x="9423831" y="207723"/>
                </a:lnTo>
                <a:close/>
                <a:moveTo>
                  <a:pt x="0" y="0"/>
                </a:moveTo>
                <a:lnTo>
                  <a:pt x="12191985" y="0"/>
                </a:lnTo>
                <a:lnTo>
                  <a:pt x="12191985" y="6857992"/>
                </a:lnTo>
                <a:lnTo>
                  <a:pt x="0" y="6857992"/>
                </a:lnTo>
                <a:close/>
              </a:path>
            </a:pathLst>
          </a:custGeom>
        </p:spPr>
        <p:txBody>
          <a:bodyPr wrap="square">
            <a:noAutofit/>
          </a:bodyPr>
          <a:lstStyle>
            <a:lvl1pPr>
              <a:defRPr>
                <a:latin typeface="Meiryo UI" panose="020B0604030504040204" pitchFamily="34" charset="-128"/>
                <a:ea typeface="Meiryo UI" panose="020B0604030504040204" pitchFamily="34" charset="-128"/>
              </a:defRPr>
            </a:lvl1pPr>
          </a:lstStyle>
          <a:p>
            <a:endParaRPr lang="en-JP" dirty="0"/>
          </a:p>
        </p:txBody>
      </p:sp>
      <p:sp>
        <p:nvSpPr>
          <p:cNvPr id="115" name="Copyright">
            <a:extLst>
              <a:ext uri="{FF2B5EF4-FFF2-40B4-BE49-F238E27FC236}">
                <a16:creationId xmlns:a16="http://schemas.microsoft.com/office/drawing/2014/main" id="{45FA1502-69DD-4D47-9FB3-3A9FAF1A8C6C}"/>
              </a:ext>
            </a:extLst>
          </p:cNvPr>
          <p:cNvSpPr txBox="1"/>
          <p:nvPr userDrawn="1"/>
        </p:nvSpPr>
        <p:spPr>
          <a:xfrm>
            <a:off x="180975" y="6645600"/>
            <a:ext cx="1292225" cy="105222"/>
          </a:xfrm>
          <a:prstGeom prst="rect">
            <a:avLst/>
          </a:prstGeom>
          <a:noFill/>
        </p:spPr>
        <p:txBody>
          <a:bodyPr wrap="square" lIns="0" tIns="0" rIns="0" bIns="0" rtlCol="0">
            <a:spAutoFit/>
          </a:bodyPr>
          <a:lstStyle>
            <a:defPPr>
              <a:defRPr lang="ja-JP"/>
            </a:defPPr>
            <a:lvl1pPr defTabSz="914400">
              <a:lnSpc>
                <a:spcPct val="130000"/>
              </a:lnSpc>
              <a:defRPr kumimoji="1" sz="600">
                <a:solidFill>
                  <a:srgbClr val="666666"/>
                </a:solidFill>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lvl="0"/>
            <a:r>
              <a:rPr lang="en-US" altLang="ja-JP" dirty="0">
                <a:solidFill>
                  <a:srgbClr val="000000"/>
                </a:solidFill>
                <a:latin typeface="Meiryo UI" panose="020B0604030504040204" pitchFamily="34" charset="-128"/>
                <a:ea typeface="Meiryo UI" panose="020B0604030504040204" pitchFamily="34" charset="-128"/>
              </a:rPr>
              <a:t>©Mitsubishi</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Electric</a:t>
            </a:r>
            <a:r>
              <a:rPr lang="ja-JP" altLang="en-US" dirty="0">
                <a:solidFill>
                  <a:srgbClr val="000000"/>
                </a:solidFill>
                <a:latin typeface="Meiryo UI" panose="020B0604030504040204" pitchFamily="34" charset="-128"/>
                <a:ea typeface="Meiryo UI" panose="020B0604030504040204" pitchFamily="34" charset="-128"/>
              </a:rPr>
              <a:t> </a:t>
            </a:r>
            <a:r>
              <a:rPr lang="en-US" altLang="ja-JP" dirty="0">
                <a:solidFill>
                  <a:srgbClr val="000000"/>
                </a:solidFill>
                <a:latin typeface="Meiryo UI" panose="020B0604030504040204" pitchFamily="34" charset="-128"/>
                <a:ea typeface="Meiryo UI" panose="020B0604030504040204" pitchFamily="34" charset="-128"/>
              </a:rPr>
              <a:t>Corporation</a:t>
            </a:r>
            <a:endParaRPr lang="ja-JP" altLang="en-US" dirty="0">
              <a:solidFill>
                <a:srgbClr val="000000"/>
              </a:solidFill>
              <a:latin typeface="Meiryo UI" panose="020B0604030504040204" pitchFamily="34" charset="-128"/>
              <a:ea typeface="Meiryo UI" panose="020B0604030504040204" pitchFamily="34" charset="-128"/>
            </a:endParaRPr>
          </a:p>
        </p:txBody>
      </p:sp>
      <p:grpSp>
        <p:nvGrpSpPr>
          <p:cNvPr id="343" name="ME Company Name JP with 0.1pt Outline">
            <a:extLst>
              <a:ext uri="{FF2B5EF4-FFF2-40B4-BE49-F238E27FC236}">
                <a16:creationId xmlns:a16="http://schemas.microsoft.com/office/drawing/2014/main" id="{58BD70F0-7DC0-4FB7-8C85-EFDAF31DDB1E}"/>
              </a:ext>
            </a:extLst>
          </p:cNvPr>
          <p:cNvGrpSpPr/>
          <p:nvPr userDrawn="1"/>
        </p:nvGrpSpPr>
        <p:grpSpPr>
          <a:xfrm>
            <a:off x="5482748" y="4967994"/>
            <a:ext cx="1225476" cy="152582"/>
            <a:chOff x="3946525" y="4966308"/>
            <a:chExt cx="1252497" cy="155947"/>
          </a:xfrm>
        </p:grpSpPr>
        <p:sp>
          <p:nvSpPr>
            <p:cNvPr id="344" name="Freeform: Shape 343">
              <a:extLst>
                <a:ext uri="{FF2B5EF4-FFF2-40B4-BE49-F238E27FC236}">
                  <a16:creationId xmlns:a16="http://schemas.microsoft.com/office/drawing/2014/main" id="{443D2909-BC73-4B4B-8DE7-3546BB3BD125}"/>
                </a:ext>
              </a:extLst>
            </p:cNvPr>
            <p:cNvSpPr/>
            <p:nvPr/>
          </p:nvSpPr>
          <p:spPr>
            <a:xfrm>
              <a:off x="3956068" y="4979526"/>
              <a:ext cx="127351" cy="15153"/>
            </a:xfrm>
            <a:custGeom>
              <a:avLst/>
              <a:gdLst>
                <a:gd name="connsiteX0" fmla="*/ 0 w 127351"/>
                <a:gd name="connsiteY0" fmla="*/ 0 h 15153"/>
                <a:gd name="connsiteX1" fmla="*/ 127352 w 127351"/>
                <a:gd name="connsiteY1" fmla="*/ 0 h 15153"/>
                <a:gd name="connsiteX2" fmla="*/ 127352 w 127351"/>
                <a:gd name="connsiteY2" fmla="*/ 15153 h 15153"/>
                <a:gd name="connsiteX3" fmla="*/ 0 w 127351"/>
                <a:gd name="connsiteY3" fmla="*/ 15153 h 15153"/>
              </a:gdLst>
              <a:ahLst/>
              <a:cxnLst>
                <a:cxn ang="0">
                  <a:pos x="connsiteX0" y="connsiteY0"/>
                </a:cxn>
                <a:cxn ang="0">
                  <a:pos x="connsiteX1" y="connsiteY1"/>
                </a:cxn>
                <a:cxn ang="0">
                  <a:pos x="connsiteX2" y="connsiteY2"/>
                </a:cxn>
                <a:cxn ang="0">
                  <a:pos x="connsiteX3" y="connsiteY3"/>
                </a:cxn>
              </a:cxnLst>
              <a:rect l="l" t="t" r="r" b="b"/>
              <a:pathLst>
                <a:path w="127351" h="15153">
                  <a:moveTo>
                    <a:pt x="0" y="0"/>
                  </a:moveTo>
                  <a:lnTo>
                    <a:pt x="127352" y="0"/>
                  </a:lnTo>
                  <a:lnTo>
                    <a:pt x="127352" y="15153"/>
                  </a:lnTo>
                  <a:lnTo>
                    <a:pt x="0" y="15153"/>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45" name="Freeform: Shape 344">
              <a:extLst>
                <a:ext uri="{FF2B5EF4-FFF2-40B4-BE49-F238E27FC236}">
                  <a16:creationId xmlns:a16="http://schemas.microsoft.com/office/drawing/2014/main" id="{F519D1E4-CFDC-42B9-9E7B-D17F85902667}"/>
                </a:ext>
              </a:extLst>
            </p:cNvPr>
            <p:cNvSpPr/>
            <p:nvPr/>
          </p:nvSpPr>
          <p:spPr>
            <a:xfrm>
              <a:off x="3961291" y="5034529"/>
              <a:ext cx="116841" cy="15282"/>
            </a:xfrm>
            <a:custGeom>
              <a:avLst/>
              <a:gdLst>
                <a:gd name="connsiteX0" fmla="*/ 0 w 116841"/>
                <a:gd name="connsiteY0" fmla="*/ 0 h 15282"/>
                <a:gd name="connsiteX1" fmla="*/ 116841 w 116841"/>
                <a:gd name="connsiteY1" fmla="*/ 0 h 15282"/>
                <a:gd name="connsiteX2" fmla="*/ 116841 w 116841"/>
                <a:gd name="connsiteY2" fmla="*/ 15282 h 15282"/>
                <a:gd name="connsiteX3" fmla="*/ 0 w 116841"/>
                <a:gd name="connsiteY3" fmla="*/ 15282 h 15282"/>
              </a:gdLst>
              <a:ahLst/>
              <a:cxnLst>
                <a:cxn ang="0">
                  <a:pos x="connsiteX0" y="connsiteY0"/>
                </a:cxn>
                <a:cxn ang="0">
                  <a:pos x="connsiteX1" y="connsiteY1"/>
                </a:cxn>
                <a:cxn ang="0">
                  <a:pos x="connsiteX2" y="connsiteY2"/>
                </a:cxn>
                <a:cxn ang="0">
                  <a:pos x="connsiteX3" y="connsiteY3"/>
                </a:cxn>
              </a:cxnLst>
              <a:rect l="l" t="t" r="r" b="b"/>
              <a:pathLst>
                <a:path w="116841" h="15282">
                  <a:moveTo>
                    <a:pt x="0" y="0"/>
                  </a:moveTo>
                  <a:lnTo>
                    <a:pt x="116841" y="0"/>
                  </a:lnTo>
                  <a:lnTo>
                    <a:pt x="116841" y="15282"/>
                  </a:lnTo>
                  <a:lnTo>
                    <a:pt x="0" y="1528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46" name="Freeform: Shape 345">
              <a:extLst>
                <a:ext uri="{FF2B5EF4-FFF2-40B4-BE49-F238E27FC236}">
                  <a16:creationId xmlns:a16="http://schemas.microsoft.com/office/drawing/2014/main" id="{D1066999-F5D9-42C4-8EAF-AA6E678716EF}"/>
                </a:ext>
              </a:extLst>
            </p:cNvPr>
            <p:cNvSpPr/>
            <p:nvPr/>
          </p:nvSpPr>
          <p:spPr>
            <a:xfrm>
              <a:off x="3946525" y="5092627"/>
              <a:ext cx="146503" cy="15733"/>
            </a:xfrm>
            <a:custGeom>
              <a:avLst/>
              <a:gdLst>
                <a:gd name="connsiteX0" fmla="*/ 0 w 146503"/>
                <a:gd name="connsiteY0" fmla="*/ 0 h 15733"/>
                <a:gd name="connsiteX1" fmla="*/ 146503 w 146503"/>
                <a:gd name="connsiteY1" fmla="*/ 0 h 15733"/>
                <a:gd name="connsiteX2" fmla="*/ 146503 w 146503"/>
                <a:gd name="connsiteY2" fmla="*/ 15734 h 15733"/>
                <a:gd name="connsiteX3" fmla="*/ 0 w 146503"/>
                <a:gd name="connsiteY3" fmla="*/ 15734 h 15733"/>
              </a:gdLst>
              <a:ahLst/>
              <a:cxnLst>
                <a:cxn ang="0">
                  <a:pos x="connsiteX0" y="connsiteY0"/>
                </a:cxn>
                <a:cxn ang="0">
                  <a:pos x="connsiteX1" y="connsiteY1"/>
                </a:cxn>
                <a:cxn ang="0">
                  <a:pos x="connsiteX2" y="connsiteY2"/>
                </a:cxn>
                <a:cxn ang="0">
                  <a:pos x="connsiteX3" y="connsiteY3"/>
                </a:cxn>
              </a:cxnLst>
              <a:rect l="l" t="t" r="r" b="b"/>
              <a:pathLst>
                <a:path w="146503" h="15733">
                  <a:moveTo>
                    <a:pt x="0" y="0"/>
                  </a:moveTo>
                  <a:lnTo>
                    <a:pt x="146503" y="0"/>
                  </a:lnTo>
                  <a:lnTo>
                    <a:pt x="146503" y="15734"/>
                  </a:lnTo>
                  <a:lnTo>
                    <a:pt x="0" y="15734"/>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47" name="Freeform: Shape 346">
              <a:extLst>
                <a:ext uri="{FF2B5EF4-FFF2-40B4-BE49-F238E27FC236}">
                  <a16:creationId xmlns:a16="http://schemas.microsoft.com/office/drawing/2014/main" id="{6873DF4D-4301-4A64-A9D6-C907415A3FB1}"/>
                </a:ext>
              </a:extLst>
            </p:cNvPr>
            <p:cNvSpPr/>
            <p:nvPr/>
          </p:nvSpPr>
          <p:spPr>
            <a:xfrm>
              <a:off x="4740426" y="4966501"/>
              <a:ext cx="146954" cy="148128"/>
            </a:xfrm>
            <a:custGeom>
              <a:avLst/>
              <a:gdLst>
                <a:gd name="connsiteX0" fmla="*/ 128319 w 146954"/>
                <a:gd name="connsiteY0" fmla="*/ 121355 h 148128"/>
                <a:gd name="connsiteX1" fmla="*/ 117228 w 146954"/>
                <a:gd name="connsiteY1" fmla="*/ 120968 h 148128"/>
                <a:gd name="connsiteX2" fmla="*/ 106718 w 146954"/>
                <a:gd name="connsiteY2" fmla="*/ 86148 h 148128"/>
                <a:gd name="connsiteX3" fmla="*/ 101817 w 146954"/>
                <a:gd name="connsiteY3" fmla="*/ 41913 h 148128"/>
                <a:gd name="connsiteX4" fmla="*/ 141602 w 146954"/>
                <a:gd name="connsiteY4" fmla="*/ 41720 h 148128"/>
                <a:gd name="connsiteX5" fmla="*/ 141602 w 146954"/>
                <a:gd name="connsiteY5" fmla="*/ 26115 h 148128"/>
                <a:gd name="connsiteX6" fmla="*/ 125288 w 146954"/>
                <a:gd name="connsiteY6" fmla="*/ 26115 h 148128"/>
                <a:gd name="connsiteX7" fmla="*/ 136315 w 146954"/>
                <a:gd name="connsiteY7" fmla="*/ 18893 h 148128"/>
                <a:gd name="connsiteX8" fmla="*/ 119743 w 146954"/>
                <a:gd name="connsiteY8" fmla="*/ 0 h 148128"/>
                <a:gd name="connsiteX9" fmla="*/ 107491 w 146954"/>
                <a:gd name="connsiteY9" fmla="*/ 6384 h 148128"/>
                <a:gd name="connsiteX10" fmla="*/ 121742 w 146954"/>
                <a:gd name="connsiteY10" fmla="*/ 26051 h 148128"/>
                <a:gd name="connsiteX11" fmla="*/ 100914 w 146954"/>
                <a:gd name="connsiteY11" fmla="*/ 26115 h 148128"/>
                <a:gd name="connsiteX12" fmla="*/ 100334 w 146954"/>
                <a:gd name="connsiteY12" fmla="*/ 64 h 148128"/>
                <a:gd name="connsiteX13" fmla="*/ 84020 w 146954"/>
                <a:gd name="connsiteY13" fmla="*/ 64 h 148128"/>
                <a:gd name="connsiteX14" fmla="*/ 84665 w 146954"/>
                <a:gd name="connsiteY14" fmla="*/ 25986 h 148128"/>
                <a:gd name="connsiteX15" fmla="*/ 0 w 146954"/>
                <a:gd name="connsiteY15" fmla="*/ 25986 h 148128"/>
                <a:gd name="connsiteX16" fmla="*/ 0 w 146954"/>
                <a:gd name="connsiteY16" fmla="*/ 41720 h 148128"/>
                <a:gd name="connsiteX17" fmla="*/ 85825 w 146954"/>
                <a:gd name="connsiteY17" fmla="*/ 41720 h 148128"/>
                <a:gd name="connsiteX18" fmla="*/ 92596 w 146954"/>
                <a:gd name="connsiteY18" fmla="*/ 94788 h 148128"/>
                <a:gd name="connsiteX19" fmla="*/ 112650 w 146954"/>
                <a:gd name="connsiteY19" fmla="*/ 142892 h 148128"/>
                <a:gd name="connsiteX20" fmla="*/ 136057 w 146954"/>
                <a:gd name="connsiteY20" fmla="*/ 141215 h 148128"/>
                <a:gd name="connsiteX21" fmla="*/ 146954 w 146954"/>
                <a:gd name="connsiteY21" fmla="*/ 115100 h 148128"/>
                <a:gd name="connsiteX22" fmla="*/ 135025 w 146954"/>
                <a:gd name="connsiteY22" fmla="*/ 99173 h 148128"/>
                <a:gd name="connsiteX23" fmla="*/ 128319 w 146954"/>
                <a:gd name="connsiteY23" fmla="*/ 121355 h 14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6954" h="148128">
                  <a:moveTo>
                    <a:pt x="128319" y="121355"/>
                  </a:moveTo>
                  <a:cubicBezTo>
                    <a:pt x="128319" y="121355"/>
                    <a:pt x="123805" y="135025"/>
                    <a:pt x="117228" y="120968"/>
                  </a:cubicBezTo>
                  <a:cubicBezTo>
                    <a:pt x="117228" y="120968"/>
                    <a:pt x="110200" y="107104"/>
                    <a:pt x="106718" y="86148"/>
                  </a:cubicBezTo>
                  <a:cubicBezTo>
                    <a:pt x="106718" y="86148"/>
                    <a:pt x="103042" y="60871"/>
                    <a:pt x="101817" y="41913"/>
                  </a:cubicBezTo>
                  <a:lnTo>
                    <a:pt x="141602" y="41720"/>
                  </a:lnTo>
                  <a:lnTo>
                    <a:pt x="141602" y="26115"/>
                  </a:lnTo>
                  <a:lnTo>
                    <a:pt x="125288" y="26115"/>
                  </a:lnTo>
                  <a:lnTo>
                    <a:pt x="136315" y="18893"/>
                  </a:lnTo>
                  <a:cubicBezTo>
                    <a:pt x="133736" y="14508"/>
                    <a:pt x="122903" y="1805"/>
                    <a:pt x="119743" y="0"/>
                  </a:cubicBezTo>
                  <a:lnTo>
                    <a:pt x="107491" y="6384"/>
                  </a:lnTo>
                  <a:cubicBezTo>
                    <a:pt x="107491" y="6384"/>
                    <a:pt x="121419" y="21924"/>
                    <a:pt x="121742" y="26051"/>
                  </a:cubicBezTo>
                  <a:lnTo>
                    <a:pt x="100914" y="26115"/>
                  </a:lnTo>
                  <a:cubicBezTo>
                    <a:pt x="100721" y="18958"/>
                    <a:pt x="99947" y="7157"/>
                    <a:pt x="100334" y="64"/>
                  </a:cubicBezTo>
                  <a:lnTo>
                    <a:pt x="84020" y="64"/>
                  </a:lnTo>
                  <a:cubicBezTo>
                    <a:pt x="84020" y="64"/>
                    <a:pt x="84149" y="13283"/>
                    <a:pt x="84665" y="25986"/>
                  </a:cubicBezTo>
                  <a:lnTo>
                    <a:pt x="0" y="25986"/>
                  </a:lnTo>
                  <a:lnTo>
                    <a:pt x="0" y="41720"/>
                  </a:lnTo>
                  <a:lnTo>
                    <a:pt x="85825" y="41720"/>
                  </a:lnTo>
                  <a:cubicBezTo>
                    <a:pt x="86986" y="58291"/>
                    <a:pt x="89630" y="86083"/>
                    <a:pt x="92596" y="94788"/>
                  </a:cubicBezTo>
                  <a:cubicBezTo>
                    <a:pt x="92596" y="94788"/>
                    <a:pt x="98013" y="128835"/>
                    <a:pt x="112650" y="142892"/>
                  </a:cubicBezTo>
                  <a:cubicBezTo>
                    <a:pt x="112650" y="142892"/>
                    <a:pt x="124321" y="155723"/>
                    <a:pt x="136057" y="141215"/>
                  </a:cubicBezTo>
                  <a:cubicBezTo>
                    <a:pt x="136057" y="141215"/>
                    <a:pt x="141860" y="133348"/>
                    <a:pt x="146954" y="115100"/>
                  </a:cubicBezTo>
                  <a:lnTo>
                    <a:pt x="135025" y="99173"/>
                  </a:lnTo>
                  <a:cubicBezTo>
                    <a:pt x="135154" y="99108"/>
                    <a:pt x="132317" y="111747"/>
                    <a:pt x="128319" y="121355"/>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48" name="Freeform: Shape 347">
              <a:extLst>
                <a:ext uri="{FF2B5EF4-FFF2-40B4-BE49-F238E27FC236}">
                  <a16:creationId xmlns:a16="http://schemas.microsoft.com/office/drawing/2014/main" id="{684FFDA6-AD7A-4DC0-9E87-506D2CB48E0D}"/>
                </a:ext>
              </a:extLst>
            </p:cNvPr>
            <p:cNvSpPr/>
            <p:nvPr/>
          </p:nvSpPr>
          <p:spPr>
            <a:xfrm>
              <a:off x="4740555" y="5029693"/>
              <a:ext cx="81892" cy="79634"/>
            </a:xfrm>
            <a:custGeom>
              <a:avLst/>
              <a:gdLst>
                <a:gd name="connsiteX0" fmla="*/ 49974 w 81892"/>
                <a:gd name="connsiteY0" fmla="*/ 15411 h 79634"/>
                <a:gd name="connsiteX1" fmla="*/ 77185 w 81892"/>
                <a:gd name="connsiteY1" fmla="*/ 15411 h 79634"/>
                <a:gd name="connsiteX2" fmla="*/ 77185 w 81892"/>
                <a:gd name="connsiteY2" fmla="*/ 0 h 79634"/>
                <a:gd name="connsiteX3" fmla="*/ 5932 w 81892"/>
                <a:gd name="connsiteY3" fmla="*/ 0 h 79634"/>
                <a:gd name="connsiteX4" fmla="*/ 5932 w 81892"/>
                <a:gd name="connsiteY4" fmla="*/ 15411 h 79634"/>
                <a:gd name="connsiteX5" fmla="*/ 34433 w 81892"/>
                <a:gd name="connsiteY5" fmla="*/ 15411 h 79634"/>
                <a:gd name="connsiteX6" fmla="*/ 34433 w 81892"/>
                <a:gd name="connsiteY6" fmla="*/ 58549 h 79634"/>
                <a:gd name="connsiteX7" fmla="*/ 0 w 81892"/>
                <a:gd name="connsiteY7" fmla="*/ 62999 h 79634"/>
                <a:gd name="connsiteX8" fmla="*/ 1805 w 81892"/>
                <a:gd name="connsiteY8" fmla="*/ 79635 h 79634"/>
                <a:gd name="connsiteX9" fmla="*/ 81892 w 81892"/>
                <a:gd name="connsiteY9" fmla="*/ 63708 h 79634"/>
                <a:gd name="connsiteX10" fmla="*/ 81892 w 81892"/>
                <a:gd name="connsiteY10" fmla="*/ 47974 h 79634"/>
                <a:gd name="connsiteX11" fmla="*/ 49974 w 81892"/>
                <a:gd name="connsiteY11" fmla="*/ 55583 h 79634"/>
                <a:gd name="connsiteX12" fmla="*/ 49974 w 81892"/>
                <a:gd name="connsiteY12" fmla="*/ 15411 h 7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892" h="79634">
                  <a:moveTo>
                    <a:pt x="49974" y="15411"/>
                  </a:moveTo>
                  <a:lnTo>
                    <a:pt x="77185" y="15411"/>
                  </a:lnTo>
                  <a:lnTo>
                    <a:pt x="77185" y="0"/>
                  </a:lnTo>
                  <a:lnTo>
                    <a:pt x="5932" y="0"/>
                  </a:lnTo>
                  <a:lnTo>
                    <a:pt x="5932" y="15411"/>
                  </a:lnTo>
                  <a:lnTo>
                    <a:pt x="34433" y="15411"/>
                  </a:lnTo>
                  <a:lnTo>
                    <a:pt x="34433" y="58549"/>
                  </a:lnTo>
                  <a:cubicBezTo>
                    <a:pt x="19860" y="61129"/>
                    <a:pt x="9608" y="62096"/>
                    <a:pt x="0" y="62999"/>
                  </a:cubicBezTo>
                  <a:lnTo>
                    <a:pt x="1805" y="79635"/>
                  </a:lnTo>
                  <a:cubicBezTo>
                    <a:pt x="1805" y="79635"/>
                    <a:pt x="59388" y="70608"/>
                    <a:pt x="81892" y="63708"/>
                  </a:cubicBezTo>
                  <a:lnTo>
                    <a:pt x="81892" y="47974"/>
                  </a:lnTo>
                  <a:cubicBezTo>
                    <a:pt x="81892" y="47974"/>
                    <a:pt x="68673" y="51972"/>
                    <a:pt x="49974" y="55583"/>
                  </a:cubicBezTo>
                  <a:lnTo>
                    <a:pt x="49974" y="15411"/>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49" name="Freeform: Shape 348">
              <a:extLst>
                <a:ext uri="{FF2B5EF4-FFF2-40B4-BE49-F238E27FC236}">
                  <a16:creationId xmlns:a16="http://schemas.microsoft.com/office/drawing/2014/main" id="{AB13222A-9FE0-41AA-9E28-DBDD977D704F}"/>
                </a:ext>
              </a:extLst>
            </p:cNvPr>
            <p:cNvSpPr/>
            <p:nvPr/>
          </p:nvSpPr>
          <p:spPr>
            <a:xfrm>
              <a:off x="4895119" y="4966630"/>
              <a:ext cx="149598" cy="58162"/>
            </a:xfrm>
            <a:custGeom>
              <a:avLst/>
              <a:gdLst>
                <a:gd name="connsiteX0" fmla="*/ 38238 w 149598"/>
                <a:gd name="connsiteY0" fmla="*/ 43203 h 58162"/>
                <a:gd name="connsiteX1" fmla="*/ 75250 w 149598"/>
                <a:gd name="connsiteY1" fmla="*/ 14831 h 58162"/>
                <a:gd name="connsiteX2" fmla="*/ 112650 w 149598"/>
                <a:gd name="connsiteY2" fmla="*/ 43203 h 58162"/>
                <a:gd name="connsiteX3" fmla="*/ 38238 w 149598"/>
                <a:gd name="connsiteY3" fmla="*/ 43203 h 58162"/>
                <a:gd name="connsiteX4" fmla="*/ 82279 w 149598"/>
                <a:gd name="connsiteY4" fmla="*/ 0 h 58162"/>
                <a:gd name="connsiteX5" fmla="*/ 66803 w 149598"/>
                <a:gd name="connsiteY5" fmla="*/ 0 h 58162"/>
                <a:gd name="connsiteX6" fmla="*/ 0 w 149598"/>
                <a:gd name="connsiteY6" fmla="*/ 42816 h 58162"/>
                <a:gd name="connsiteX7" fmla="*/ 7544 w 149598"/>
                <a:gd name="connsiteY7" fmla="*/ 58163 h 58162"/>
                <a:gd name="connsiteX8" fmla="*/ 31725 w 149598"/>
                <a:gd name="connsiteY8" fmla="*/ 47136 h 58162"/>
                <a:gd name="connsiteX9" fmla="*/ 31725 w 149598"/>
                <a:gd name="connsiteY9" fmla="*/ 57002 h 58162"/>
                <a:gd name="connsiteX10" fmla="*/ 117744 w 149598"/>
                <a:gd name="connsiteY10" fmla="*/ 57002 h 58162"/>
                <a:gd name="connsiteX11" fmla="*/ 117744 w 149598"/>
                <a:gd name="connsiteY11" fmla="*/ 45524 h 58162"/>
                <a:gd name="connsiteX12" fmla="*/ 142763 w 149598"/>
                <a:gd name="connsiteY12" fmla="*/ 55132 h 58162"/>
                <a:gd name="connsiteX13" fmla="*/ 149598 w 149598"/>
                <a:gd name="connsiteY13" fmla="*/ 40946 h 58162"/>
                <a:gd name="connsiteX14" fmla="*/ 82279 w 149598"/>
                <a:gd name="connsiteY14" fmla="*/ 0 h 5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598" h="58162">
                  <a:moveTo>
                    <a:pt x="38238" y="43203"/>
                  </a:moveTo>
                  <a:cubicBezTo>
                    <a:pt x="56164" y="33659"/>
                    <a:pt x="75250" y="14831"/>
                    <a:pt x="75250" y="14831"/>
                  </a:cubicBezTo>
                  <a:cubicBezTo>
                    <a:pt x="87760" y="29275"/>
                    <a:pt x="112650" y="43203"/>
                    <a:pt x="112650" y="43203"/>
                  </a:cubicBezTo>
                  <a:lnTo>
                    <a:pt x="38238" y="43203"/>
                  </a:lnTo>
                  <a:close/>
                  <a:moveTo>
                    <a:pt x="82279" y="0"/>
                  </a:moveTo>
                  <a:lnTo>
                    <a:pt x="66803" y="0"/>
                  </a:lnTo>
                  <a:cubicBezTo>
                    <a:pt x="66803" y="0"/>
                    <a:pt x="47265" y="28372"/>
                    <a:pt x="0" y="42816"/>
                  </a:cubicBezTo>
                  <a:cubicBezTo>
                    <a:pt x="0" y="42816"/>
                    <a:pt x="6126" y="57195"/>
                    <a:pt x="7544" y="58163"/>
                  </a:cubicBezTo>
                  <a:cubicBezTo>
                    <a:pt x="7544" y="58163"/>
                    <a:pt x="23471" y="51585"/>
                    <a:pt x="31725" y="47136"/>
                  </a:cubicBezTo>
                  <a:lnTo>
                    <a:pt x="31725" y="57002"/>
                  </a:lnTo>
                  <a:lnTo>
                    <a:pt x="117744" y="57002"/>
                  </a:lnTo>
                  <a:lnTo>
                    <a:pt x="117744" y="45524"/>
                  </a:lnTo>
                  <a:cubicBezTo>
                    <a:pt x="117744" y="45524"/>
                    <a:pt x="125611" y="49586"/>
                    <a:pt x="142763" y="55132"/>
                  </a:cubicBezTo>
                  <a:lnTo>
                    <a:pt x="149598" y="40946"/>
                  </a:lnTo>
                  <a:cubicBezTo>
                    <a:pt x="149534" y="41010"/>
                    <a:pt x="108846" y="31145"/>
                    <a:pt x="82279" y="0"/>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0" name="Freeform: Shape 349">
              <a:extLst>
                <a:ext uri="{FF2B5EF4-FFF2-40B4-BE49-F238E27FC236}">
                  <a16:creationId xmlns:a16="http://schemas.microsoft.com/office/drawing/2014/main" id="{D82A8183-7A04-4915-8A7E-192E7DDC75A2}"/>
                </a:ext>
              </a:extLst>
            </p:cNvPr>
            <p:cNvSpPr/>
            <p:nvPr/>
          </p:nvSpPr>
          <p:spPr>
            <a:xfrm>
              <a:off x="4901696" y="5039559"/>
              <a:ext cx="137217" cy="72541"/>
            </a:xfrm>
            <a:custGeom>
              <a:avLst/>
              <a:gdLst>
                <a:gd name="connsiteX0" fmla="*/ 95240 w 137217"/>
                <a:gd name="connsiteY0" fmla="*/ 20634 h 72541"/>
                <a:gd name="connsiteX1" fmla="*/ 83246 w 137217"/>
                <a:gd name="connsiteY1" fmla="*/ 29081 h 72541"/>
                <a:gd name="connsiteX2" fmla="*/ 101366 w 137217"/>
                <a:gd name="connsiteY2" fmla="*/ 46943 h 72541"/>
                <a:gd name="connsiteX3" fmla="*/ 43267 w 137217"/>
                <a:gd name="connsiteY3" fmla="*/ 52101 h 72541"/>
                <a:gd name="connsiteX4" fmla="*/ 62870 w 137217"/>
                <a:gd name="connsiteY4" fmla="*/ 14702 h 72541"/>
                <a:gd name="connsiteX5" fmla="*/ 136508 w 137217"/>
                <a:gd name="connsiteY5" fmla="*/ 14702 h 72541"/>
                <a:gd name="connsiteX6" fmla="*/ 136508 w 137217"/>
                <a:gd name="connsiteY6" fmla="*/ 0 h 72541"/>
                <a:gd name="connsiteX7" fmla="*/ 0 w 137217"/>
                <a:gd name="connsiteY7" fmla="*/ 0 h 72541"/>
                <a:gd name="connsiteX8" fmla="*/ 0 w 137217"/>
                <a:gd name="connsiteY8" fmla="*/ 14702 h 72541"/>
                <a:gd name="connsiteX9" fmla="*/ 44879 w 137217"/>
                <a:gd name="connsiteY9" fmla="*/ 14702 h 72541"/>
                <a:gd name="connsiteX10" fmla="*/ 24825 w 137217"/>
                <a:gd name="connsiteY10" fmla="*/ 52617 h 72541"/>
                <a:gd name="connsiteX11" fmla="*/ 3546 w 137217"/>
                <a:gd name="connsiteY11" fmla="*/ 53520 h 72541"/>
                <a:gd name="connsiteX12" fmla="*/ 6448 w 137217"/>
                <a:gd name="connsiteY12" fmla="*/ 69189 h 72541"/>
                <a:gd name="connsiteX13" fmla="*/ 112779 w 137217"/>
                <a:gd name="connsiteY13" fmla="*/ 59259 h 72541"/>
                <a:gd name="connsiteX14" fmla="*/ 124773 w 137217"/>
                <a:gd name="connsiteY14" fmla="*/ 72542 h 72541"/>
                <a:gd name="connsiteX15" fmla="*/ 137218 w 137217"/>
                <a:gd name="connsiteY15" fmla="*/ 62612 h 72541"/>
                <a:gd name="connsiteX16" fmla="*/ 95240 w 137217"/>
                <a:gd name="connsiteY16" fmla="*/ 20634 h 7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17" h="72541">
                  <a:moveTo>
                    <a:pt x="95240" y="20634"/>
                  </a:moveTo>
                  <a:lnTo>
                    <a:pt x="83246" y="29081"/>
                  </a:lnTo>
                  <a:cubicBezTo>
                    <a:pt x="83246" y="29081"/>
                    <a:pt x="94144" y="38496"/>
                    <a:pt x="101366" y="46943"/>
                  </a:cubicBezTo>
                  <a:cubicBezTo>
                    <a:pt x="101366" y="46943"/>
                    <a:pt x="75573" y="50876"/>
                    <a:pt x="43267" y="52101"/>
                  </a:cubicBezTo>
                  <a:cubicBezTo>
                    <a:pt x="43267" y="52101"/>
                    <a:pt x="53971" y="33724"/>
                    <a:pt x="62870" y="14702"/>
                  </a:cubicBezTo>
                  <a:lnTo>
                    <a:pt x="136508" y="14702"/>
                  </a:lnTo>
                  <a:lnTo>
                    <a:pt x="136508" y="0"/>
                  </a:lnTo>
                  <a:lnTo>
                    <a:pt x="0" y="0"/>
                  </a:lnTo>
                  <a:lnTo>
                    <a:pt x="0" y="14702"/>
                  </a:lnTo>
                  <a:lnTo>
                    <a:pt x="44879" y="14702"/>
                  </a:lnTo>
                  <a:cubicBezTo>
                    <a:pt x="44879" y="14702"/>
                    <a:pt x="33788" y="40817"/>
                    <a:pt x="24825" y="52617"/>
                  </a:cubicBezTo>
                  <a:cubicBezTo>
                    <a:pt x="24825" y="52617"/>
                    <a:pt x="5158" y="53907"/>
                    <a:pt x="3546" y="53520"/>
                  </a:cubicBezTo>
                  <a:lnTo>
                    <a:pt x="6448" y="69189"/>
                  </a:lnTo>
                  <a:cubicBezTo>
                    <a:pt x="6448" y="69189"/>
                    <a:pt x="88534" y="65191"/>
                    <a:pt x="112779" y="59259"/>
                  </a:cubicBezTo>
                  <a:cubicBezTo>
                    <a:pt x="112779" y="59259"/>
                    <a:pt x="122129" y="69447"/>
                    <a:pt x="124773" y="72542"/>
                  </a:cubicBezTo>
                  <a:lnTo>
                    <a:pt x="137218" y="62612"/>
                  </a:lnTo>
                  <a:cubicBezTo>
                    <a:pt x="137218" y="62612"/>
                    <a:pt x="110393" y="31467"/>
                    <a:pt x="95240" y="20634"/>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1" name="Freeform: Shape 350">
              <a:extLst>
                <a:ext uri="{FF2B5EF4-FFF2-40B4-BE49-F238E27FC236}">
                  <a16:creationId xmlns:a16="http://schemas.microsoft.com/office/drawing/2014/main" id="{CE267B81-0A89-4051-8733-0B284969094D}"/>
                </a:ext>
              </a:extLst>
            </p:cNvPr>
            <p:cNvSpPr/>
            <p:nvPr/>
          </p:nvSpPr>
          <p:spPr>
            <a:xfrm>
              <a:off x="5049811" y="4966501"/>
              <a:ext cx="74476" cy="149146"/>
            </a:xfrm>
            <a:custGeom>
              <a:avLst/>
              <a:gdLst>
                <a:gd name="connsiteX0" fmla="*/ 74477 w 74476"/>
                <a:gd name="connsiteY0" fmla="*/ 91242 h 149146"/>
                <a:gd name="connsiteX1" fmla="*/ 48684 w 74476"/>
                <a:gd name="connsiteY1" fmla="*/ 67899 h 149146"/>
                <a:gd name="connsiteX2" fmla="*/ 65062 w 74476"/>
                <a:gd name="connsiteY2" fmla="*/ 39140 h 149146"/>
                <a:gd name="connsiteX3" fmla="*/ 65062 w 74476"/>
                <a:gd name="connsiteY3" fmla="*/ 25341 h 149146"/>
                <a:gd name="connsiteX4" fmla="*/ 42945 w 74476"/>
                <a:gd name="connsiteY4" fmla="*/ 25341 h 149146"/>
                <a:gd name="connsiteX5" fmla="*/ 42945 w 74476"/>
                <a:gd name="connsiteY5" fmla="*/ 0 h 149146"/>
                <a:gd name="connsiteX6" fmla="*/ 27598 w 74476"/>
                <a:gd name="connsiteY6" fmla="*/ 0 h 149146"/>
                <a:gd name="connsiteX7" fmla="*/ 27598 w 74476"/>
                <a:gd name="connsiteY7" fmla="*/ 25148 h 149146"/>
                <a:gd name="connsiteX8" fmla="*/ 3675 w 74476"/>
                <a:gd name="connsiteY8" fmla="*/ 25148 h 149146"/>
                <a:gd name="connsiteX9" fmla="*/ 3675 w 74476"/>
                <a:gd name="connsiteY9" fmla="*/ 40301 h 149146"/>
                <a:gd name="connsiteX10" fmla="*/ 48877 w 74476"/>
                <a:gd name="connsiteY10" fmla="*/ 40301 h 149146"/>
                <a:gd name="connsiteX11" fmla="*/ 0 w 74476"/>
                <a:gd name="connsiteY11" fmla="*/ 95240 h 149146"/>
                <a:gd name="connsiteX12" fmla="*/ 6513 w 74476"/>
                <a:gd name="connsiteY12" fmla="*/ 110715 h 149146"/>
                <a:gd name="connsiteX13" fmla="*/ 29081 w 74476"/>
                <a:gd name="connsiteY13" fmla="*/ 90661 h 149146"/>
                <a:gd name="connsiteX14" fmla="*/ 29081 w 74476"/>
                <a:gd name="connsiteY14" fmla="*/ 149146 h 149146"/>
                <a:gd name="connsiteX15" fmla="*/ 43461 w 74476"/>
                <a:gd name="connsiteY15" fmla="*/ 149146 h 149146"/>
                <a:gd name="connsiteX16" fmla="*/ 43461 w 74476"/>
                <a:gd name="connsiteY16" fmla="*/ 83117 h 149146"/>
                <a:gd name="connsiteX17" fmla="*/ 65643 w 74476"/>
                <a:gd name="connsiteY17" fmla="*/ 103429 h 149146"/>
                <a:gd name="connsiteX18" fmla="*/ 74477 w 74476"/>
                <a:gd name="connsiteY18" fmla="*/ 91242 h 14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4476" h="149146">
                  <a:moveTo>
                    <a:pt x="74477" y="91242"/>
                  </a:moveTo>
                  <a:cubicBezTo>
                    <a:pt x="74477" y="91242"/>
                    <a:pt x="51328" y="73767"/>
                    <a:pt x="48684" y="67899"/>
                  </a:cubicBezTo>
                  <a:cubicBezTo>
                    <a:pt x="48684" y="67899"/>
                    <a:pt x="63515" y="46104"/>
                    <a:pt x="65062" y="39140"/>
                  </a:cubicBezTo>
                  <a:lnTo>
                    <a:pt x="65062" y="25341"/>
                  </a:lnTo>
                  <a:lnTo>
                    <a:pt x="42945" y="25341"/>
                  </a:lnTo>
                  <a:lnTo>
                    <a:pt x="42945" y="0"/>
                  </a:lnTo>
                  <a:lnTo>
                    <a:pt x="27598" y="0"/>
                  </a:lnTo>
                  <a:lnTo>
                    <a:pt x="27598" y="25148"/>
                  </a:lnTo>
                  <a:lnTo>
                    <a:pt x="3675" y="25148"/>
                  </a:lnTo>
                  <a:lnTo>
                    <a:pt x="3675" y="40301"/>
                  </a:lnTo>
                  <a:lnTo>
                    <a:pt x="48877" y="40301"/>
                  </a:lnTo>
                  <a:cubicBezTo>
                    <a:pt x="48877" y="40301"/>
                    <a:pt x="36432" y="69318"/>
                    <a:pt x="0" y="95240"/>
                  </a:cubicBezTo>
                  <a:lnTo>
                    <a:pt x="6513" y="110715"/>
                  </a:lnTo>
                  <a:cubicBezTo>
                    <a:pt x="6513" y="110715"/>
                    <a:pt x="23987" y="96465"/>
                    <a:pt x="29081" y="90661"/>
                  </a:cubicBezTo>
                  <a:lnTo>
                    <a:pt x="29081" y="149146"/>
                  </a:lnTo>
                  <a:lnTo>
                    <a:pt x="43461" y="149146"/>
                  </a:lnTo>
                  <a:lnTo>
                    <a:pt x="43461" y="83117"/>
                  </a:lnTo>
                  <a:cubicBezTo>
                    <a:pt x="43461" y="83117"/>
                    <a:pt x="57002" y="97883"/>
                    <a:pt x="65643" y="103429"/>
                  </a:cubicBezTo>
                  <a:lnTo>
                    <a:pt x="74477" y="9124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2" name="Freeform: Shape 351">
              <a:extLst>
                <a:ext uri="{FF2B5EF4-FFF2-40B4-BE49-F238E27FC236}">
                  <a16:creationId xmlns:a16="http://schemas.microsoft.com/office/drawing/2014/main" id="{E96B0C4C-9337-4169-894F-2F43B8C7BE9D}"/>
                </a:ext>
              </a:extLst>
            </p:cNvPr>
            <p:cNvSpPr/>
            <p:nvPr/>
          </p:nvSpPr>
          <p:spPr>
            <a:xfrm>
              <a:off x="5110682" y="4968371"/>
              <a:ext cx="88340" cy="140634"/>
            </a:xfrm>
            <a:custGeom>
              <a:avLst/>
              <a:gdLst>
                <a:gd name="connsiteX0" fmla="*/ 53262 w 88340"/>
                <a:gd name="connsiteY0" fmla="*/ 125933 h 140634"/>
                <a:gd name="connsiteX1" fmla="*/ 53262 w 88340"/>
                <a:gd name="connsiteY1" fmla="*/ 52359 h 140634"/>
                <a:gd name="connsiteX2" fmla="*/ 83827 w 88340"/>
                <a:gd name="connsiteY2" fmla="*/ 52359 h 140634"/>
                <a:gd name="connsiteX3" fmla="*/ 83827 w 88340"/>
                <a:gd name="connsiteY3" fmla="*/ 37528 h 140634"/>
                <a:gd name="connsiteX4" fmla="*/ 53262 w 88340"/>
                <a:gd name="connsiteY4" fmla="*/ 37528 h 140634"/>
                <a:gd name="connsiteX5" fmla="*/ 53262 w 88340"/>
                <a:gd name="connsiteY5" fmla="*/ 0 h 140634"/>
                <a:gd name="connsiteX6" fmla="*/ 37915 w 88340"/>
                <a:gd name="connsiteY6" fmla="*/ 0 h 140634"/>
                <a:gd name="connsiteX7" fmla="*/ 37915 w 88340"/>
                <a:gd name="connsiteY7" fmla="*/ 37528 h 140634"/>
                <a:gd name="connsiteX8" fmla="*/ 9157 w 88340"/>
                <a:gd name="connsiteY8" fmla="*/ 37528 h 140634"/>
                <a:gd name="connsiteX9" fmla="*/ 9157 w 88340"/>
                <a:gd name="connsiteY9" fmla="*/ 52359 h 140634"/>
                <a:gd name="connsiteX10" fmla="*/ 37915 w 88340"/>
                <a:gd name="connsiteY10" fmla="*/ 52359 h 140634"/>
                <a:gd name="connsiteX11" fmla="*/ 37915 w 88340"/>
                <a:gd name="connsiteY11" fmla="*/ 125933 h 140634"/>
                <a:gd name="connsiteX12" fmla="*/ 0 w 88340"/>
                <a:gd name="connsiteY12" fmla="*/ 125933 h 140634"/>
                <a:gd name="connsiteX13" fmla="*/ 0 w 88340"/>
                <a:gd name="connsiteY13" fmla="*/ 140635 h 140634"/>
                <a:gd name="connsiteX14" fmla="*/ 88340 w 88340"/>
                <a:gd name="connsiteY14" fmla="*/ 140635 h 140634"/>
                <a:gd name="connsiteX15" fmla="*/ 88340 w 88340"/>
                <a:gd name="connsiteY15" fmla="*/ 125933 h 14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340" h="140634">
                  <a:moveTo>
                    <a:pt x="53262" y="125933"/>
                  </a:moveTo>
                  <a:lnTo>
                    <a:pt x="53262" y="52359"/>
                  </a:lnTo>
                  <a:lnTo>
                    <a:pt x="83827" y="52359"/>
                  </a:lnTo>
                  <a:lnTo>
                    <a:pt x="83827" y="37528"/>
                  </a:lnTo>
                  <a:lnTo>
                    <a:pt x="53262" y="37528"/>
                  </a:lnTo>
                  <a:lnTo>
                    <a:pt x="53262" y="0"/>
                  </a:lnTo>
                  <a:lnTo>
                    <a:pt x="37915" y="0"/>
                  </a:lnTo>
                  <a:lnTo>
                    <a:pt x="37915" y="37528"/>
                  </a:lnTo>
                  <a:lnTo>
                    <a:pt x="9157" y="37528"/>
                  </a:lnTo>
                  <a:lnTo>
                    <a:pt x="9157" y="52359"/>
                  </a:lnTo>
                  <a:lnTo>
                    <a:pt x="37915" y="52359"/>
                  </a:lnTo>
                  <a:lnTo>
                    <a:pt x="37915" y="125933"/>
                  </a:lnTo>
                  <a:lnTo>
                    <a:pt x="0" y="125933"/>
                  </a:lnTo>
                  <a:lnTo>
                    <a:pt x="0" y="140635"/>
                  </a:lnTo>
                  <a:lnTo>
                    <a:pt x="88340" y="140635"/>
                  </a:lnTo>
                  <a:lnTo>
                    <a:pt x="88340" y="125933"/>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3" name="Freeform: Shape 352">
              <a:extLst>
                <a:ext uri="{FF2B5EF4-FFF2-40B4-BE49-F238E27FC236}">
                  <a16:creationId xmlns:a16="http://schemas.microsoft.com/office/drawing/2014/main" id="{912EB733-7EA0-47A2-8C19-339813B69552}"/>
                </a:ext>
              </a:extLst>
            </p:cNvPr>
            <p:cNvSpPr/>
            <p:nvPr/>
          </p:nvSpPr>
          <p:spPr>
            <a:xfrm>
              <a:off x="4104828" y="4995647"/>
              <a:ext cx="147083" cy="73380"/>
            </a:xfrm>
            <a:custGeom>
              <a:avLst/>
              <a:gdLst>
                <a:gd name="connsiteX0" fmla="*/ 0 w 147083"/>
                <a:gd name="connsiteY0" fmla="*/ 60032 h 73380"/>
                <a:gd name="connsiteX1" fmla="*/ 6900 w 147083"/>
                <a:gd name="connsiteY1" fmla="*/ 73380 h 73380"/>
                <a:gd name="connsiteX2" fmla="*/ 64095 w 147083"/>
                <a:gd name="connsiteY2" fmla="*/ 40366 h 73380"/>
                <a:gd name="connsiteX3" fmla="*/ 85310 w 147083"/>
                <a:gd name="connsiteY3" fmla="*/ 40366 h 73380"/>
                <a:gd name="connsiteX4" fmla="*/ 85374 w 147083"/>
                <a:gd name="connsiteY4" fmla="*/ 53713 h 73380"/>
                <a:gd name="connsiteX5" fmla="*/ 96594 w 147083"/>
                <a:gd name="connsiteY5" fmla="*/ 62805 h 73380"/>
                <a:gd name="connsiteX6" fmla="*/ 130834 w 147083"/>
                <a:gd name="connsiteY6" fmla="*/ 62805 h 73380"/>
                <a:gd name="connsiteX7" fmla="*/ 145149 w 147083"/>
                <a:gd name="connsiteY7" fmla="*/ 51779 h 73380"/>
                <a:gd name="connsiteX8" fmla="*/ 145729 w 147083"/>
                <a:gd name="connsiteY8" fmla="*/ 47716 h 73380"/>
                <a:gd name="connsiteX9" fmla="*/ 130318 w 147083"/>
                <a:gd name="connsiteY9" fmla="*/ 43074 h 73380"/>
                <a:gd name="connsiteX10" fmla="*/ 129544 w 147083"/>
                <a:gd name="connsiteY10" fmla="*/ 48232 h 73380"/>
                <a:gd name="connsiteX11" fmla="*/ 124321 w 147083"/>
                <a:gd name="connsiteY11" fmla="*/ 51650 h 73380"/>
                <a:gd name="connsiteX12" fmla="*/ 104783 w 147083"/>
                <a:gd name="connsiteY12" fmla="*/ 51650 h 73380"/>
                <a:gd name="connsiteX13" fmla="*/ 99883 w 147083"/>
                <a:gd name="connsiteY13" fmla="*/ 47974 h 73380"/>
                <a:gd name="connsiteX14" fmla="*/ 99883 w 147083"/>
                <a:gd name="connsiteY14" fmla="*/ 40301 h 73380"/>
                <a:gd name="connsiteX15" fmla="*/ 147083 w 147083"/>
                <a:gd name="connsiteY15" fmla="*/ 40301 h 73380"/>
                <a:gd name="connsiteX16" fmla="*/ 147083 w 147083"/>
                <a:gd name="connsiteY16" fmla="*/ 28565 h 73380"/>
                <a:gd name="connsiteX17" fmla="*/ 81699 w 147083"/>
                <a:gd name="connsiteY17" fmla="*/ 28565 h 73380"/>
                <a:gd name="connsiteX18" fmla="*/ 81699 w 147083"/>
                <a:gd name="connsiteY18" fmla="*/ 20183 h 73380"/>
                <a:gd name="connsiteX19" fmla="*/ 136121 w 147083"/>
                <a:gd name="connsiteY19" fmla="*/ 20183 h 73380"/>
                <a:gd name="connsiteX20" fmla="*/ 136121 w 147083"/>
                <a:gd name="connsiteY20" fmla="*/ 8641 h 73380"/>
                <a:gd name="connsiteX21" fmla="*/ 81699 w 147083"/>
                <a:gd name="connsiteY21" fmla="*/ 8641 h 73380"/>
                <a:gd name="connsiteX22" fmla="*/ 81699 w 147083"/>
                <a:gd name="connsiteY22" fmla="*/ 0 h 73380"/>
                <a:gd name="connsiteX23" fmla="*/ 66868 w 147083"/>
                <a:gd name="connsiteY23" fmla="*/ 0 h 73380"/>
                <a:gd name="connsiteX24" fmla="*/ 66868 w 147083"/>
                <a:gd name="connsiteY24" fmla="*/ 8318 h 73380"/>
                <a:gd name="connsiteX25" fmla="*/ 13477 w 147083"/>
                <a:gd name="connsiteY25" fmla="*/ 8318 h 73380"/>
                <a:gd name="connsiteX26" fmla="*/ 13477 w 147083"/>
                <a:gd name="connsiteY26" fmla="*/ 20247 h 73380"/>
                <a:gd name="connsiteX27" fmla="*/ 66868 w 147083"/>
                <a:gd name="connsiteY27" fmla="*/ 20247 h 73380"/>
                <a:gd name="connsiteX28" fmla="*/ 66868 w 147083"/>
                <a:gd name="connsiteY28" fmla="*/ 28630 h 73380"/>
                <a:gd name="connsiteX29" fmla="*/ 1612 w 147083"/>
                <a:gd name="connsiteY29" fmla="*/ 28630 h 73380"/>
                <a:gd name="connsiteX30" fmla="*/ 1612 w 147083"/>
                <a:gd name="connsiteY30" fmla="*/ 40366 h 73380"/>
                <a:gd name="connsiteX31" fmla="*/ 45202 w 147083"/>
                <a:gd name="connsiteY31" fmla="*/ 40366 h 73380"/>
                <a:gd name="connsiteX32" fmla="*/ 0 w 147083"/>
                <a:gd name="connsiteY32" fmla="*/ 60032 h 7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7083" h="73380">
                  <a:moveTo>
                    <a:pt x="0" y="60032"/>
                  </a:moveTo>
                  <a:lnTo>
                    <a:pt x="6900" y="73380"/>
                  </a:lnTo>
                  <a:cubicBezTo>
                    <a:pt x="6900" y="73380"/>
                    <a:pt x="41204" y="70414"/>
                    <a:pt x="64095" y="40366"/>
                  </a:cubicBezTo>
                  <a:lnTo>
                    <a:pt x="85310" y="40366"/>
                  </a:lnTo>
                  <a:lnTo>
                    <a:pt x="85374" y="53713"/>
                  </a:lnTo>
                  <a:cubicBezTo>
                    <a:pt x="85374" y="60806"/>
                    <a:pt x="89050" y="62805"/>
                    <a:pt x="96594" y="62805"/>
                  </a:cubicBezTo>
                  <a:lnTo>
                    <a:pt x="130834" y="62805"/>
                  </a:lnTo>
                  <a:cubicBezTo>
                    <a:pt x="139410" y="62805"/>
                    <a:pt x="145149" y="57324"/>
                    <a:pt x="145149" y="51779"/>
                  </a:cubicBezTo>
                  <a:lnTo>
                    <a:pt x="145729" y="47716"/>
                  </a:lnTo>
                  <a:lnTo>
                    <a:pt x="130318" y="43074"/>
                  </a:lnTo>
                  <a:lnTo>
                    <a:pt x="129544" y="48232"/>
                  </a:lnTo>
                  <a:cubicBezTo>
                    <a:pt x="129093" y="51263"/>
                    <a:pt x="125740" y="51650"/>
                    <a:pt x="124321" y="51650"/>
                  </a:cubicBezTo>
                  <a:lnTo>
                    <a:pt x="104783" y="51650"/>
                  </a:lnTo>
                  <a:cubicBezTo>
                    <a:pt x="100592" y="51650"/>
                    <a:pt x="99883" y="50167"/>
                    <a:pt x="99883" y="47974"/>
                  </a:cubicBezTo>
                  <a:lnTo>
                    <a:pt x="99883" y="40301"/>
                  </a:lnTo>
                  <a:lnTo>
                    <a:pt x="147083" y="40301"/>
                  </a:lnTo>
                  <a:lnTo>
                    <a:pt x="147083" y="28565"/>
                  </a:lnTo>
                  <a:lnTo>
                    <a:pt x="81699" y="28565"/>
                  </a:lnTo>
                  <a:lnTo>
                    <a:pt x="81699" y="20183"/>
                  </a:lnTo>
                  <a:lnTo>
                    <a:pt x="136121" y="20183"/>
                  </a:lnTo>
                  <a:lnTo>
                    <a:pt x="136121" y="8641"/>
                  </a:lnTo>
                  <a:lnTo>
                    <a:pt x="81699" y="8641"/>
                  </a:lnTo>
                  <a:lnTo>
                    <a:pt x="81699" y="0"/>
                  </a:lnTo>
                  <a:lnTo>
                    <a:pt x="66868" y="0"/>
                  </a:lnTo>
                  <a:lnTo>
                    <a:pt x="66868" y="8318"/>
                  </a:lnTo>
                  <a:lnTo>
                    <a:pt x="13477" y="8318"/>
                  </a:lnTo>
                  <a:lnTo>
                    <a:pt x="13477" y="20247"/>
                  </a:lnTo>
                  <a:lnTo>
                    <a:pt x="66868" y="20247"/>
                  </a:lnTo>
                  <a:lnTo>
                    <a:pt x="66868" y="28630"/>
                  </a:lnTo>
                  <a:lnTo>
                    <a:pt x="1612" y="28630"/>
                  </a:lnTo>
                  <a:lnTo>
                    <a:pt x="1612" y="40366"/>
                  </a:lnTo>
                  <a:lnTo>
                    <a:pt x="45202" y="40366"/>
                  </a:lnTo>
                  <a:cubicBezTo>
                    <a:pt x="45202" y="40301"/>
                    <a:pt x="39334" y="53455"/>
                    <a:pt x="0" y="60032"/>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4" name="Freeform: Shape 353">
              <a:extLst>
                <a:ext uri="{FF2B5EF4-FFF2-40B4-BE49-F238E27FC236}">
                  <a16:creationId xmlns:a16="http://schemas.microsoft.com/office/drawing/2014/main" id="{65F9C6CF-DDBA-4D18-ADD6-FE7DFD153B83}"/>
                </a:ext>
              </a:extLst>
            </p:cNvPr>
            <p:cNvSpPr/>
            <p:nvPr/>
          </p:nvSpPr>
          <p:spPr>
            <a:xfrm>
              <a:off x="4107214" y="4967791"/>
              <a:ext cx="145729" cy="31918"/>
            </a:xfrm>
            <a:custGeom>
              <a:avLst/>
              <a:gdLst>
                <a:gd name="connsiteX0" fmla="*/ 35401 w 145729"/>
                <a:gd name="connsiteY0" fmla="*/ 31918 h 31918"/>
                <a:gd name="connsiteX1" fmla="*/ 50425 w 145729"/>
                <a:gd name="connsiteY1" fmla="*/ 31918 h 31918"/>
                <a:gd name="connsiteX2" fmla="*/ 50425 w 145729"/>
                <a:gd name="connsiteY2" fmla="*/ 22375 h 31918"/>
                <a:gd name="connsiteX3" fmla="*/ 94724 w 145729"/>
                <a:gd name="connsiteY3" fmla="*/ 22375 h 31918"/>
                <a:gd name="connsiteX4" fmla="*/ 94724 w 145729"/>
                <a:gd name="connsiteY4" fmla="*/ 31918 h 31918"/>
                <a:gd name="connsiteX5" fmla="*/ 109555 w 145729"/>
                <a:gd name="connsiteY5" fmla="*/ 31918 h 31918"/>
                <a:gd name="connsiteX6" fmla="*/ 109555 w 145729"/>
                <a:gd name="connsiteY6" fmla="*/ 22375 h 31918"/>
                <a:gd name="connsiteX7" fmla="*/ 145729 w 145729"/>
                <a:gd name="connsiteY7" fmla="*/ 22375 h 31918"/>
                <a:gd name="connsiteX8" fmla="*/ 145729 w 145729"/>
                <a:gd name="connsiteY8" fmla="*/ 9995 h 31918"/>
                <a:gd name="connsiteX9" fmla="*/ 109555 w 145729"/>
                <a:gd name="connsiteY9" fmla="*/ 9866 h 31918"/>
                <a:gd name="connsiteX10" fmla="*/ 109555 w 145729"/>
                <a:gd name="connsiteY10" fmla="*/ 0 h 31918"/>
                <a:gd name="connsiteX11" fmla="*/ 94724 w 145729"/>
                <a:gd name="connsiteY11" fmla="*/ 0 h 31918"/>
                <a:gd name="connsiteX12" fmla="*/ 94724 w 145729"/>
                <a:gd name="connsiteY12" fmla="*/ 9801 h 31918"/>
                <a:gd name="connsiteX13" fmla="*/ 50425 w 145729"/>
                <a:gd name="connsiteY13" fmla="*/ 9801 h 31918"/>
                <a:gd name="connsiteX14" fmla="*/ 50425 w 145729"/>
                <a:gd name="connsiteY14" fmla="*/ 0 h 31918"/>
                <a:gd name="connsiteX15" fmla="*/ 35207 w 145729"/>
                <a:gd name="connsiteY15" fmla="*/ 0 h 31918"/>
                <a:gd name="connsiteX16" fmla="*/ 35207 w 145729"/>
                <a:gd name="connsiteY16" fmla="*/ 9995 h 31918"/>
                <a:gd name="connsiteX17" fmla="*/ 0 w 145729"/>
                <a:gd name="connsiteY17" fmla="*/ 9995 h 31918"/>
                <a:gd name="connsiteX18" fmla="*/ 0 w 145729"/>
                <a:gd name="connsiteY18" fmla="*/ 22375 h 31918"/>
                <a:gd name="connsiteX19" fmla="*/ 35401 w 145729"/>
                <a:gd name="connsiteY19" fmla="*/ 22375 h 3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5729" h="31918">
                  <a:moveTo>
                    <a:pt x="35401" y="31918"/>
                  </a:moveTo>
                  <a:lnTo>
                    <a:pt x="50425" y="31918"/>
                  </a:lnTo>
                  <a:lnTo>
                    <a:pt x="50425" y="22375"/>
                  </a:lnTo>
                  <a:lnTo>
                    <a:pt x="94724" y="22375"/>
                  </a:lnTo>
                  <a:lnTo>
                    <a:pt x="94724" y="31918"/>
                  </a:lnTo>
                  <a:lnTo>
                    <a:pt x="109555" y="31918"/>
                  </a:lnTo>
                  <a:lnTo>
                    <a:pt x="109555" y="22375"/>
                  </a:lnTo>
                  <a:lnTo>
                    <a:pt x="145729" y="22375"/>
                  </a:lnTo>
                  <a:lnTo>
                    <a:pt x="145729" y="9995"/>
                  </a:lnTo>
                  <a:lnTo>
                    <a:pt x="109555" y="9866"/>
                  </a:lnTo>
                  <a:lnTo>
                    <a:pt x="109555" y="0"/>
                  </a:lnTo>
                  <a:lnTo>
                    <a:pt x="94724" y="0"/>
                  </a:lnTo>
                  <a:lnTo>
                    <a:pt x="94724" y="9801"/>
                  </a:lnTo>
                  <a:lnTo>
                    <a:pt x="50425" y="9801"/>
                  </a:lnTo>
                  <a:lnTo>
                    <a:pt x="50425" y="0"/>
                  </a:lnTo>
                  <a:lnTo>
                    <a:pt x="35207" y="0"/>
                  </a:lnTo>
                  <a:lnTo>
                    <a:pt x="35207" y="9995"/>
                  </a:lnTo>
                  <a:lnTo>
                    <a:pt x="0" y="9995"/>
                  </a:lnTo>
                  <a:lnTo>
                    <a:pt x="0" y="22375"/>
                  </a:lnTo>
                  <a:lnTo>
                    <a:pt x="35401" y="22375"/>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5" name="Freeform: Shape 354">
              <a:extLst>
                <a:ext uri="{FF2B5EF4-FFF2-40B4-BE49-F238E27FC236}">
                  <a16:creationId xmlns:a16="http://schemas.microsoft.com/office/drawing/2014/main" id="{AE60ED9E-F509-4479-BC8B-9F99E9090032}"/>
                </a:ext>
              </a:extLst>
            </p:cNvPr>
            <p:cNvSpPr/>
            <p:nvPr/>
          </p:nvSpPr>
          <p:spPr>
            <a:xfrm>
              <a:off x="4106956" y="5050134"/>
              <a:ext cx="146180" cy="65771"/>
            </a:xfrm>
            <a:custGeom>
              <a:avLst/>
              <a:gdLst>
                <a:gd name="connsiteX0" fmla="*/ 74799 w 146180"/>
                <a:gd name="connsiteY0" fmla="*/ 40301 h 65771"/>
                <a:gd name="connsiteX1" fmla="*/ 52166 w 146180"/>
                <a:gd name="connsiteY1" fmla="*/ 26695 h 65771"/>
                <a:gd name="connsiteX2" fmla="*/ 99625 w 146180"/>
                <a:gd name="connsiteY2" fmla="*/ 26695 h 65771"/>
                <a:gd name="connsiteX3" fmla="*/ 74799 w 146180"/>
                <a:gd name="connsiteY3" fmla="*/ 40301 h 65771"/>
                <a:gd name="connsiteX4" fmla="*/ 95820 w 146180"/>
                <a:gd name="connsiteY4" fmla="*/ 45395 h 65771"/>
                <a:gd name="connsiteX5" fmla="*/ 122258 w 146180"/>
                <a:gd name="connsiteY5" fmla="*/ 25535 h 65771"/>
                <a:gd name="connsiteX6" fmla="*/ 122258 w 146180"/>
                <a:gd name="connsiteY6" fmla="*/ 15024 h 65771"/>
                <a:gd name="connsiteX7" fmla="*/ 64482 w 146180"/>
                <a:gd name="connsiteY7" fmla="*/ 15153 h 65771"/>
                <a:gd name="connsiteX8" fmla="*/ 76669 w 146180"/>
                <a:gd name="connsiteY8" fmla="*/ 2708 h 65771"/>
                <a:gd name="connsiteX9" fmla="*/ 61322 w 146180"/>
                <a:gd name="connsiteY9" fmla="*/ 0 h 65771"/>
                <a:gd name="connsiteX10" fmla="*/ 580 w 146180"/>
                <a:gd name="connsiteY10" fmla="*/ 30113 h 65771"/>
                <a:gd name="connsiteX11" fmla="*/ 7544 w 146180"/>
                <a:gd name="connsiteY11" fmla="*/ 42751 h 65771"/>
                <a:gd name="connsiteX12" fmla="*/ 38431 w 146180"/>
                <a:gd name="connsiteY12" fmla="*/ 32950 h 65771"/>
                <a:gd name="connsiteX13" fmla="*/ 54810 w 146180"/>
                <a:gd name="connsiteY13" fmla="*/ 45782 h 65771"/>
                <a:gd name="connsiteX14" fmla="*/ 0 w 146180"/>
                <a:gd name="connsiteY14" fmla="*/ 51392 h 65771"/>
                <a:gd name="connsiteX15" fmla="*/ 7222 w 146180"/>
                <a:gd name="connsiteY15" fmla="*/ 65771 h 65771"/>
                <a:gd name="connsiteX16" fmla="*/ 73574 w 146180"/>
                <a:gd name="connsiteY16" fmla="*/ 54294 h 65771"/>
                <a:gd name="connsiteX17" fmla="*/ 92532 w 146180"/>
                <a:gd name="connsiteY17" fmla="*/ 59259 h 65771"/>
                <a:gd name="connsiteX18" fmla="*/ 139732 w 146180"/>
                <a:gd name="connsiteY18" fmla="*/ 64998 h 65771"/>
                <a:gd name="connsiteX19" fmla="*/ 146181 w 146180"/>
                <a:gd name="connsiteY19" fmla="*/ 49457 h 65771"/>
                <a:gd name="connsiteX20" fmla="*/ 95820 w 146180"/>
                <a:gd name="connsiteY20" fmla="*/ 45395 h 6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180" h="65771">
                  <a:moveTo>
                    <a:pt x="74799" y="40301"/>
                  </a:moveTo>
                  <a:cubicBezTo>
                    <a:pt x="65901" y="37593"/>
                    <a:pt x="56293" y="31854"/>
                    <a:pt x="52166" y="26695"/>
                  </a:cubicBezTo>
                  <a:lnTo>
                    <a:pt x="99625" y="26695"/>
                  </a:lnTo>
                  <a:cubicBezTo>
                    <a:pt x="94982" y="31274"/>
                    <a:pt x="84278" y="36561"/>
                    <a:pt x="74799" y="40301"/>
                  </a:cubicBezTo>
                  <a:moveTo>
                    <a:pt x="95820" y="45395"/>
                  </a:moveTo>
                  <a:cubicBezTo>
                    <a:pt x="100463" y="42816"/>
                    <a:pt x="119098" y="30113"/>
                    <a:pt x="122258" y="25535"/>
                  </a:cubicBezTo>
                  <a:lnTo>
                    <a:pt x="122258" y="15024"/>
                  </a:lnTo>
                  <a:lnTo>
                    <a:pt x="64482" y="15153"/>
                  </a:lnTo>
                  <a:cubicBezTo>
                    <a:pt x="69641" y="11155"/>
                    <a:pt x="72026" y="8060"/>
                    <a:pt x="76669" y="2708"/>
                  </a:cubicBezTo>
                  <a:lnTo>
                    <a:pt x="61322" y="0"/>
                  </a:lnTo>
                  <a:cubicBezTo>
                    <a:pt x="61322" y="0"/>
                    <a:pt x="48297" y="19989"/>
                    <a:pt x="580" y="30113"/>
                  </a:cubicBezTo>
                  <a:lnTo>
                    <a:pt x="7544" y="42751"/>
                  </a:lnTo>
                  <a:cubicBezTo>
                    <a:pt x="7544" y="42751"/>
                    <a:pt x="21215" y="40301"/>
                    <a:pt x="38431" y="32950"/>
                  </a:cubicBezTo>
                  <a:cubicBezTo>
                    <a:pt x="38431" y="32950"/>
                    <a:pt x="44428" y="37722"/>
                    <a:pt x="54810" y="45782"/>
                  </a:cubicBezTo>
                  <a:cubicBezTo>
                    <a:pt x="29791" y="51972"/>
                    <a:pt x="12961" y="51392"/>
                    <a:pt x="0" y="51392"/>
                  </a:cubicBezTo>
                  <a:lnTo>
                    <a:pt x="7222" y="65771"/>
                  </a:lnTo>
                  <a:cubicBezTo>
                    <a:pt x="29210" y="65127"/>
                    <a:pt x="52875" y="60226"/>
                    <a:pt x="73574" y="54294"/>
                  </a:cubicBezTo>
                  <a:cubicBezTo>
                    <a:pt x="77249" y="55390"/>
                    <a:pt x="88405" y="58549"/>
                    <a:pt x="92532" y="59259"/>
                  </a:cubicBezTo>
                  <a:cubicBezTo>
                    <a:pt x="92532" y="59259"/>
                    <a:pt x="124579" y="65449"/>
                    <a:pt x="139732" y="64998"/>
                  </a:cubicBezTo>
                  <a:lnTo>
                    <a:pt x="146181" y="49457"/>
                  </a:lnTo>
                  <a:cubicBezTo>
                    <a:pt x="134896" y="49393"/>
                    <a:pt x="109619" y="49522"/>
                    <a:pt x="95820" y="45395"/>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6" name="Freeform: Shape 355">
              <a:extLst>
                <a:ext uri="{FF2B5EF4-FFF2-40B4-BE49-F238E27FC236}">
                  <a16:creationId xmlns:a16="http://schemas.microsoft.com/office/drawing/2014/main" id="{DCA95842-227E-4CBC-941B-A5651C3934FC}"/>
                </a:ext>
              </a:extLst>
            </p:cNvPr>
            <p:cNvSpPr/>
            <p:nvPr/>
          </p:nvSpPr>
          <p:spPr>
            <a:xfrm>
              <a:off x="4285055" y="5010800"/>
              <a:ext cx="36109" cy="7221"/>
            </a:xfrm>
            <a:custGeom>
              <a:avLst/>
              <a:gdLst>
                <a:gd name="connsiteX0" fmla="*/ 0 w 36109"/>
                <a:gd name="connsiteY0" fmla="*/ 0 h 7221"/>
                <a:gd name="connsiteX1" fmla="*/ 36110 w 36109"/>
                <a:gd name="connsiteY1" fmla="*/ 0 h 7221"/>
                <a:gd name="connsiteX2" fmla="*/ 36110 w 36109"/>
                <a:gd name="connsiteY2" fmla="*/ 7222 h 7221"/>
                <a:gd name="connsiteX3" fmla="*/ 0 w 36109"/>
                <a:gd name="connsiteY3" fmla="*/ 7222 h 7221"/>
              </a:gdLst>
              <a:ahLst/>
              <a:cxnLst>
                <a:cxn ang="0">
                  <a:pos x="connsiteX0" y="connsiteY0"/>
                </a:cxn>
                <a:cxn ang="0">
                  <a:pos x="connsiteX1" y="connsiteY1"/>
                </a:cxn>
                <a:cxn ang="0">
                  <a:pos x="connsiteX2" y="connsiteY2"/>
                </a:cxn>
                <a:cxn ang="0">
                  <a:pos x="connsiteX3" y="connsiteY3"/>
                </a:cxn>
              </a:cxnLst>
              <a:rect l="l" t="t" r="r" b="b"/>
              <a:pathLst>
                <a:path w="36109" h="7221">
                  <a:moveTo>
                    <a:pt x="0" y="0"/>
                  </a:moveTo>
                  <a:lnTo>
                    <a:pt x="36110" y="0"/>
                  </a:lnTo>
                  <a:lnTo>
                    <a:pt x="36110" y="7222"/>
                  </a:lnTo>
                  <a:lnTo>
                    <a:pt x="0" y="722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7" name="Freeform: Shape 356">
              <a:extLst>
                <a:ext uri="{FF2B5EF4-FFF2-40B4-BE49-F238E27FC236}">
                  <a16:creationId xmlns:a16="http://schemas.microsoft.com/office/drawing/2014/main" id="{CF9CE646-8457-4084-9B86-D29ABC64DBD0}"/>
                </a:ext>
              </a:extLst>
            </p:cNvPr>
            <p:cNvSpPr/>
            <p:nvPr/>
          </p:nvSpPr>
          <p:spPr>
            <a:xfrm>
              <a:off x="4285055" y="5025502"/>
              <a:ext cx="36109" cy="7221"/>
            </a:xfrm>
            <a:custGeom>
              <a:avLst/>
              <a:gdLst>
                <a:gd name="connsiteX0" fmla="*/ 0 w 36109"/>
                <a:gd name="connsiteY0" fmla="*/ 0 h 7221"/>
                <a:gd name="connsiteX1" fmla="*/ 36110 w 36109"/>
                <a:gd name="connsiteY1" fmla="*/ 0 h 7221"/>
                <a:gd name="connsiteX2" fmla="*/ 36110 w 36109"/>
                <a:gd name="connsiteY2" fmla="*/ 7222 h 7221"/>
                <a:gd name="connsiteX3" fmla="*/ 0 w 36109"/>
                <a:gd name="connsiteY3" fmla="*/ 7222 h 7221"/>
              </a:gdLst>
              <a:ahLst/>
              <a:cxnLst>
                <a:cxn ang="0">
                  <a:pos x="connsiteX0" y="connsiteY0"/>
                </a:cxn>
                <a:cxn ang="0">
                  <a:pos x="connsiteX1" y="connsiteY1"/>
                </a:cxn>
                <a:cxn ang="0">
                  <a:pos x="connsiteX2" y="connsiteY2"/>
                </a:cxn>
                <a:cxn ang="0">
                  <a:pos x="connsiteX3" y="connsiteY3"/>
                </a:cxn>
              </a:cxnLst>
              <a:rect l="l" t="t" r="r" b="b"/>
              <a:pathLst>
                <a:path w="36109" h="7221">
                  <a:moveTo>
                    <a:pt x="0" y="0"/>
                  </a:moveTo>
                  <a:lnTo>
                    <a:pt x="36110" y="0"/>
                  </a:lnTo>
                  <a:lnTo>
                    <a:pt x="36110" y="7222"/>
                  </a:lnTo>
                  <a:lnTo>
                    <a:pt x="0" y="722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8" name="Freeform: Shape 357">
              <a:extLst>
                <a:ext uri="{FF2B5EF4-FFF2-40B4-BE49-F238E27FC236}">
                  <a16:creationId xmlns:a16="http://schemas.microsoft.com/office/drawing/2014/main" id="{904B872E-23DC-4EA8-8D46-E60D4458DBAF}"/>
                </a:ext>
              </a:extLst>
            </p:cNvPr>
            <p:cNvSpPr/>
            <p:nvPr/>
          </p:nvSpPr>
          <p:spPr>
            <a:xfrm>
              <a:off x="4349666" y="5010800"/>
              <a:ext cx="36109" cy="7221"/>
            </a:xfrm>
            <a:custGeom>
              <a:avLst/>
              <a:gdLst>
                <a:gd name="connsiteX0" fmla="*/ 0 w 36109"/>
                <a:gd name="connsiteY0" fmla="*/ 0 h 7221"/>
                <a:gd name="connsiteX1" fmla="*/ 36110 w 36109"/>
                <a:gd name="connsiteY1" fmla="*/ 0 h 7221"/>
                <a:gd name="connsiteX2" fmla="*/ 36110 w 36109"/>
                <a:gd name="connsiteY2" fmla="*/ 7222 h 7221"/>
                <a:gd name="connsiteX3" fmla="*/ 0 w 36109"/>
                <a:gd name="connsiteY3" fmla="*/ 7222 h 7221"/>
              </a:gdLst>
              <a:ahLst/>
              <a:cxnLst>
                <a:cxn ang="0">
                  <a:pos x="connsiteX0" y="connsiteY0"/>
                </a:cxn>
                <a:cxn ang="0">
                  <a:pos x="connsiteX1" y="connsiteY1"/>
                </a:cxn>
                <a:cxn ang="0">
                  <a:pos x="connsiteX2" y="connsiteY2"/>
                </a:cxn>
                <a:cxn ang="0">
                  <a:pos x="connsiteX3" y="connsiteY3"/>
                </a:cxn>
              </a:cxnLst>
              <a:rect l="l" t="t" r="r" b="b"/>
              <a:pathLst>
                <a:path w="36109" h="7221">
                  <a:moveTo>
                    <a:pt x="0" y="0"/>
                  </a:moveTo>
                  <a:lnTo>
                    <a:pt x="36110" y="0"/>
                  </a:lnTo>
                  <a:lnTo>
                    <a:pt x="36110" y="7222"/>
                  </a:lnTo>
                  <a:lnTo>
                    <a:pt x="0" y="722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59" name="Freeform: Shape 358">
              <a:extLst>
                <a:ext uri="{FF2B5EF4-FFF2-40B4-BE49-F238E27FC236}">
                  <a16:creationId xmlns:a16="http://schemas.microsoft.com/office/drawing/2014/main" id="{E2B34F4A-FCAC-46FA-AA23-63B676CDCC75}"/>
                </a:ext>
              </a:extLst>
            </p:cNvPr>
            <p:cNvSpPr/>
            <p:nvPr/>
          </p:nvSpPr>
          <p:spPr>
            <a:xfrm>
              <a:off x="4349666" y="5025502"/>
              <a:ext cx="36109" cy="7221"/>
            </a:xfrm>
            <a:custGeom>
              <a:avLst/>
              <a:gdLst>
                <a:gd name="connsiteX0" fmla="*/ 0 w 36109"/>
                <a:gd name="connsiteY0" fmla="*/ 0 h 7221"/>
                <a:gd name="connsiteX1" fmla="*/ 36110 w 36109"/>
                <a:gd name="connsiteY1" fmla="*/ 0 h 7221"/>
                <a:gd name="connsiteX2" fmla="*/ 36110 w 36109"/>
                <a:gd name="connsiteY2" fmla="*/ 7222 h 7221"/>
                <a:gd name="connsiteX3" fmla="*/ 0 w 36109"/>
                <a:gd name="connsiteY3" fmla="*/ 7222 h 7221"/>
              </a:gdLst>
              <a:ahLst/>
              <a:cxnLst>
                <a:cxn ang="0">
                  <a:pos x="connsiteX0" y="connsiteY0"/>
                </a:cxn>
                <a:cxn ang="0">
                  <a:pos x="connsiteX1" y="connsiteY1"/>
                </a:cxn>
                <a:cxn ang="0">
                  <a:pos x="connsiteX2" y="connsiteY2"/>
                </a:cxn>
                <a:cxn ang="0">
                  <a:pos x="connsiteX3" y="connsiteY3"/>
                </a:cxn>
              </a:cxnLst>
              <a:rect l="l" t="t" r="r" b="b"/>
              <a:pathLst>
                <a:path w="36109" h="7221">
                  <a:moveTo>
                    <a:pt x="0" y="0"/>
                  </a:moveTo>
                  <a:lnTo>
                    <a:pt x="36110" y="0"/>
                  </a:lnTo>
                  <a:lnTo>
                    <a:pt x="36110" y="7222"/>
                  </a:lnTo>
                  <a:lnTo>
                    <a:pt x="0" y="722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60" name="Freeform: Shape 359">
              <a:extLst>
                <a:ext uri="{FF2B5EF4-FFF2-40B4-BE49-F238E27FC236}">
                  <a16:creationId xmlns:a16="http://schemas.microsoft.com/office/drawing/2014/main" id="{B7EB8772-E998-4787-8A8F-E778330FE340}"/>
                </a:ext>
              </a:extLst>
            </p:cNvPr>
            <p:cNvSpPr/>
            <p:nvPr/>
          </p:nvSpPr>
          <p:spPr>
            <a:xfrm>
              <a:off x="4274222" y="5047328"/>
              <a:ext cx="135734" cy="74927"/>
            </a:xfrm>
            <a:custGeom>
              <a:avLst/>
              <a:gdLst>
                <a:gd name="connsiteX0" fmla="*/ 119421 w 135734"/>
                <a:gd name="connsiteY0" fmla="*/ 56744 h 74927"/>
                <a:gd name="connsiteX1" fmla="*/ 110716 w 135734"/>
                <a:gd name="connsiteY1" fmla="*/ 62547 h 74927"/>
                <a:gd name="connsiteX2" fmla="*/ 74090 w 135734"/>
                <a:gd name="connsiteY2" fmla="*/ 62547 h 74927"/>
                <a:gd name="connsiteX3" fmla="*/ 68028 w 135734"/>
                <a:gd name="connsiteY3" fmla="*/ 57776 h 74927"/>
                <a:gd name="connsiteX4" fmla="*/ 68028 w 135734"/>
                <a:gd name="connsiteY4" fmla="*/ 51972 h 74927"/>
                <a:gd name="connsiteX5" fmla="*/ 120194 w 135734"/>
                <a:gd name="connsiteY5" fmla="*/ 51972 h 74927"/>
                <a:gd name="connsiteX6" fmla="*/ 119421 w 135734"/>
                <a:gd name="connsiteY6" fmla="*/ 56744 h 74927"/>
                <a:gd name="connsiteX7" fmla="*/ 67964 w 135734"/>
                <a:gd name="connsiteY7" fmla="*/ 30113 h 74927"/>
                <a:gd name="connsiteX8" fmla="*/ 108007 w 135734"/>
                <a:gd name="connsiteY8" fmla="*/ 30113 h 74927"/>
                <a:gd name="connsiteX9" fmla="*/ 108007 w 135734"/>
                <a:gd name="connsiteY9" fmla="*/ 40495 h 74927"/>
                <a:gd name="connsiteX10" fmla="*/ 67964 w 135734"/>
                <a:gd name="connsiteY10" fmla="*/ 40495 h 74927"/>
                <a:gd name="connsiteX11" fmla="*/ 67964 w 135734"/>
                <a:gd name="connsiteY11" fmla="*/ 30113 h 74927"/>
                <a:gd name="connsiteX12" fmla="*/ 67964 w 135734"/>
                <a:gd name="connsiteY12" fmla="*/ 11026 h 74927"/>
                <a:gd name="connsiteX13" fmla="*/ 108007 w 135734"/>
                <a:gd name="connsiteY13" fmla="*/ 11026 h 74927"/>
                <a:gd name="connsiteX14" fmla="*/ 108007 w 135734"/>
                <a:gd name="connsiteY14" fmla="*/ 19796 h 74927"/>
                <a:gd name="connsiteX15" fmla="*/ 67964 w 135734"/>
                <a:gd name="connsiteY15" fmla="*/ 19796 h 74927"/>
                <a:gd name="connsiteX16" fmla="*/ 67964 w 135734"/>
                <a:gd name="connsiteY16" fmla="*/ 11026 h 74927"/>
                <a:gd name="connsiteX17" fmla="*/ 53327 w 135734"/>
                <a:gd name="connsiteY17" fmla="*/ 19860 h 74927"/>
                <a:gd name="connsiteX18" fmla="*/ 13928 w 135734"/>
                <a:gd name="connsiteY18" fmla="*/ 19796 h 74927"/>
                <a:gd name="connsiteX19" fmla="*/ 13928 w 135734"/>
                <a:gd name="connsiteY19" fmla="*/ 11026 h 74927"/>
                <a:gd name="connsiteX20" fmla="*/ 53327 w 135734"/>
                <a:gd name="connsiteY20" fmla="*/ 11026 h 74927"/>
                <a:gd name="connsiteX21" fmla="*/ 53327 w 135734"/>
                <a:gd name="connsiteY21" fmla="*/ 19860 h 74927"/>
                <a:gd name="connsiteX22" fmla="*/ 53327 w 135734"/>
                <a:gd name="connsiteY22" fmla="*/ 40559 h 74927"/>
                <a:gd name="connsiteX23" fmla="*/ 13928 w 135734"/>
                <a:gd name="connsiteY23" fmla="*/ 40559 h 74927"/>
                <a:gd name="connsiteX24" fmla="*/ 13928 w 135734"/>
                <a:gd name="connsiteY24" fmla="*/ 30177 h 74927"/>
                <a:gd name="connsiteX25" fmla="*/ 53327 w 135734"/>
                <a:gd name="connsiteY25" fmla="*/ 30177 h 74927"/>
                <a:gd name="connsiteX26" fmla="*/ 53327 w 135734"/>
                <a:gd name="connsiteY26" fmla="*/ 40559 h 74927"/>
                <a:gd name="connsiteX27" fmla="*/ 121935 w 135734"/>
                <a:gd name="connsiteY27" fmla="*/ 0 h 74927"/>
                <a:gd name="connsiteX28" fmla="*/ 0 w 135734"/>
                <a:gd name="connsiteY28" fmla="*/ 0 h 74927"/>
                <a:gd name="connsiteX29" fmla="*/ 0 w 135734"/>
                <a:gd name="connsiteY29" fmla="*/ 61064 h 74927"/>
                <a:gd name="connsiteX30" fmla="*/ 13993 w 135734"/>
                <a:gd name="connsiteY30" fmla="*/ 61064 h 74927"/>
                <a:gd name="connsiteX31" fmla="*/ 13993 w 135734"/>
                <a:gd name="connsiteY31" fmla="*/ 51908 h 74927"/>
                <a:gd name="connsiteX32" fmla="*/ 53391 w 135734"/>
                <a:gd name="connsiteY32" fmla="*/ 51908 h 74927"/>
                <a:gd name="connsiteX33" fmla="*/ 53391 w 135734"/>
                <a:gd name="connsiteY33" fmla="*/ 63128 h 74927"/>
                <a:gd name="connsiteX34" fmla="*/ 69705 w 135734"/>
                <a:gd name="connsiteY34" fmla="*/ 74928 h 74927"/>
                <a:gd name="connsiteX35" fmla="*/ 112843 w 135734"/>
                <a:gd name="connsiteY35" fmla="*/ 74928 h 74927"/>
                <a:gd name="connsiteX36" fmla="*/ 134574 w 135734"/>
                <a:gd name="connsiteY36" fmla="*/ 60033 h 74927"/>
                <a:gd name="connsiteX37" fmla="*/ 135735 w 135734"/>
                <a:gd name="connsiteY37" fmla="*/ 48490 h 74927"/>
                <a:gd name="connsiteX38" fmla="*/ 122000 w 135734"/>
                <a:gd name="connsiteY38" fmla="*/ 43332 h 74927"/>
                <a:gd name="connsiteX39" fmla="*/ 122000 w 135734"/>
                <a:gd name="connsiteY39" fmla="*/ 0 h 7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5734" h="74927">
                  <a:moveTo>
                    <a:pt x="119421" y="56744"/>
                  </a:moveTo>
                  <a:cubicBezTo>
                    <a:pt x="118905" y="58936"/>
                    <a:pt x="117615" y="62547"/>
                    <a:pt x="110716" y="62547"/>
                  </a:cubicBezTo>
                  <a:lnTo>
                    <a:pt x="74090" y="62547"/>
                  </a:lnTo>
                  <a:cubicBezTo>
                    <a:pt x="68802" y="62547"/>
                    <a:pt x="68028" y="60742"/>
                    <a:pt x="68028" y="57776"/>
                  </a:cubicBezTo>
                  <a:lnTo>
                    <a:pt x="68028" y="51972"/>
                  </a:lnTo>
                  <a:lnTo>
                    <a:pt x="120194" y="51972"/>
                  </a:lnTo>
                  <a:cubicBezTo>
                    <a:pt x="120130" y="51972"/>
                    <a:pt x="119679" y="55454"/>
                    <a:pt x="119421" y="56744"/>
                  </a:cubicBezTo>
                  <a:moveTo>
                    <a:pt x="67964" y="30113"/>
                  </a:moveTo>
                  <a:lnTo>
                    <a:pt x="108007" y="30113"/>
                  </a:lnTo>
                  <a:lnTo>
                    <a:pt x="108007" y="40495"/>
                  </a:lnTo>
                  <a:lnTo>
                    <a:pt x="67964" y="40495"/>
                  </a:lnTo>
                  <a:lnTo>
                    <a:pt x="67964" y="30113"/>
                  </a:lnTo>
                  <a:close/>
                  <a:moveTo>
                    <a:pt x="67964" y="11026"/>
                  </a:moveTo>
                  <a:lnTo>
                    <a:pt x="108007" y="11026"/>
                  </a:lnTo>
                  <a:lnTo>
                    <a:pt x="108007" y="19796"/>
                  </a:lnTo>
                  <a:lnTo>
                    <a:pt x="67964" y="19796"/>
                  </a:lnTo>
                  <a:lnTo>
                    <a:pt x="67964" y="11026"/>
                  </a:lnTo>
                  <a:close/>
                  <a:moveTo>
                    <a:pt x="53327" y="19860"/>
                  </a:moveTo>
                  <a:lnTo>
                    <a:pt x="13928" y="19796"/>
                  </a:lnTo>
                  <a:lnTo>
                    <a:pt x="13928" y="11026"/>
                  </a:lnTo>
                  <a:lnTo>
                    <a:pt x="53327" y="11026"/>
                  </a:lnTo>
                  <a:lnTo>
                    <a:pt x="53327" y="19860"/>
                  </a:lnTo>
                  <a:moveTo>
                    <a:pt x="53327" y="40559"/>
                  </a:moveTo>
                  <a:lnTo>
                    <a:pt x="13928" y="40559"/>
                  </a:lnTo>
                  <a:lnTo>
                    <a:pt x="13928" y="30177"/>
                  </a:lnTo>
                  <a:lnTo>
                    <a:pt x="53327" y="30177"/>
                  </a:lnTo>
                  <a:lnTo>
                    <a:pt x="53327" y="40559"/>
                  </a:lnTo>
                  <a:close/>
                  <a:moveTo>
                    <a:pt x="121935" y="0"/>
                  </a:moveTo>
                  <a:lnTo>
                    <a:pt x="0" y="0"/>
                  </a:lnTo>
                  <a:lnTo>
                    <a:pt x="0" y="61064"/>
                  </a:lnTo>
                  <a:lnTo>
                    <a:pt x="13993" y="61064"/>
                  </a:lnTo>
                  <a:lnTo>
                    <a:pt x="13993" y="51908"/>
                  </a:lnTo>
                  <a:lnTo>
                    <a:pt x="53391" y="51908"/>
                  </a:lnTo>
                  <a:lnTo>
                    <a:pt x="53391" y="63128"/>
                  </a:lnTo>
                  <a:cubicBezTo>
                    <a:pt x="53391" y="71639"/>
                    <a:pt x="58614" y="74928"/>
                    <a:pt x="69705" y="74928"/>
                  </a:cubicBezTo>
                  <a:lnTo>
                    <a:pt x="112843" y="74928"/>
                  </a:lnTo>
                  <a:cubicBezTo>
                    <a:pt x="112843" y="74928"/>
                    <a:pt x="133220" y="74347"/>
                    <a:pt x="134574" y="60033"/>
                  </a:cubicBezTo>
                  <a:lnTo>
                    <a:pt x="135735" y="48490"/>
                  </a:lnTo>
                  <a:lnTo>
                    <a:pt x="122000" y="43332"/>
                  </a:lnTo>
                  <a:lnTo>
                    <a:pt x="122000" y="0"/>
                  </a:ln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61" name="Freeform: Shape 360">
              <a:extLst>
                <a:ext uri="{FF2B5EF4-FFF2-40B4-BE49-F238E27FC236}">
                  <a16:creationId xmlns:a16="http://schemas.microsoft.com/office/drawing/2014/main" id="{AAE5C558-BFB5-46C1-A117-8111E2118567}"/>
                </a:ext>
              </a:extLst>
            </p:cNvPr>
            <p:cNvSpPr/>
            <p:nvPr/>
          </p:nvSpPr>
          <p:spPr>
            <a:xfrm>
              <a:off x="4264872" y="4972498"/>
              <a:ext cx="141860" cy="62353"/>
            </a:xfrm>
            <a:custGeom>
              <a:avLst/>
              <a:gdLst>
                <a:gd name="connsiteX0" fmla="*/ 13735 w 141860"/>
                <a:gd name="connsiteY0" fmla="*/ 31338 h 62353"/>
                <a:gd name="connsiteX1" fmla="*/ 62741 w 141860"/>
                <a:gd name="connsiteY1" fmla="*/ 31338 h 62353"/>
                <a:gd name="connsiteX2" fmla="*/ 62741 w 141860"/>
                <a:gd name="connsiteY2" fmla="*/ 62354 h 62353"/>
                <a:gd name="connsiteX3" fmla="*/ 77314 w 141860"/>
                <a:gd name="connsiteY3" fmla="*/ 62354 h 62353"/>
                <a:gd name="connsiteX4" fmla="*/ 77314 w 141860"/>
                <a:gd name="connsiteY4" fmla="*/ 31338 h 62353"/>
                <a:gd name="connsiteX5" fmla="*/ 128126 w 141860"/>
                <a:gd name="connsiteY5" fmla="*/ 31338 h 62353"/>
                <a:gd name="connsiteX6" fmla="*/ 128126 w 141860"/>
                <a:gd name="connsiteY6" fmla="*/ 57002 h 62353"/>
                <a:gd name="connsiteX7" fmla="*/ 141860 w 141860"/>
                <a:gd name="connsiteY7" fmla="*/ 57002 h 62353"/>
                <a:gd name="connsiteX8" fmla="*/ 141860 w 141860"/>
                <a:gd name="connsiteY8" fmla="*/ 19473 h 62353"/>
                <a:gd name="connsiteX9" fmla="*/ 77314 w 141860"/>
                <a:gd name="connsiteY9" fmla="*/ 19473 h 62353"/>
                <a:gd name="connsiteX10" fmla="*/ 77314 w 141860"/>
                <a:gd name="connsiteY10" fmla="*/ 12123 h 62353"/>
                <a:gd name="connsiteX11" fmla="*/ 134122 w 141860"/>
                <a:gd name="connsiteY11" fmla="*/ 12123 h 62353"/>
                <a:gd name="connsiteX12" fmla="*/ 134122 w 141860"/>
                <a:gd name="connsiteY12" fmla="*/ 0 h 62353"/>
                <a:gd name="connsiteX13" fmla="*/ 7029 w 141860"/>
                <a:gd name="connsiteY13" fmla="*/ 0 h 62353"/>
                <a:gd name="connsiteX14" fmla="*/ 7029 w 141860"/>
                <a:gd name="connsiteY14" fmla="*/ 12123 h 62353"/>
                <a:gd name="connsiteX15" fmla="*/ 62741 w 141860"/>
                <a:gd name="connsiteY15" fmla="*/ 12123 h 62353"/>
                <a:gd name="connsiteX16" fmla="*/ 62741 w 141860"/>
                <a:gd name="connsiteY16" fmla="*/ 19473 h 62353"/>
                <a:gd name="connsiteX17" fmla="*/ 0 w 141860"/>
                <a:gd name="connsiteY17" fmla="*/ 19473 h 62353"/>
                <a:gd name="connsiteX18" fmla="*/ 0 w 141860"/>
                <a:gd name="connsiteY18" fmla="*/ 57002 h 62353"/>
                <a:gd name="connsiteX19" fmla="*/ 13735 w 141860"/>
                <a:gd name="connsiteY19" fmla="*/ 57002 h 6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860" h="62353">
                  <a:moveTo>
                    <a:pt x="13735" y="31338"/>
                  </a:moveTo>
                  <a:lnTo>
                    <a:pt x="62741" y="31338"/>
                  </a:lnTo>
                  <a:lnTo>
                    <a:pt x="62741" y="62354"/>
                  </a:lnTo>
                  <a:lnTo>
                    <a:pt x="77314" y="62354"/>
                  </a:lnTo>
                  <a:lnTo>
                    <a:pt x="77314" y="31338"/>
                  </a:lnTo>
                  <a:lnTo>
                    <a:pt x="128126" y="31338"/>
                  </a:lnTo>
                  <a:lnTo>
                    <a:pt x="128126" y="57002"/>
                  </a:lnTo>
                  <a:lnTo>
                    <a:pt x="141860" y="57002"/>
                  </a:lnTo>
                  <a:lnTo>
                    <a:pt x="141860" y="19473"/>
                  </a:lnTo>
                  <a:lnTo>
                    <a:pt x="77314" y="19473"/>
                  </a:lnTo>
                  <a:lnTo>
                    <a:pt x="77314" y="12123"/>
                  </a:lnTo>
                  <a:lnTo>
                    <a:pt x="134122" y="12123"/>
                  </a:lnTo>
                  <a:lnTo>
                    <a:pt x="134122" y="0"/>
                  </a:lnTo>
                  <a:lnTo>
                    <a:pt x="7029" y="0"/>
                  </a:lnTo>
                  <a:lnTo>
                    <a:pt x="7029" y="12123"/>
                  </a:lnTo>
                  <a:lnTo>
                    <a:pt x="62741" y="12123"/>
                  </a:lnTo>
                  <a:lnTo>
                    <a:pt x="62741" y="19473"/>
                  </a:lnTo>
                  <a:lnTo>
                    <a:pt x="0" y="19473"/>
                  </a:lnTo>
                  <a:lnTo>
                    <a:pt x="0" y="57002"/>
                  </a:lnTo>
                  <a:lnTo>
                    <a:pt x="13735" y="57002"/>
                  </a:lnTo>
                  <a:close/>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62" name="Freeform: Shape 361">
              <a:extLst>
                <a:ext uri="{FF2B5EF4-FFF2-40B4-BE49-F238E27FC236}">
                  <a16:creationId xmlns:a16="http://schemas.microsoft.com/office/drawing/2014/main" id="{2732FE81-438F-4C1F-9602-5115ACF766FF}"/>
                </a:ext>
              </a:extLst>
            </p:cNvPr>
            <p:cNvSpPr/>
            <p:nvPr/>
          </p:nvSpPr>
          <p:spPr>
            <a:xfrm>
              <a:off x="4417436" y="4966630"/>
              <a:ext cx="155143" cy="151016"/>
            </a:xfrm>
            <a:custGeom>
              <a:avLst/>
              <a:gdLst>
                <a:gd name="connsiteX0" fmla="*/ 106331 w 155143"/>
                <a:gd name="connsiteY0" fmla="*/ 67835 h 151016"/>
                <a:gd name="connsiteX1" fmla="*/ 118582 w 155143"/>
                <a:gd name="connsiteY1" fmla="*/ 67448 h 151016"/>
                <a:gd name="connsiteX2" fmla="*/ 123032 w 155143"/>
                <a:gd name="connsiteY2" fmla="*/ 77958 h 151016"/>
                <a:gd name="connsiteX3" fmla="*/ 107878 w 155143"/>
                <a:gd name="connsiteY3" fmla="*/ 77958 h 151016"/>
                <a:gd name="connsiteX4" fmla="*/ 106331 w 155143"/>
                <a:gd name="connsiteY4" fmla="*/ 67835 h 151016"/>
                <a:gd name="connsiteX5" fmla="*/ 105170 w 155143"/>
                <a:gd name="connsiteY5" fmla="*/ 56615 h 151016"/>
                <a:gd name="connsiteX6" fmla="*/ 103687 w 155143"/>
                <a:gd name="connsiteY6" fmla="*/ 26180 h 151016"/>
                <a:gd name="connsiteX7" fmla="*/ 119872 w 155143"/>
                <a:gd name="connsiteY7" fmla="*/ 45266 h 151016"/>
                <a:gd name="connsiteX8" fmla="*/ 110071 w 155143"/>
                <a:gd name="connsiteY8" fmla="*/ 56679 h 151016"/>
                <a:gd name="connsiteX9" fmla="*/ 105170 w 155143"/>
                <a:gd name="connsiteY9" fmla="*/ 56679 h 151016"/>
                <a:gd name="connsiteX10" fmla="*/ 51457 w 155143"/>
                <a:gd name="connsiteY10" fmla="*/ 59323 h 151016"/>
                <a:gd name="connsiteX11" fmla="*/ 47846 w 155143"/>
                <a:gd name="connsiteY11" fmla="*/ 59323 h 151016"/>
                <a:gd name="connsiteX12" fmla="*/ 47846 w 155143"/>
                <a:gd name="connsiteY12" fmla="*/ 64998 h 151016"/>
                <a:gd name="connsiteX13" fmla="*/ 35207 w 155143"/>
                <a:gd name="connsiteY13" fmla="*/ 45589 h 151016"/>
                <a:gd name="connsiteX14" fmla="*/ 47330 w 155143"/>
                <a:gd name="connsiteY14" fmla="*/ 45589 h 151016"/>
                <a:gd name="connsiteX15" fmla="*/ 47330 w 155143"/>
                <a:gd name="connsiteY15" fmla="*/ 35529 h 151016"/>
                <a:gd name="connsiteX16" fmla="*/ 59001 w 155143"/>
                <a:gd name="connsiteY16" fmla="*/ 48877 h 151016"/>
                <a:gd name="connsiteX17" fmla="*/ 51457 w 155143"/>
                <a:gd name="connsiteY17" fmla="*/ 59323 h 151016"/>
                <a:gd name="connsiteX18" fmla="*/ 42558 w 155143"/>
                <a:gd name="connsiteY18" fmla="*/ 81183 h 151016"/>
                <a:gd name="connsiteX19" fmla="*/ 48490 w 155143"/>
                <a:gd name="connsiteY19" fmla="*/ 71446 h 151016"/>
                <a:gd name="connsiteX20" fmla="*/ 78990 w 155143"/>
                <a:gd name="connsiteY20" fmla="*/ 68480 h 151016"/>
                <a:gd name="connsiteX21" fmla="*/ 81247 w 155143"/>
                <a:gd name="connsiteY21" fmla="*/ 74476 h 151016"/>
                <a:gd name="connsiteX22" fmla="*/ 92790 w 155143"/>
                <a:gd name="connsiteY22" fmla="*/ 69898 h 151016"/>
                <a:gd name="connsiteX23" fmla="*/ 93757 w 155143"/>
                <a:gd name="connsiteY23" fmla="*/ 78087 h 151016"/>
                <a:gd name="connsiteX24" fmla="*/ 44815 w 155143"/>
                <a:gd name="connsiteY24" fmla="*/ 78087 h 151016"/>
                <a:gd name="connsiteX25" fmla="*/ 44815 w 155143"/>
                <a:gd name="connsiteY25" fmla="*/ 91242 h 151016"/>
                <a:gd name="connsiteX26" fmla="*/ 57776 w 155143"/>
                <a:gd name="connsiteY26" fmla="*/ 91242 h 151016"/>
                <a:gd name="connsiteX27" fmla="*/ 39850 w 155143"/>
                <a:gd name="connsiteY27" fmla="*/ 135992 h 151016"/>
                <a:gd name="connsiteX28" fmla="*/ 50103 w 155143"/>
                <a:gd name="connsiteY28" fmla="*/ 148630 h 151016"/>
                <a:gd name="connsiteX29" fmla="*/ 69254 w 155143"/>
                <a:gd name="connsiteY29" fmla="*/ 112843 h 151016"/>
                <a:gd name="connsiteX30" fmla="*/ 86083 w 155143"/>
                <a:gd name="connsiteY30" fmla="*/ 124772 h 151016"/>
                <a:gd name="connsiteX31" fmla="*/ 93499 w 155143"/>
                <a:gd name="connsiteY31" fmla="*/ 112327 h 151016"/>
                <a:gd name="connsiteX32" fmla="*/ 72091 w 155143"/>
                <a:gd name="connsiteY32" fmla="*/ 97690 h 151016"/>
                <a:gd name="connsiteX33" fmla="*/ 72413 w 155143"/>
                <a:gd name="connsiteY33" fmla="*/ 91242 h 151016"/>
                <a:gd name="connsiteX34" fmla="*/ 96272 w 155143"/>
                <a:gd name="connsiteY34" fmla="*/ 91242 h 151016"/>
                <a:gd name="connsiteX35" fmla="*/ 105621 w 155143"/>
                <a:gd name="connsiteY35" fmla="*/ 117808 h 151016"/>
                <a:gd name="connsiteX36" fmla="*/ 72349 w 155143"/>
                <a:gd name="connsiteY36" fmla="*/ 134380 h 151016"/>
                <a:gd name="connsiteX37" fmla="*/ 80860 w 155143"/>
                <a:gd name="connsiteY37" fmla="*/ 147921 h 151016"/>
                <a:gd name="connsiteX38" fmla="*/ 113166 w 155143"/>
                <a:gd name="connsiteY38" fmla="*/ 130769 h 151016"/>
                <a:gd name="connsiteX39" fmla="*/ 125998 w 155143"/>
                <a:gd name="connsiteY39" fmla="*/ 144052 h 151016"/>
                <a:gd name="connsiteX40" fmla="*/ 145987 w 155143"/>
                <a:gd name="connsiteY40" fmla="*/ 143085 h 151016"/>
                <a:gd name="connsiteX41" fmla="*/ 155144 w 155143"/>
                <a:gd name="connsiteY41" fmla="*/ 126513 h 151016"/>
                <a:gd name="connsiteX42" fmla="*/ 143730 w 155143"/>
                <a:gd name="connsiteY42" fmla="*/ 114197 h 151016"/>
                <a:gd name="connsiteX43" fmla="*/ 137540 w 155143"/>
                <a:gd name="connsiteY43" fmla="*/ 127932 h 151016"/>
                <a:gd name="connsiteX44" fmla="*/ 127997 w 155143"/>
                <a:gd name="connsiteY44" fmla="*/ 126191 h 151016"/>
                <a:gd name="connsiteX45" fmla="*/ 124773 w 155143"/>
                <a:gd name="connsiteY45" fmla="*/ 121290 h 151016"/>
                <a:gd name="connsiteX46" fmla="*/ 140764 w 155143"/>
                <a:gd name="connsiteY46" fmla="*/ 101430 h 151016"/>
                <a:gd name="connsiteX47" fmla="*/ 128770 w 155143"/>
                <a:gd name="connsiteY47" fmla="*/ 92725 h 151016"/>
                <a:gd name="connsiteX48" fmla="*/ 116906 w 155143"/>
                <a:gd name="connsiteY48" fmla="*/ 109232 h 151016"/>
                <a:gd name="connsiteX49" fmla="*/ 110393 w 155143"/>
                <a:gd name="connsiteY49" fmla="*/ 91242 h 151016"/>
                <a:gd name="connsiteX50" fmla="*/ 152371 w 155143"/>
                <a:gd name="connsiteY50" fmla="*/ 91242 h 151016"/>
                <a:gd name="connsiteX51" fmla="*/ 152371 w 155143"/>
                <a:gd name="connsiteY51" fmla="*/ 78087 h 151016"/>
                <a:gd name="connsiteX52" fmla="*/ 137024 w 155143"/>
                <a:gd name="connsiteY52" fmla="*/ 78087 h 151016"/>
                <a:gd name="connsiteX53" fmla="*/ 131672 w 155143"/>
                <a:gd name="connsiteY53" fmla="*/ 66674 h 151016"/>
                <a:gd name="connsiteX54" fmla="*/ 141280 w 155143"/>
                <a:gd name="connsiteY54" fmla="*/ 65384 h 151016"/>
                <a:gd name="connsiteX55" fmla="*/ 143601 w 155143"/>
                <a:gd name="connsiteY55" fmla="*/ 71317 h 151016"/>
                <a:gd name="connsiteX56" fmla="*/ 153854 w 155143"/>
                <a:gd name="connsiteY56" fmla="*/ 67190 h 151016"/>
                <a:gd name="connsiteX57" fmla="*/ 146181 w 155143"/>
                <a:gd name="connsiteY57" fmla="*/ 44170 h 151016"/>
                <a:gd name="connsiteX58" fmla="*/ 135928 w 155143"/>
                <a:gd name="connsiteY58" fmla="*/ 47394 h 151016"/>
                <a:gd name="connsiteX59" fmla="*/ 138507 w 155143"/>
                <a:gd name="connsiteY59" fmla="*/ 55261 h 151016"/>
                <a:gd name="connsiteX60" fmla="*/ 125482 w 155143"/>
                <a:gd name="connsiteY60" fmla="*/ 56679 h 151016"/>
                <a:gd name="connsiteX61" fmla="*/ 149082 w 155143"/>
                <a:gd name="connsiteY61" fmla="*/ 26953 h 151016"/>
                <a:gd name="connsiteX62" fmla="*/ 138507 w 155143"/>
                <a:gd name="connsiteY62" fmla="*/ 20763 h 151016"/>
                <a:gd name="connsiteX63" fmla="*/ 128255 w 155143"/>
                <a:gd name="connsiteY63" fmla="*/ 35272 h 151016"/>
                <a:gd name="connsiteX64" fmla="*/ 123418 w 155143"/>
                <a:gd name="connsiteY64" fmla="*/ 29662 h 151016"/>
                <a:gd name="connsiteX65" fmla="*/ 137153 w 155143"/>
                <a:gd name="connsiteY65" fmla="*/ 7222 h 151016"/>
                <a:gd name="connsiteX66" fmla="*/ 125095 w 155143"/>
                <a:gd name="connsiteY66" fmla="*/ 1999 h 151016"/>
                <a:gd name="connsiteX67" fmla="*/ 115681 w 155143"/>
                <a:gd name="connsiteY67" fmla="*/ 19860 h 151016"/>
                <a:gd name="connsiteX68" fmla="*/ 111683 w 155143"/>
                <a:gd name="connsiteY68" fmla="*/ 16185 h 151016"/>
                <a:gd name="connsiteX69" fmla="*/ 103623 w 155143"/>
                <a:gd name="connsiteY69" fmla="*/ 25212 h 151016"/>
                <a:gd name="connsiteX70" fmla="*/ 102849 w 155143"/>
                <a:gd name="connsiteY70" fmla="*/ 193 h 151016"/>
                <a:gd name="connsiteX71" fmla="*/ 88792 w 155143"/>
                <a:gd name="connsiteY71" fmla="*/ 193 h 151016"/>
                <a:gd name="connsiteX72" fmla="*/ 92080 w 155143"/>
                <a:gd name="connsiteY72" fmla="*/ 66416 h 151016"/>
                <a:gd name="connsiteX73" fmla="*/ 85116 w 155143"/>
                <a:gd name="connsiteY73" fmla="*/ 46491 h 151016"/>
                <a:gd name="connsiteX74" fmla="*/ 75379 w 155143"/>
                <a:gd name="connsiteY74" fmla="*/ 49006 h 151016"/>
                <a:gd name="connsiteX75" fmla="*/ 77636 w 155143"/>
                <a:gd name="connsiteY75" fmla="*/ 57905 h 151016"/>
                <a:gd name="connsiteX76" fmla="*/ 65385 w 155143"/>
                <a:gd name="connsiteY76" fmla="*/ 59001 h 151016"/>
                <a:gd name="connsiteX77" fmla="*/ 88082 w 155143"/>
                <a:gd name="connsiteY77" fmla="*/ 27534 h 151016"/>
                <a:gd name="connsiteX78" fmla="*/ 77314 w 155143"/>
                <a:gd name="connsiteY78" fmla="*/ 21601 h 151016"/>
                <a:gd name="connsiteX79" fmla="*/ 67126 w 155143"/>
                <a:gd name="connsiteY79" fmla="*/ 38044 h 151016"/>
                <a:gd name="connsiteX80" fmla="*/ 62548 w 155143"/>
                <a:gd name="connsiteY80" fmla="*/ 32692 h 151016"/>
                <a:gd name="connsiteX81" fmla="*/ 76218 w 155143"/>
                <a:gd name="connsiteY81" fmla="*/ 7609 h 151016"/>
                <a:gd name="connsiteX82" fmla="*/ 64224 w 155143"/>
                <a:gd name="connsiteY82" fmla="*/ 3031 h 151016"/>
                <a:gd name="connsiteX83" fmla="*/ 53778 w 155143"/>
                <a:gd name="connsiteY83" fmla="*/ 23729 h 151016"/>
                <a:gd name="connsiteX84" fmla="*/ 49651 w 155143"/>
                <a:gd name="connsiteY84" fmla="*/ 20441 h 151016"/>
                <a:gd name="connsiteX85" fmla="*/ 42236 w 155143"/>
                <a:gd name="connsiteY85" fmla="*/ 31209 h 151016"/>
                <a:gd name="connsiteX86" fmla="*/ 34498 w 155143"/>
                <a:gd name="connsiteY86" fmla="*/ 31209 h 151016"/>
                <a:gd name="connsiteX87" fmla="*/ 34498 w 155143"/>
                <a:gd name="connsiteY87" fmla="*/ 0 h 151016"/>
                <a:gd name="connsiteX88" fmla="*/ 20441 w 155143"/>
                <a:gd name="connsiteY88" fmla="*/ 0 h 151016"/>
                <a:gd name="connsiteX89" fmla="*/ 20441 w 155143"/>
                <a:gd name="connsiteY89" fmla="*/ 31145 h 151016"/>
                <a:gd name="connsiteX90" fmla="*/ 4514 w 155143"/>
                <a:gd name="connsiteY90" fmla="*/ 31145 h 151016"/>
                <a:gd name="connsiteX91" fmla="*/ 4514 w 155143"/>
                <a:gd name="connsiteY91" fmla="*/ 45524 h 151016"/>
                <a:gd name="connsiteX92" fmla="*/ 20441 w 155143"/>
                <a:gd name="connsiteY92" fmla="*/ 45524 h 151016"/>
                <a:gd name="connsiteX93" fmla="*/ 0 w 155143"/>
                <a:gd name="connsiteY93" fmla="*/ 90855 h 151016"/>
                <a:gd name="connsiteX94" fmla="*/ 6255 w 155143"/>
                <a:gd name="connsiteY94" fmla="*/ 108587 h 151016"/>
                <a:gd name="connsiteX95" fmla="*/ 20441 w 155143"/>
                <a:gd name="connsiteY95" fmla="*/ 78539 h 151016"/>
                <a:gd name="connsiteX96" fmla="*/ 21344 w 155143"/>
                <a:gd name="connsiteY96" fmla="*/ 75702 h 151016"/>
                <a:gd name="connsiteX97" fmla="*/ 20441 w 155143"/>
                <a:gd name="connsiteY97" fmla="*/ 87437 h 151016"/>
                <a:gd name="connsiteX98" fmla="*/ 20441 w 155143"/>
                <a:gd name="connsiteY98" fmla="*/ 151016 h 151016"/>
                <a:gd name="connsiteX99" fmla="*/ 34498 w 155143"/>
                <a:gd name="connsiteY99" fmla="*/ 150952 h 151016"/>
                <a:gd name="connsiteX100" fmla="*/ 34498 w 155143"/>
                <a:gd name="connsiteY100" fmla="*/ 77507 h 151016"/>
                <a:gd name="connsiteX101" fmla="*/ 33595 w 155143"/>
                <a:gd name="connsiteY101" fmla="*/ 64482 h 151016"/>
                <a:gd name="connsiteX102" fmla="*/ 42558 w 155143"/>
                <a:gd name="connsiteY102" fmla="*/ 81183 h 15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5143" h="151016">
                  <a:moveTo>
                    <a:pt x="106331" y="67835"/>
                  </a:moveTo>
                  <a:lnTo>
                    <a:pt x="118582" y="67448"/>
                  </a:lnTo>
                  <a:lnTo>
                    <a:pt x="123032" y="77958"/>
                  </a:lnTo>
                  <a:lnTo>
                    <a:pt x="107878" y="77958"/>
                  </a:lnTo>
                  <a:cubicBezTo>
                    <a:pt x="107040" y="76024"/>
                    <a:pt x="106331" y="67835"/>
                    <a:pt x="106331" y="67835"/>
                  </a:cubicBezTo>
                  <a:moveTo>
                    <a:pt x="105170" y="56615"/>
                  </a:moveTo>
                  <a:cubicBezTo>
                    <a:pt x="104138" y="47394"/>
                    <a:pt x="103687" y="26180"/>
                    <a:pt x="103687" y="26180"/>
                  </a:cubicBezTo>
                  <a:cubicBezTo>
                    <a:pt x="111425" y="32821"/>
                    <a:pt x="119872" y="45266"/>
                    <a:pt x="119872" y="45266"/>
                  </a:cubicBezTo>
                  <a:cubicBezTo>
                    <a:pt x="115745" y="51908"/>
                    <a:pt x="110071" y="56679"/>
                    <a:pt x="110071" y="56679"/>
                  </a:cubicBezTo>
                  <a:lnTo>
                    <a:pt x="105170" y="56679"/>
                  </a:lnTo>
                  <a:moveTo>
                    <a:pt x="51457" y="59323"/>
                  </a:moveTo>
                  <a:lnTo>
                    <a:pt x="47846" y="59323"/>
                  </a:lnTo>
                  <a:lnTo>
                    <a:pt x="47846" y="64998"/>
                  </a:lnTo>
                  <a:cubicBezTo>
                    <a:pt x="41526" y="60613"/>
                    <a:pt x="35207" y="45589"/>
                    <a:pt x="35207" y="45589"/>
                  </a:cubicBezTo>
                  <a:lnTo>
                    <a:pt x="47330" y="45589"/>
                  </a:lnTo>
                  <a:lnTo>
                    <a:pt x="47330" y="35529"/>
                  </a:lnTo>
                  <a:cubicBezTo>
                    <a:pt x="50231" y="37335"/>
                    <a:pt x="59001" y="48877"/>
                    <a:pt x="59001" y="48877"/>
                  </a:cubicBezTo>
                  <a:cubicBezTo>
                    <a:pt x="57260" y="52940"/>
                    <a:pt x="51457" y="59323"/>
                    <a:pt x="51457" y="59323"/>
                  </a:cubicBezTo>
                  <a:moveTo>
                    <a:pt x="42558" y="81183"/>
                  </a:moveTo>
                  <a:lnTo>
                    <a:pt x="48490" y="71446"/>
                  </a:lnTo>
                  <a:lnTo>
                    <a:pt x="78990" y="68480"/>
                  </a:lnTo>
                  <a:lnTo>
                    <a:pt x="81247" y="74476"/>
                  </a:lnTo>
                  <a:lnTo>
                    <a:pt x="92790" y="69898"/>
                  </a:lnTo>
                  <a:cubicBezTo>
                    <a:pt x="93370" y="73703"/>
                    <a:pt x="93757" y="78087"/>
                    <a:pt x="93757" y="78087"/>
                  </a:cubicBezTo>
                  <a:lnTo>
                    <a:pt x="44815" y="78087"/>
                  </a:lnTo>
                  <a:lnTo>
                    <a:pt x="44815" y="91242"/>
                  </a:lnTo>
                  <a:lnTo>
                    <a:pt x="57776" y="91242"/>
                  </a:lnTo>
                  <a:cubicBezTo>
                    <a:pt x="57905" y="119678"/>
                    <a:pt x="39850" y="135992"/>
                    <a:pt x="39850" y="135992"/>
                  </a:cubicBezTo>
                  <a:lnTo>
                    <a:pt x="50103" y="148630"/>
                  </a:lnTo>
                  <a:cubicBezTo>
                    <a:pt x="63644" y="136121"/>
                    <a:pt x="69254" y="112843"/>
                    <a:pt x="69254" y="112843"/>
                  </a:cubicBezTo>
                  <a:cubicBezTo>
                    <a:pt x="76411" y="115487"/>
                    <a:pt x="86083" y="124772"/>
                    <a:pt x="86083" y="124772"/>
                  </a:cubicBezTo>
                  <a:lnTo>
                    <a:pt x="93499" y="112327"/>
                  </a:lnTo>
                  <a:cubicBezTo>
                    <a:pt x="88663" y="107298"/>
                    <a:pt x="72091" y="97690"/>
                    <a:pt x="72091" y="97690"/>
                  </a:cubicBezTo>
                  <a:lnTo>
                    <a:pt x="72413" y="91242"/>
                  </a:lnTo>
                  <a:lnTo>
                    <a:pt x="96272" y="91242"/>
                  </a:lnTo>
                  <a:cubicBezTo>
                    <a:pt x="100012" y="107491"/>
                    <a:pt x="105621" y="117808"/>
                    <a:pt x="105621" y="117808"/>
                  </a:cubicBezTo>
                  <a:cubicBezTo>
                    <a:pt x="95885" y="126900"/>
                    <a:pt x="72349" y="134380"/>
                    <a:pt x="72349" y="134380"/>
                  </a:cubicBezTo>
                  <a:lnTo>
                    <a:pt x="80860" y="147921"/>
                  </a:lnTo>
                  <a:cubicBezTo>
                    <a:pt x="95111" y="144117"/>
                    <a:pt x="113166" y="130769"/>
                    <a:pt x="113166" y="130769"/>
                  </a:cubicBezTo>
                  <a:cubicBezTo>
                    <a:pt x="117486" y="136701"/>
                    <a:pt x="125998" y="144052"/>
                    <a:pt x="125998" y="144052"/>
                  </a:cubicBezTo>
                  <a:cubicBezTo>
                    <a:pt x="139152" y="153402"/>
                    <a:pt x="145987" y="143085"/>
                    <a:pt x="145987" y="143085"/>
                  </a:cubicBezTo>
                  <a:cubicBezTo>
                    <a:pt x="150114" y="137733"/>
                    <a:pt x="155144" y="126513"/>
                    <a:pt x="155144" y="126513"/>
                  </a:cubicBezTo>
                  <a:lnTo>
                    <a:pt x="143730" y="114197"/>
                  </a:lnTo>
                  <a:cubicBezTo>
                    <a:pt x="141409" y="121290"/>
                    <a:pt x="137540" y="127932"/>
                    <a:pt x="137540" y="127932"/>
                  </a:cubicBezTo>
                  <a:cubicBezTo>
                    <a:pt x="133091" y="133026"/>
                    <a:pt x="127997" y="126191"/>
                    <a:pt x="127997" y="126191"/>
                  </a:cubicBezTo>
                  <a:cubicBezTo>
                    <a:pt x="125031" y="122902"/>
                    <a:pt x="124773" y="121290"/>
                    <a:pt x="124773" y="121290"/>
                  </a:cubicBezTo>
                  <a:cubicBezTo>
                    <a:pt x="132188" y="114068"/>
                    <a:pt x="140764" y="101430"/>
                    <a:pt x="140764" y="101430"/>
                  </a:cubicBezTo>
                  <a:lnTo>
                    <a:pt x="128770" y="92725"/>
                  </a:lnTo>
                  <a:cubicBezTo>
                    <a:pt x="126772" y="98077"/>
                    <a:pt x="116906" y="109232"/>
                    <a:pt x="116906" y="109232"/>
                  </a:cubicBezTo>
                  <a:cubicBezTo>
                    <a:pt x="112392" y="102719"/>
                    <a:pt x="110393" y="91242"/>
                    <a:pt x="110393" y="91242"/>
                  </a:cubicBezTo>
                  <a:lnTo>
                    <a:pt x="152371" y="91242"/>
                  </a:lnTo>
                  <a:lnTo>
                    <a:pt x="152371" y="78087"/>
                  </a:lnTo>
                  <a:lnTo>
                    <a:pt x="137024" y="78087"/>
                  </a:lnTo>
                  <a:cubicBezTo>
                    <a:pt x="133542" y="71639"/>
                    <a:pt x="131672" y="66674"/>
                    <a:pt x="131672" y="66674"/>
                  </a:cubicBezTo>
                  <a:lnTo>
                    <a:pt x="141280" y="65384"/>
                  </a:lnTo>
                  <a:cubicBezTo>
                    <a:pt x="142247" y="67448"/>
                    <a:pt x="143601" y="71317"/>
                    <a:pt x="143601" y="71317"/>
                  </a:cubicBezTo>
                  <a:lnTo>
                    <a:pt x="153854" y="67190"/>
                  </a:lnTo>
                  <a:cubicBezTo>
                    <a:pt x="151017" y="55325"/>
                    <a:pt x="150501" y="55261"/>
                    <a:pt x="146181" y="44170"/>
                  </a:cubicBezTo>
                  <a:lnTo>
                    <a:pt x="135928" y="47394"/>
                  </a:lnTo>
                  <a:lnTo>
                    <a:pt x="138507" y="55261"/>
                  </a:lnTo>
                  <a:lnTo>
                    <a:pt x="125482" y="56679"/>
                  </a:lnTo>
                  <a:cubicBezTo>
                    <a:pt x="129351" y="52746"/>
                    <a:pt x="146181" y="31209"/>
                    <a:pt x="149082" y="26953"/>
                  </a:cubicBezTo>
                  <a:lnTo>
                    <a:pt x="138507" y="20763"/>
                  </a:lnTo>
                  <a:cubicBezTo>
                    <a:pt x="137798" y="22117"/>
                    <a:pt x="129544" y="33595"/>
                    <a:pt x="128255" y="35272"/>
                  </a:cubicBezTo>
                  <a:lnTo>
                    <a:pt x="123418" y="29662"/>
                  </a:lnTo>
                  <a:cubicBezTo>
                    <a:pt x="130060" y="20570"/>
                    <a:pt x="137153" y="7222"/>
                    <a:pt x="137153" y="7222"/>
                  </a:cubicBezTo>
                  <a:lnTo>
                    <a:pt x="125095" y="1999"/>
                  </a:lnTo>
                  <a:cubicBezTo>
                    <a:pt x="123870" y="4965"/>
                    <a:pt x="119292" y="15089"/>
                    <a:pt x="115681" y="19860"/>
                  </a:cubicBezTo>
                  <a:cubicBezTo>
                    <a:pt x="114713" y="18829"/>
                    <a:pt x="111683" y="16185"/>
                    <a:pt x="111683" y="16185"/>
                  </a:cubicBezTo>
                  <a:lnTo>
                    <a:pt x="103623" y="25212"/>
                  </a:lnTo>
                  <a:lnTo>
                    <a:pt x="102849" y="193"/>
                  </a:lnTo>
                  <a:lnTo>
                    <a:pt x="88792" y="193"/>
                  </a:lnTo>
                  <a:cubicBezTo>
                    <a:pt x="88792" y="32628"/>
                    <a:pt x="92080" y="66416"/>
                    <a:pt x="92080" y="66416"/>
                  </a:cubicBezTo>
                  <a:cubicBezTo>
                    <a:pt x="87695" y="56035"/>
                    <a:pt x="85116" y="46491"/>
                    <a:pt x="85116" y="46491"/>
                  </a:cubicBezTo>
                  <a:lnTo>
                    <a:pt x="75379" y="49006"/>
                  </a:lnTo>
                  <a:lnTo>
                    <a:pt x="77636" y="57905"/>
                  </a:lnTo>
                  <a:lnTo>
                    <a:pt x="65385" y="59001"/>
                  </a:lnTo>
                  <a:cubicBezTo>
                    <a:pt x="72736" y="50489"/>
                    <a:pt x="88082" y="27534"/>
                    <a:pt x="88082" y="27534"/>
                  </a:cubicBezTo>
                  <a:lnTo>
                    <a:pt x="77314" y="21601"/>
                  </a:lnTo>
                  <a:cubicBezTo>
                    <a:pt x="74219" y="26309"/>
                    <a:pt x="67126" y="38044"/>
                    <a:pt x="67126" y="38044"/>
                  </a:cubicBezTo>
                  <a:lnTo>
                    <a:pt x="62548" y="32692"/>
                  </a:lnTo>
                  <a:cubicBezTo>
                    <a:pt x="69834" y="21601"/>
                    <a:pt x="76218" y="7609"/>
                    <a:pt x="76218" y="7609"/>
                  </a:cubicBezTo>
                  <a:lnTo>
                    <a:pt x="64224" y="3031"/>
                  </a:lnTo>
                  <a:cubicBezTo>
                    <a:pt x="58937" y="15411"/>
                    <a:pt x="53778" y="23729"/>
                    <a:pt x="53778" y="23729"/>
                  </a:cubicBezTo>
                  <a:cubicBezTo>
                    <a:pt x="52940" y="22440"/>
                    <a:pt x="49651" y="20441"/>
                    <a:pt x="49651" y="20441"/>
                  </a:cubicBezTo>
                  <a:lnTo>
                    <a:pt x="42236" y="31209"/>
                  </a:lnTo>
                  <a:lnTo>
                    <a:pt x="34498" y="31209"/>
                  </a:lnTo>
                  <a:lnTo>
                    <a:pt x="34498" y="0"/>
                  </a:lnTo>
                  <a:lnTo>
                    <a:pt x="20441" y="0"/>
                  </a:lnTo>
                  <a:lnTo>
                    <a:pt x="20441" y="31145"/>
                  </a:lnTo>
                  <a:lnTo>
                    <a:pt x="4514" y="31145"/>
                  </a:lnTo>
                  <a:lnTo>
                    <a:pt x="4514" y="45524"/>
                  </a:lnTo>
                  <a:lnTo>
                    <a:pt x="20441" y="45524"/>
                  </a:lnTo>
                  <a:cubicBezTo>
                    <a:pt x="20441" y="45524"/>
                    <a:pt x="14122" y="71059"/>
                    <a:pt x="0" y="90855"/>
                  </a:cubicBezTo>
                  <a:lnTo>
                    <a:pt x="6255" y="108587"/>
                  </a:lnTo>
                  <a:cubicBezTo>
                    <a:pt x="6255" y="108587"/>
                    <a:pt x="13799" y="97625"/>
                    <a:pt x="20441" y="78539"/>
                  </a:cubicBezTo>
                  <a:cubicBezTo>
                    <a:pt x="20763" y="77829"/>
                    <a:pt x="21344" y="75702"/>
                    <a:pt x="21344" y="75702"/>
                  </a:cubicBezTo>
                  <a:cubicBezTo>
                    <a:pt x="21344" y="75702"/>
                    <a:pt x="20634" y="83762"/>
                    <a:pt x="20441" y="87437"/>
                  </a:cubicBezTo>
                  <a:lnTo>
                    <a:pt x="20441" y="151016"/>
                  </a:lnTo>
                  <a:lnTo>
                    <a:pt x="34498" y="150952"/>
                  </a:lnTo>
                  <a:lnTo>
                    <a:pt x="34498" y="77507"/>
                  </a:lnTo>
                  <a:cubicBezTo>
                    <a:pt x="34498" y="74928"/>
                    <a:pt x="33595" y="64482"/>
                    <a:pt x="33595" y="64482"/>
                  </a:cubicBezTo>
                  <a:cubicBezTo>
                    <a:pt x="34885" y="68351"/>
                    <a:pt x="34562" y="68222"/>
                    <a:pt x="42558" y="81183"/>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sp>
          <p:nvSpPr>
            <p:cNvPr id="363" name="Freeform: Shape 362">
              <a:extLst>
                <a:ext uri="{FF2B5EF4-FFF2-40B4-BE49-F238E27FC236}">
                  <a16:creationId xmlns:a16="http://schemas.microsoft.com/office/drawing/2014/main" id="{2A401426-BB79-4768-AD86-48FE9B096E65}"/>
                </a:ext>
              </a:extLst>
            </p:cNvPr>
            <p:cNvSpPr/>
            <p:nvPr/>
          </p:nvSpPr>
          <p:spPr>
            <a:xfrm>
              <a:off x="4578641" y="4966308"/>
              <a:ext cx="155594" cy="151338"/>
            </a:xfrm>
            <a:custGeom>
              <a:avLst/>
              <a:gdLst>
                <a:gd name="connsiteX0" fmla="*/ 96916 w 155594"/>
                <a:gd name="connsiteY0" fmla="*/ 59775 h 151338"/>
                <a:gd name="connsiteX1" fmla="*/ 58227 w 155594"/>
                <a:gd name="connsiteY1" fmla="*/ 59775 h 151338"/>
                <a:gd name="connsiteX2" fmla="*/ 58227 w 155594"/>
                <a:gd name="connsiteY2" fmla="*/ 71962 h 151338"/>
                <a:gd name="connsiteX3" fmla="*/ 42365 w 155594"/>
                <a:gd name="connsiteY3" fmla="*/ 46040 h 151338"/>
                <a:gd name="connsiteX4" fmla="*/ 55906 w 155594"/>
                <a:gd name="connsiteY4" fmla="*/ 46040 h 151338"/>
                <a:gd name="connsiteX5" fmla="*/ 55906 w 155594"/>
                <a:gd name="connsiteY5" fmla="*/ 45524 h 151338"/>
                <a:gd name="connsiteX6" fmla="*/ 67771 w 155594"/>
                <a:gd name="connsiteY6" fmla="*/ 55325 h 151338"/>
                <a:gd name="connsiteX7" fmla="*/ 76734 w 155594"/>
                <a:gd name="connsiteY7" fmla="*/ 39011 h 151338"/>
                <a:gd name="connsiteX8" fmla="*/ 96916 w 155594"/>
                <a:gd name="connsiteY8" fmla="*/ 39011 h 151338"/>
                <a:gd name="connsiteX9" fmla="*/ 96916 w 155594"/>
                <a:gd name="connsiteY9" fmla="*/ 59775 h 151338"/>
                <a:gd name="connsiteX10" fmla="*/ 28243 w 155594"/>
                <a:gd name="connsiteY10" fmla="*/ 71897 h 151338"/>
                <a:gd name="connsiteX11" fmla="*/ 27340 w 155594"/>
                <a:gd name="connsiteY11" fmla="*/ 84471 h 151338"/>
                <a:gd name="connsiteX12" fmla="*/ 27340 w 155594"/>
                <a:gd name="connsiteY12" fmla="*/ 151339 h 151338"/>
                <a:gd name="connsiteX13" fmla="*/ 41913 w 155594"/>
                <a:gd name="connsiteY13" fmla="*/ 151339 h 151338"/>
                <a:gd name="connsiteX14" fmla="*/ 41913 w 155594"/>
                <a:gd name="connsiteY14" fmla="*/ 78345 h 151338"/>
                <a:gd name="connsiteX15" fmla="*/ 41011 w 155594"/>
                <a:gd name="connsiteY15" fmla="*/ 65900 h 151338"/>
                <a:gd name="connsiteX16" fmla="*/ 55454 w 155594"/>
                <a:gd name="connsiteY16" fmla="*/ 90145 h 151338"/>
                <a:gd name="connsiteX17" fmla="*/ 63192 w 155594"/>
                <a:gd name="connsiteY17" fmla="*/ 76991 h 151338"/>
                <a:gd name="connsiteX18" fmla="*/ 60097 w 155594"/>
                <a:gd name="connsiteY18" fmla="*/ 73961 h 151338"/>
                <a:gd name="connsiteX19" fmla="*/ 92080 w 155594"/>
                <a:gd name="connsiteY19" fmla="*/ 73961 h 151338"/>
                <a:gd name="connsiteX20" fmla="*/ 49200 w 155594"/>
                <a:gd name="connsiteY20" fmla="*/ 125610 h 151338"/>
                <a:gd name="connsiteX21" fmla="*/ 59001 w 155594"/>
                <a:gd name="connsiteY21" fmla="*/ 137926 h 151338"/>
                <a:gd name="connsiteX22" fmla="*/ 96852 w 155594"/>
                <a:gd name="connsiteY22" fmla="*/ 92144 h 151338"/>
                <a:gd name="connsiteX23" fmla="*/ 96852 w 155594"/>
                <a:gd name="connsiteY23" fmla="*/ 151081 h 151338"/>
                <a:gd name="connsiteX24" fmla="*/ 110716 w 155594"/>
                <a:gd name="connsiteY24" fmla="*/ 151081 h 151338"/>
                <a:gd name="connsiteX25" fmla="*/ 110716 w 155594"/>
                <a:gd name="connsiteY25" fmla="*/ 91435 h 151338"/>
                <a:gd name="connsiteX26" fmla="*/ 146632 w 155594"/>
                <a:gd name="connsiteY26" fmla="*/ 136379 h 151338"/>
                <a:gd name="connsiteX27" fmla="*/ 155595 w 155594"/>
                <a:gd name="connsiteY27" fmla="*/ 122064 h 151338"/>
                <a:gd name="connsiteX28" fmla="*/ 114971 w 155594"/>
                <a:gd name="connsiteY28" fmla="*/ 73574 h 151338"/>
                <a:gd name="connsiteX29" fmla="*/ 152177 w 155594"/>
                <a:gd name="connsiteY29" fmla="*/ 73574 h 151338"/>
                <a:gd name="connsiteX30" fmla="*/ 152177 w 155594"/>
                <a:gd name="connsiteY30" fmla="*/ 59775 h 151338"/>
                <a:gd name="connsiteX31" fmla="*/ 110716 w 155594"/>
                <a:gd name="connsiteY31" fmla="*/ 59775 h 151338"/>
                <a:gd name="connsiteX32" fmla="*/ 110716 w 155594"/>
                <a:gd name="connsiteY32" fmla="*/ 39011 h 151338"/>
                <a:gd name="connsiteX33" fmla="*/ 144891 w 155594"/>
                <a:gd name="connsiteY33" fmla="*/ 39011 h 151338"/>
                <a:gd name="connsiteX34" fmla="*/ 144891 w 155594"/>
                <a:gd name="connsiteY34" fmla="*/ 25212 h 151338"/>
                <a:gd name="connsiteX35" fmla="*/ 110716 w 155594"/>
                <a:gd name="connsiteY35" fmla="*/ 25212 h 151338"/>
                <a:gd name="connsiteX36" fmla="*/ 110716 w 155594"/>
                <a:gd name="connsiteY36" fmla="*/ 0 h 151338"/>
                <a:gd name="connsiteX37" fmla="*/ 96852 w 155594"/>
                <a:gd name="connsiteY37" fmla="*/ 0 h 151338"/>
                <a:gd name="connsiteX38" fmla="*/ 96852 w 155594"/>
                <a:gd name="connsiteY38" fmla="*/ 25212 h 151338"/>
                <a:gd name="connsiteX39" fmla="*/ 81505 w 155594"/>
                <a:gd name="connsiteY39" fmla="*/ 25212 h 151338"/>
                <a:gd name="connsiteX40" fmla="*/ 86083 w 155594"/>
                <a:gd name="connsiteY40" fmla="*/ 7802 h 151338"/>
                <a:gd name="connsiteX41" fmla="*/ 72091 w 155594"/>
                <a:gd name="connsiteY41" fmla="*/ 4449 h 151338"/>
                <a:gd name="connsiteX42" fmla="*/ 55841 w 155594"/>
                <a:gd name="connsiteY42" fmla="*/ 44428 h 151338"/>
                <a:gd name="connsiteX43" fmla="*/ 55841 w 155594"/>
                <a:gd name="connsiteY43" fmla="*/ 31854 h 151338"/>
                <a:gd name="connsiteX44" fmla="*/ 41913 w 155594"/>
                <a:gd name="connsiteY44" fmla="*/ 31854 h 151338"/>
                <a:gd name="connsiteX45" fmla="*/ 41913 w 155594"/>
                <a:gd name="connsiteY45" fmla="*/ 322 h 151338"/>
                <a:gd name="connsiteX46" fmla="*/ 27340 w 155594"/>
                <a:gd name="connsiteY46" fmla="*/ 322 h 151338"/>
                <a:gd name="connsiteX47" fmla="*/ 27340 w 155594"/>
                <a:gd name="connsiteY47" fmla="*/ 31789 h 151338"/>
                <a:gd name="connsiteX48" fmla="*/ 3804 w 155594"/>
                <a:gd name="connsiteY48" fmla="*/ 31789 h 151338"/>
                <a:gd name="connsiteX49" fmla="*/ 3804 w 155594"/>
                <a:gd name="connsiteY49" fmla="*/ 46040 h 151338"/>
                <a:gd name="connsiteX50" fmla="*/ 26180 w 155594"/>
                <a:gd name="connsiteY50" fmla="*/ 46040 h 151338"/>
                <a:gd name="connsiteX51" fmla="*/ 0 w 155594"/>
                <a:gd name="connsiteY51" fmla="*/ 93499 h 151338"/>
                <a:gd name="connsiteX52" fmla="*/ 6771 w 155594"/>
                <a:gd name="connsiteY52" fmla="*/ 109103 h 151338"/>
                <a:gd name="connsiteX53" fmla="*/ 28243 w 155594"/>
                <a:gd name="connsiteY53" fmla="*/ 71897 h 15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5594" h="151338">
                  <a:moveTo>
                    <a:pt x="96916" y="59775"/>
                  </a:moveTo>
                  <a:lnTo>
                    <a:pt x="58227" y="59775"/>
                  </a:lnTo>
                  <a:lnTo>
                    <a:pt x="58227" y="71962"/>
                  </a:lnTo>
                  <a:cubicBezTo>
                    <a:pt x="52101" y="63579"/>
                    <a:pt x="46169" y="56228"/>
                    <a:pt x="42365" y="46040"/>
                  </a:cubicBezTo>
                  <a:lnTo>
                    <a:pt x="55906" y="46040"/>
                  </a:lnTo>
                  <a:lnTo>
                    <a:pt x="55906" y="45524"/>
                  </a:lnTo>
                  <a:lnTo>
                    <a:pt x="67771" y="55325"/>
                  </a:lnTo>
                  <a:cubicBezTo>
                    <a:pt x="73509" y="46362"/>
                    <a:pt x="76734" y="39011"/>
                    <a:pt x="76734" y="39011"/>
                  </a:cubicBezTo>
                  <a:lnTo>
                    <a:pt x="96916" y="39011"/>
                  </a:lnTo>
                  <a:lnTo>
                    <a:pt x="96916" y="59775"/>
                  </a:lnTo>
                  <a:close/>
                  <a:moveTo>
                    <a:pt x="28243" y="71897"/>
                  </a:moveTo>
                  <a:cubicBezTo>
                    <a:pt x="28243" y="71897"/>
                    <a:pt x="27405" y="81311"/>
                    <a:pt x="27340" y="84471"/>
                  </a:cubicBezTo>
                  <a:lnTo>
                    <a:pt x="27340" y="151339"/>
                  </a:lnTo>
                  <a:lnTo>
                    <a:pt x="41913" y="151339"/>
                  </a:lnTo>
                  <a:lnTo>
                    <a:pt x="41913" y="78345"/>
                  </a:lnTo>
                  <a:cubicBezTo>
                    <a:pt x="41849" y="75250"/>
                    <a:pt x="41011" y="65900"/>
                    <a:pt x="41011" y="65900"/>
                  </a:cubicBezTo>
                  <a:cubicBezTo>
                    <a:pt x="41011" y="65900"/>
                    <a:pt x="41784" y="71510"/>
                    <a:pt x="55454" y="90145"/>
                  </a:cubicBezTo>
                  <a:lnTo>
                    <a:pt x="63192" y="76991"/>
                  </a:lnTo>
                  <a:lnTo>
                    <a:pt x="60097" y="73961"/>
                  </a:lnTo>
                  <a:lnTo>
                    <a:pt x="92080" y="73961"/>
                  </a:lnTo>
                  <a:cubicBezTo>
                    <a:pt x="80280" y="102977"/>
                    <a:pt x="49200" y="125610"/>
                    <a:pt x="49200" y="125610"/>
                  </a:cubicBezTo>
                  <a:lnTo>
                    <a:pt x="59001" y="137926"/>
                  </a:lnTo>
                  <a:cubicBezTo>
                    <a:pt x="81376" y="122193"/>
                    <a:pt x="96852" y="92144"/>
                    <a:pt x="96852" y="92144"/>
                  </a:cubicBezTo>
                  <a:lnTo>
                    <a:pt x="96852" y="151081"/>
                  </a:lnTo>
                  <a:lnTo>
                    <a:pt x="110716" y="151081"/>
                  </a:lnTo>
                  <a:lnTo>
                    <a:pt x="110716" y="91435"/>
                  </a:lnTo>
                  <a:cubicBezTo>
                    <a:pt x="117744" y="102977"/>
                    <a:pt x="126836" y="120065"/>
                    <a:pt x="146632" y="136379"/>
                  </a:cubicBezTo>
                  <a:lnTo>
                    <a:pt x="155595" y="122064"/>
                  </a:lnTo>
                  <a:cubicBezTo>
                    <a:pt x="133736" y="105299"/>
                    <a:pt x="119421" y="83504"/>
                    <a:pt x="114971" y="73574"/>
                  </a:cubicBezTo>
                  <a:lnTo>
                    <a:pt x="152177" y="73574"/>
                  </a:lnTo>
                  <a:lnTo>
                    <a:pt x="152177" y="59775"/>
                  </a:lnTo>
                  <a:lnTo>
                    <a:pt x="110716" y="59775"/>
                  </a:lnTo>
                  <a:lnTo>
                    <a:pt x="110716" y="39011"/>
                  </a:lnTo>
                  <a:lnTo>
                    <a:pt x="144891" y="39011"/>
                  </a:lnTo>
                  <a:lnTo>
                    <a:pt x="144891" y="25212"/>
                  </a:lnTo>
                  <a:lnTo>
                    <a:pt x="110716" y="25212"/>
                  </a:lnTo>
                  <a:lnTo>
                    <a:pt x="110716" y="0"/>
                  </a:lnTo>
                  <a:lnTo>
                    <a:pt x="96852" y="0"/>
                  </a:lnTo>
                  <a:lnTo>
                    <a:pt x="96852" y="25212"/>
                  </a:lnTo>
                  <a:lnTo>
                    <a:pt x="81505" y="25212"/>
                  </a:lnTo>
                  <a:cubicBezTo>
                    <a:pt x="82343" y="21988"/>
                    <a:pt x="86083" y="7802"/>
                    <a:pt x="86083" y="7802"/>
                  </a:cubicBezTo>
                  <a:lnTo>
                    <a:pt x="72091" y="4449"/>
                  </a:lnTo>
                  <a:cubicBezTo>
                    <a:pt x="67577" y="30500"/>
                    <a:pt x="58356" y="41720"/>
                    <a:pt x="55841" y="44428"/>
                  </a:cubicBezTo>
                  <a:lnTo>
                    <a:pt x="55841" y="31854"/>
                  </a:lnTo>
                  <a:lnTo>
                    <a:pt x="41913" y="31854"/>
                  </a:lnTo>
                  <a:lnTo>
                    <a:pt x="41913" y="322"/>
                  </a:lnTo>
                  <a:lnTo>
                    <a:pt x="27340" y="322"/>
                  </a:lnTo>
                  <a:lnTo>
                    <a:pt x="27340" y="31789"/>
                  </a:lnTo>
                  <a:lnTo>
                    <a:pt x="3804" y="31789"/>
                  </a:lnTo>
                  <a:lnTo>
                    <a:pt x="3804" y="46040"/>
                  </a:lnTo>
                  <a:lnTo>
                    <a:pt x="26180" y="46040"/>
                  </a:lnTo>
                  <a:cubicBezTo>
                    <a:pt x="26180" y="46040"/>
                    <a:pt x="19667" y="70221"/>
                    <a:pt x="0" y="93499"/>
                  </a:cubicBezTo>
                  <a:lnTo>
                    <a:pt x="6771" y="109103"/>
                  </a:lnTo>
                  <a:cubicBezTo>
                    <a:pt x="21150" y="90081"/>
                    <a:pt x="26373" y="77507"/>
                    <a:pt x="28243" y="71897"/>
                  </a:cubicBezTo>
                </a:path>
              </a:pathLst>
            </a:custGeom>
            <a:solidFill>
              <a:srgbClr val="000000"/>
            </a:solidFill>
            <a:ln w="1270" cap="flat">
              <a:solidFill>
                <a:srgbClr val="000000"/>
              </a:solidFill>
              <a:prstDash val="solid"/>
              <a:miter/>
            </a:ln>
          </p:spPr>
          <p:txBody>
            <a:bodyPr rtlCol="0" anchor="ctr"/>
            <a:lstStyle/>
            <a:p>
              <a:endParaRPr lang="ja-JP" altLang="en-US">
                <a:latin typeface="Meiryo UI" panose="020B0604030504040204" pitchFamily="34" charset="-128"/>
                <a:ea typeface="Meiryo UI" panose="020B0604030504040204" pitchFamily="34" charset="-128"/>
              </a:endParaRPr>
            </a:p>
          </p:txBody>
        </p:sp>
      </p:grpSp>
      <p:sp>
        <p:nvSpPr>
          <p:cNvPr id="476" name="Title Underline with 0.1pt Outline">
            <a:extLst>
              <a:ext uri="{FF2B5EF4-FFF2-40B4-BE49-F238E27FC236}">
                <a16:creationId xmlns:a16="http://schemas.microsoft.com/office/drawing/2014/main" id="{74BE0D02-5A19-D5C4-A025-1686D776864F}"/>
              </a:ext>
            </a:extLst>
          </p:cNvPr>
          <p:cNvSpPr/>
          <p:nvPr userDrawn="1"/>
        </p:nvSpPr>
        <p:spPr>
          <a:xfrm>
            <a:off x="2915944" y="3507237"/>
            <a:ext cx="6355028" cy="18000"/>
          </a:xfrm>
          <a:prstGeom prst="rect">
            <a:avLst/>
          </a:prstGeom>
          <a:solidFill>
            <a:srgbClr val="E60012"/>
          </a:solidFill>
          <a:ln w="127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34" charset="-128"/>
              <a:ea typeface="Meiryo UI" panose="020B0604030504040204" pitchFamily="34" charset="-128"/>
            </a:endParaRPr>
          </a:p>
        </p:txBody>
      </p:sp>
      <p:pic>
        <p:nvPicPr>
          <p:cNvPr id="460" name="Picture 459">
            <a:extLst>
              <a:ext uri="{FF2B5EF4-FFF2-40B4-BE49-F238E27FC236}">
                <a16:creationId xmlns:a16="http://schemas.microsoft.com/office/drawing/2014/main" id="{AB9C33FA-4ACF-BA61-69AE-311E1824114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4538" y="95250"/>
            <a:ext cx="2826962" cy="481371"/>
          </a:xfrm>
          <a:prstGeom prst="rect">
            <a:avLst/>
          </a:prstGeom>
        </p:spPr>
      </p:pic>
      <p:sp>
        <p:nvSpPr>
          <p:cNvPr id="120" name="Title">
            <a:extLst>
              <a:ext uri="{FF2B5EF4-FFF2-40B4-BE49-F238E27FC236}">
                <a16:creationId xmlns:a16="http://schemas.microsoft.com/office/drawing/2014/main" id="{024B1232-7182-463A-90A5-BFBE6CF58EA6}"/>
              </a:ext>
            </a:extLst>
          </p:cNvPr>
          <p:cNvSpPr>
            <a:spLocks noGrp="1"/>
          </p:cNvSpPr>
          <p:nvPr>
            <p:ph type="ctrTitle"/>
          </p:nvPr>
        </p:nvSpPr>
        <p:spPr>
          <a:xfrm>
            <a:off x="2463957" y="1754981"/>
            <a:ext cx="7264086" cy="1762371"/>
          </a:xfrm>
          <a:custGeom>
            <a:avLst/>
            <a:gdLst>
              <a:gd name="connsiteX0" fmla="*/ 0 w 7264086"/>
              <a:gd name="connsiteY0" fmla="*/ 0 h 1762371"/>
              <a:gd name="connsiteX1" fmla="*/ 7264086 w 7264086"/>
              <a:gd name="connsiteY1" fmla="*/ 0 h 1762371"/>
              <a:gd name="connsiteX2" fmla="*/ 7264086 w 7264086"/>
              <a:gd name="connsiteY2" fmla="*/ 1762371 h 1762371"/>
              <a:gd name="connsiteX3" fmla="*/ 6807015 w 7264086"/>
              <a:gd name="connsiteY3" fmla="*/ 1762371 h 1762371"/>
              <a:gd name="connsiteX4" fmla="*/ 6807015 w 7264086"/>
              <a:gd name="connsiteY4" fmla="*/ 1752256 h 1762371"/>
              <a:gd name="connsiteX5" fmla="*/ 451987 w 7264086"/>
              <a:gd name="connsiteY5" fmla="*/ 1752256 h 1762371"/>
              <a:gd name="connsiteX6" fmla="*/ 451987 w 7264086"/>
              <a:gd name="connsiteY6" fmla="*/ 1762371 h 1762371"/>
              <a:gd name="connsiteX7" fmla="*/ 0 w 7264086"/>
              <a:gd name="connsiteY7" fmla="*/ 1762371 h 176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64086" h="1762371">
                <a:moveTo>
                  <a:pt x="0" y="0"/>
                </a:moveTo>
                <a:lnTo>
                  <a:pt x="7264086" y="0"/>
                </a:lnTo>
                <a:lnTo>
                  <a:pt x="7264086" y="1762371"/>
                </a:lnTo>
                <a:lnTo>
                  <a:pt x="6807015" y="1762371"/>
                </a:lnTo>
                <a:lnTo>
                  <a:pt x="6807015" y="1752256"/>
                </a:lnTo>
                <a:lnTo>
                  <a:pt x="451987" y="1752256"/>
                </a:lnTo>
                <a:lnTo>
                  <a:pt x="451987" y="1762371"/>
                </a:lnTo>
                <a:lnTo>
                  <a:pt x="0" y="1762371"/>
                </a:lnTo>
                <a:close/>
              </a:path>
            </a:pathLst>
          </a:custGeom>
          <a:solidFill>
            <a:schemeClr val="bg1">
              <a:alpha val="45000"/>
            </a:schemeClr>
          </a:solidFill>
        </p:spPr>
        <p:txBody>
          <a:bodyPr wrap="square" lIns="0" rIns="0" bIns="180000" anchor="b">
            <a:noAutofit/>
          </a:bodyPr>
          <a:lstStyle>
            <a:lvl1pPr algn="ctr">
              <a:defRPr sz="2800" b="1" spc="600">
                <a:solidFill>
                  <a:schemeClr val="tx1"/>
                </a:solidFill>
                <a:latin typeface="Meiryo UI" panose="020B0604030504040204" pitchFamily="34" charset="-128"/>
                <a:ea typeface="Meiryo UI" panose="020B0604030504040204" pitchFamily="34" charset="-128"/>
              </a:defRPr>
            </a:lvl1pPr>
          </a:lstStyle>
          <a:p>
            <a:r>
              <a:rPr lang="ja-JP" altLang="en-US"/>
              <a:t>マスター タイトルの書式設定</a:t>
            </a:r>
            <a:endParaRPr lang="en-US" dirty="0"/>
          </a:p>
        </p:txBody>
      </p:sp>
      <p:sp>
        <p:nvSpPr>
          <p:cNvPr id="149" name="Subtitle">
            <a:extLst>
              <a:ext uri="{FF2B5EF4-FFF2-40B4-BE49-F238E27FC236}">
                <a16:creationId xmlns:a16="http://schemas.microsoft.com/office/drawing/2014/main" id="{2CD56123-DF84-4E79-852D-8D6B6EDD0228}"/>
              </a:ext>
            </a:extLst>
          </p:cNvPr>
          <p:cNvSpPr>
            <a:spLocks noGrp="1"/>
          </p:cNvSpPr>
          <p:nvPr>
            <p:ph type="subTitle" idx="1"/>
          </p:nvPr>
        </p:nvSpPr>
        <p:spPr>
          <a:xfrm>
            <a:off x="2462972" y="3517352"/>
            <a:ext cx="7266057" cy="1018648"/>
          </a:xfrm>
          <a:custGeom>
            <a:avLst/>
            <a:gdLst>
              <a:gd name="connsiteX0" fmla="*/ 0 w 7266057"/>
              <a:gd name="connsiteY0" fmla="*/ 0 h 1018648"/>
              <a:gd name="connsiteX1" fmla="*/ 451972 w 7266057"/>
              <a:gd name="connsiteY1" fmla="*/ 0 h 1018648"/>
              <a:gd name="connsiteX2" fmla="*/ 451972 w 7266057"/>
              <a:gd name="connsiteY2" fmla="*/ 5130 h 1018648"/>
              <a:gd name="connsiteX3" fmla="*/ 452972 w 7266057"/>
              <a:gd name="connsiteY3" fmla="*/ 5130 h 1018648"/>
              <a:gd name="connsiteX4" fmla="*/ 452972 w 7266057"/>
              <a:gd name="connsiteY4" fmla="*/ 7885 h 1018648"/>
              <a:gd name="connsiteX5" fmla="*/ 6808000 w 7266057"/>
              <a:gd name="connsiteY5" fmla="*/ 7885 h 1018648"/>
              <a:gd name="connsiteX6" fmla="*/ 6808000 w 7266057"/>
              <a:gd name="connsiteY6" fmla="*/ 0 h 1018648"/>
              <a:gd name="connsiteX7" fmla="*/ 7264086 w 7266057"/>
              <a:gd name="connsiteY7" fmla="*/ 0 h 1018648"/>
              <a:gd name="connsiteX8" fmla="*/ 7264086 w 7266057"/>
              <a:gd name="connsiteY8" fmla="*/ 907968 h 1018648"/>
              <a:gd name="connsiteX9" fmla="*/ 7266057 w 7266057"/>
              <a:gd name="connsiteY9" fmla="*/ 907968 h 1018648"/>
              <a:gd name="connsiteX10" fmla="*/ 7266057 w 7266057"/>
              <a:gd name="connsiteY10" fmla="*/ 1018648 h 1018648"/>
              <a:gd name="connsiteX11" fmla="*/ 1972 w 7266057"/>
              <a:gd name="connsiteY11" fmla="*/ 1018648 h 1018648"/>
              <a:gd name="connsiteX12" fmla="*/ 1972 w 7266057"/>
              <a:gd name="connsiteY12" fmla="*/ 1011600 h 1018648"/>
              <a:gd name="connsiteX13" fmla="*/ 0 w 7266057"/>
              <a:gd name="connsiteY13" fmla="*/ 1011600 h 1018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66057" h="1018648">
                <a:moveTo>
                  <a:pt x="0" y="0"/>
                </a:moveTo>
                <a:lnTo>
                  <a:pt x="451972" y="0"/>
                </a:lnTo>
                <a:lnTo>
                  <a:pt x="451972" y="5130"/>
                </a:lnTo>
                <a:lnTo>
                  <a:pt x="452972" y="5130"/>
                </a:lnTo>
                <a:lnTo>
                  <a:pt x="452972" y="7885"/>
                </a:lnTo>
                <a:lnTo>
                  <a:pt x="6808000" y="7885"/>
                </a:lnTo>
                <a:lnTo>
                  <a:pt x="6808000" y="0"/>
                </a:lnTo>
                <a:lnTo>
                  <a:pt x="7264086" y="0"/>
                </a:lnTo>
                <a:lnTo>
                  <a:pt x="7264086" y="907968"/>
                </a:lnTo>
                <a:lnTo>
                  <a:pt x="7266057" y="907968"/>
                </a:lnTo>
                <a:lnTo>
                  <a:pt x="7266057" y="1018648"/>
                </a:lnTo>
                <a:lnTo>
                  <a:pt x="1972" y="1018648"/>
                </a:lnTo>
                <a:lnTo>
                  <a:pt x="1972" y="1011600"/>
                </a:lnTo>
                <a:lnTo>
                  <a:pt x="0" y="1011600"/>
                </a:lnTo>
                <a:close/>
              </a:path>
            </a:pathLst>
          </a:custGeom>
          <a:solidFill>
            <a:schemeClr val="bg1">
              <a:alpha val="45000"/>
            </a:schemeClr>
          </a:solidFill>
        </p:spPr>
        <p:txBody>
          <a:bodyPr wrap="square" lIns="0" tIns="187200" rIns="0" bIns="0">
            <a:noAutofit/>
          </a:bodyPr>
          <a:lstStyle>
            <a:lvl1pPr marL="0" indent="0" algn="ctr">
              <a:buNone/>
              <a:defRPr sz="1050" b="1" spc="250" baseline="0">
                <a:solidFill>
                  <a:schemeClr val="tx1"/>
                </a:solidFill>
                <a:latin typeface="Meiryo UI" panose="020B0604030504040204" pitchFamily="34" charset="-128"/>
                <a:ea typeface="Meiryo UI"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sp>
        <p:nvSpPr>
          <p:cNvPr id="342" name="Date Placeholder">
            <a:extLst>
              <a:ext uri="{FF2B5EF4-FFF2-40B4-BE49-F238E27FC236}">
                <a16:creationId xmlns:a16="http://schemas.microsoft.com/office/drawing/2014/main" id="{9A7A7E94-E727-426F-B374-ACD86F752307}"/>
              </a:ext>
            </a:extLst>
          </p:cNvPr>
          <p:cNvSpPr>
            <a:spLocks noGrp="1"/>
          </p:cNvSpPr>
          <p:nvPr>
            <p:ph type="dt" sz="half" idx="16"/>
          </p:nvPr>
        </p:nvSpPr>
        <p:spPr>
          <a:xfrm>
            <a:off x="2463600" y="4536000"/>
            <a:ext cx="7264800" cy="741600"/>
          </a:xfrm>
          <a:custGeom>
            <a:avLst/>
            <a:gdLst>
              <a:gd name="connsiteX0" fmla="*/ 3406336 w 7264800"/>
              <a:gd name="connsiteY0" fmla="*/ 562117 h 741600"/>
              <a:gd name="connsiteX1" fmla="*/ 3457376 w 7264800"/>
              <a:gd name="connsiteY1" fmla="*/ 562117 h 741600"/>
              <a:gd name="connsiteX2" fmla="*/ 3456620 w 7264800"/>
              <a:gd name="connsiteY2" fmla="*/ 566786 h 741600"/>
              <a:gd name="connsiteX3" fmla="*/ 3448103 w 7264800"/>
              <a:gd name="connsiteY3" fmla="*/ 572463 h 741600"/>
              <a:gd name="connsiteX4" fmla="*/ 3412267 w 7264800"/>
              <a:gd name="connsiteY4" fmla="*/ 572463 h 741600"/>
              <a:gd name="connsiteX5" fmla="*/ 3406336 w 7264800"/>
              <a:gd name="connsiteY5" fmla="*/ 567795 h 741600"/>
              <a:gd name="connsiteX6" fmla="*/ 3019148 w 7264800"/>
              <a:gd name="connsiteY6" fmla="*/ 555587 h 741600"/>
              <a:gd name="connsiteX7" fmla="*/ 3019148 w 7264800"/>
              <a:gd name="connsiteY7" fmla="*/ 570982 h 741600"/>
              <a:gd name="connsiteX8" fmla="*/ 3162490 w 7264800"/>
              <a:gd name="connsiteY8" fmla="*/ 570982 h 741600"/>
              <a:gd name="connsiteX9" fmla="*/ 3162490 w 7264800"/>
              <a:gd name="connsiteY9" fmla="*/ 555587 h 741600"/>
              <a:gd name="connsiteX10" fmla="*/ 3353403 w 7264800"/>
              <a:gd name="connsiteY10" fmla="*/ 540792 h 741600"/>
              <a:gd name="connsiteX11" fmla="*/ 3391952 w 7264800"/>
              <a:gd name="connsiteY11" fmla="*/ 540792 h 741600"/>
              <a:gd name="connsiteX12" fmla="*/ 3391952 w 7264800"/>
              <a:gd name="connsiteY12" fmla="*/ 550950 h 741600"/>
              <a:gd name="connsiteX13" fmla="*/ 3353403 w 7264800"/>
              <a:gd name="connsiteY13" fmla="*/ 550950 h 741600"/>
              <a:gd name="connsiteX14" fmla="*/ 3406273 w 7264800"/>
              <a:gd name="connsiteY14" fmla="*/ 540729 h 741600"/>
              <a:gd name="connsiteX15" fmla="*/ 3445452 w 7264800"/>
              <a:gd name="connsiteY15" fmla="*/ 540729 h 741600"/>
              <a:gd name="connsiteX16" fmla="*/ 3445452 w 7264800"/>
              <a:gd name="connsiteY16" fmla="*/ 550887 h 741600"/>
              <a:gd name="connsiteX17" fmla="*/ 3406273 w 7264800"/>
              <a:gd name="connsiteY17" fmla="*/ 550887 h 741600"/>
              <a:gd name="connsiteX18" fmla="*/ 3227159 w 7264800"/>
              <a:gd name="connsiteY18" fmla="*/ 540130 h 741600"/>
              <a:gd name="connsiteX19" fmla="*/ 3273594 w 7264800"/>
              <a:gd name="connsiteY19" fmla="*/ 540130 h 741600"/>
              <a:gd name="connsiteX20" fmla="*/ 3249303 w 7264800"/>
              <a:gd name="connsiteY20" fmla="*/ 553443 h 741600"/>
              <a:gd name="connsiteX21" fmla="*/ 3227159 w 7264800"/>
              <a:gd name="connsiteY21" fmla="*/ 540130 h 741600"/>
              <a:gd name="connsiteX22" fmla="*/ 3406273 w 7264800"/>
              <a:gd name="connsiteY22" fmla="*/ 522054 h 741600"/>
              <a:gd name="connsiteX23" fmla="*/ 3445452 w 7264800"/>
              <a:gd name="connsiteY23" fmla="*/ 522054 h 741600"/>
              <a:gd name="connsiteX24" fmla="*/ 3445452 w 7264800"/>
              <a:gd name="connsiteY24" fmla="*/ 530635 h 741600"/>
              <a:gd name="connsiteX25" fmla="*/ 3406273 w 7264800"/>
              <a:gd name="connsiteY25" fmla="*/ 530635 h 741600"/>
              <a:gd name="connsiteX26" fmla="*/ 3353403 w 7264800"/>
              <a:gd name="connsiteY26" fmla="*/ 522054 h 741600"/>
              <a:gd name="connsiteX27" fmla="*/ 3391952 w 7264800"/>
              <a:gd name="connsiteY27" fmla="*/ 522054 h 741600"/>
              <a:gd name="connsiteX28" fmla="*/ 3391952 w 7264800"/>
              <a:gd name="connsiteY28" fmla="*/ 530698 h 741600"/>
              <a:gd name="connsiteX29" fmla="*/ 3353403 w 7264800"/>
              <a:gd name="connsiteY29" fmla="*/ 530635 h 741600"/>
              <a:gd name="connsiteX30" fmla="*/ 3236117 w 7264800"/>
              <a:gd name="connsiteY30" fmla="*/ 514011 h 741600"/>
              <a:gd name="connsiteX31" fmla="*/ 3176686 w 7264800"/>
              <a:gd name="connsiteY31" fmla="*/ 543475 h 741600"/>
              <a:gd name="connsiteX32" fmla="*/ 3183499 w 7264800"/>
              <a:gd name="connsiteY32" fmla="*/ 555840 h 741600"/>
              <a:gd name="connsiteX33" fmla="*/ 3213720 w 7264800"/>
              <a:gd name="connsiteY33" fmla="*/ 546250 h 741600"/>
              <a:gd name="connsiteX34" fmla="*/ 3229746 w 7264800"/>
              <a:gd name="connsiteY34" fmla="*/ 558806 h 741600"/>
              <a:gd name="connsiteX35" fmla="*/ 3176118 w 7264800"/>
              <a:gd name="connsiteY35" fmla="*/ 564294 h 741600"/>
              <a:gd name="connsiteX36" fmla="*/ 3183184 w 7264800"/>
              <a:gd name="connsiteY36" fmla="*/ 578363 h 741600"/>
              <a:gd name="connsiteX37" fmla="*/ 3248105 w 7264800"/>
              <a:gd name="connsiteY37" fmla="*/ 567134 h 741600"/>
              <a:gd name="connsiteX38" fmla="*/ 3266654 w 7264800"/>
              <a:gd name="connsiteY38" fmla="*/ 571992 h 741600"/>
              <a:gd name="connsiteX39" fmla="*/ 3312835 w 7264800"/>
              <a:gd name="connsiteY39" fmla="*/ 577607 h 741600"/>
              <a:gd name="connsiteX40" fmla="*/ 3319145 w 7264800"/>
              <a:gd name="connsiteY40" fmla="*/ 562401 h 741600"/>
              <a:gd name="connsiteX41" fmla="*/ 3269871 w 7264800"/>
              <a:gd name="connsiteY41" fmla="*/ 558427 h 741600"/>
              <a:gd name="connsiteX42" fmla="*/ 3295738 w 7264800"/>
              <a:gd name="connsiteY42" fmla="*/ 538995 h 741600"/>
              <a:gd name="connsiteX43" fmla="*/ 3295738 w 7264800"/>
              <a:gd name="connsiteY43" fmla="*/ 528711 h 741600"/>
              <a:gd name="connsiteX44" fmla="*/ 3239209 w 7264800"/>
              <a:gd name="connsiteY44" fmla="*/ 528837 h 741600"/>
              <a:gd name="connsiteX45" fmla="*/ 3251133 w 7264800"/>
              <a:gd name="connsiteY45" fmla="*/ 516661 h 741600"/>
              <a:gd name="connsiteX46" fmla="*/ 3339775 w 7264800"/>
              <a:gd name="connsiteY46" fmla="*/ 511266 h 741600"/>
              <a:gd name="connsiteX47" fmla="*/ 3339775 w 7264800"/>
              <a:gd name="connsiteY47" fmla="*/ 571012 h 741600"/>
              <a:gd name="connsiteX48" fmla="*/ 3353466 w 7264800"/>
              <a:gd name="connsiteY48" fmla="*/ 571012 h 741600"/>
              <a:gd name="connsiteX49" fmla="*/ 3353466 w 7264800"/>
              <a:gd name="connsiteY49" fmla="*/ 562054 h 741600"/>
              <a:gd name="connsiteX50" fmla="*/ 3392015 w 7264800"/>
              <a:gd name="connsiteY50" fmla="*/ 562054 h 741600"/>
              <a:gd name="connsiteX51" fmla="*/ 3392015 w 7264800"/>
              <a:gd name="connsiteY51" fmla="*/ 573032 h 741600"/>
              <a:gd name="connsiteX52" fmla="*/ 3407977 w 7264800"/>
              <a:gd name="connsiteY52" fmla="*/ 584577 h 741600"/>
              <a:gd name="connsiteX53" fmla="*/ 3450184 w 7264800"/>
              <a:gd name="connsiteY53" fmla="*/ 584577 h 741600"/>
              <a:gd name="connsiteX54" fmla="*/ 3471446 w 7264800"/>
              <a:gd name="connsiteY54" fmla="*/ 570004 h 741600"/>
              <a:gd name="connsiteX55" fmla="*/ 3472582 w 7264800"/>
              <a:gd name="connsiteY55" fmla="*/ 558710 h 741600"/>
              <a:gd name="connsiteX56" fmla="*/ 3459144 w 7264800"/>
              <a:gd name="connsiteY56" fmla="*/ 553663 h 741600"/>
              <a:gd name="connsiteX57" fmla="*/ 3459144 w 7264800"/>
              <a:gd name="connsiteY57" fmla="*/ 511266 h 741600"/>
              <a:gd name="connsiteX58" fmla="*/ 3459080 w 7264800"/>
              <a:gd name="connsiteY58" fmla="*/ 511266 h 741600"/>
              <a:gd name="connsiteX59" fmla="*/ 3953712 w 7264800"/>
              <a:gd name="connsiteY59" fmla="*/ 503664 h 741600"/>
              <a:gd name="connsiteX60" fmla="*/ 3953712 w 7264800"/>
              <a:gd name="connsiteY60" fmla="*/ 518049 h 741600"/>
              <a:gd name="connsiteX61" fmla="*/ 3997623 w 7264800"/>
              <a:gd name="connsiteY61" fmla="*/ 518049 h 741600"/>
              <a:gd name="connsiteX62" fmla="*/ 3978002 w 7264800"/>
              <a:gd name="connsiteY62" fmla="*/ 555146 h 741600"/>
              <a:gd name="connsiteX63" fmla="*/ 3957182 w 7264800"/>
              <a:gd name="connsiteY63" fmla="*/ 556030 h 741600"/>
              <a:gd name="connsiteX64" fmla="*/ 3960021 w 7264800"/>
              <a:gd name="connsiteY64" fmla="*/ 571361 h 741600"/>
              <a:gd name="connsiteX65" fmla="*/ 4064058 w 7264800"/>
              <a:gd name="connsiteY65" fmla="*/ 561645 h 741600"/>
              <a:gd name="connsiteX66" fmla="*/ 4075794 w 7264800"/>
              <a:gd name="connsiteY66" fmla="*/ 574641 h 741600"/>
              <a:gd name="connsiteX67" fmla="*/ 4087970 w 7264800"/>
              <a:gd name="connsiteY67" fmla="*/ 564925 h 741600"/>
              <a:gd name="connsiteX68" fmla="*/ 4046898 w 7264800"/>
              <a:gd name="connsiteY68" fmla="*/ 523853 h 741600"/>
              <a:gd name="connsiteX69" fmla="*/ 4035162 w 7264800"/>
              <a:gd name="connsiteY69" fmla="*/ 532118 h 741600"/>
              <a:gd name="connsiteX70" fmla="*/ 4052892 w 7264800"/>
              <a:gd name="connsiteY70" fmla="*/ 549594 h 741600"/>
              <a:gd name="connsiteX71" fmla="*/ 3996046 w 7264800"/>
              <a:gd name="connsiteY71" fmla="*/ 554641 h 741600"/>
              <a:gd name="connsiteX72" fmla="*/ 4015226 w 7264800"/>
              <a:gd name="connsiteY72" fmla="*/ 518049 h 741600"/>
              <a:gd name="connsiteX73" fmla="*/ 4087276 w 7264800"/>
              <a:gd name="connsiteY73" fmla="*/ 518049 h 741600"/>
              <a:gd name="connsiteX74" fmla="*/ 4087276 w 7264800"/>
              <a:gd name="connsiteY74" fmla="*/ 503664 h 741600"/>
              <a:gd name="connsiteX75" fmla="*/ 3033595 w 7264800"/>
              <a:gd name="connsiteY75" fmla="*/ 498743 h 741600"/>
              <a:gd name="connsiteX76" fmla="*/ 3033595 w 7264800"/>
              <a:gd name="connsiteY76" fmla="*/ 513695 h 741600"/>
              <a:gd name="connsiteX77" fmla="*/ 3147915 w 7264800"/>
              <a:gd name="connsiteY77" fmla="*/ 513695 h 741600"/>
              <a:gd name="connsiteX78" fmla="*/ 3147915 w 7264800"/>
              <a:gd name="connsiteY78" fmla="*/ 498743 h 741600"/>
              <a:gd name="connsiteX79" fmla="*/ 3595924 w 7264800"/>
              <a:gd name="connsiteY79" fmla="*/ 498302 h 741600"/>
              <a:gd name="connsiteX80" fmla="*/ 3600278 w 7264800"/>
              <a:gd name="connsiteY80" fmla="*/ 508585 h 741600"/>
              <a:gd name="connsiteX81" fmla="*/ 3585451 w 7264800"/>
              <a:gd name="connsiteY81" fmla="*/ 508585 h 741600"/>
              <a:gd name="connsiteX82" fmla="*/ 3583937 w 7264800"/>
              <a:gd name="connsiteY82" fmla="*/ 498680 h 741600"/>
              <a:gd name="connsiteX83" fmla="*/ 3801852 w 7264800"/>
              <a:gd name="connsiteY83" fmla="*/ 494011 h 741600"/>
              <a:gd name="connsiteX84" fmla="*/ 3801852 w 7264800"/>
              <a:gd name="connsiteY84" fmla="*/ 509090 h 741600"/>
              <a:gd name="connsiteX85" fmla="*/ 3829738 w 7264800"/>
              <a:gd name="connsiteY85" fmla="*/ 509090 h 741600"/>
              <a:gd name="connsiteX86" fmla="*/ 3829738 w 7264800"/>
              <a:gd name="connsiteY86" fmla="*/ 551297 h 741600"/>
              <a:gd name="connsiteX87" fmla="*/ 3796048 w 7264800"/>
              <a:gd name="connsiteY87" fmla="*/ 555651 h 741600"/>
              <a:gd name="connsiteX88" fmla="*/ 3797814 w 7264800"/>
              <a:gd name="connsiteY88" fmla="*/ 571928 h 741600"/>
              <a:gd name="connsiteX89" fmla="*/ 3876173 w 7264800"/>
              <a:gd name="connsiteY89" fmla="*/ 556345 h 741600"/>
              <a:gd name="connsiteX90" fmla="*/ 3876173 w 7264800"/>
              <a:gd name="connsiteY90" fmla="*/ 540950 h 741600"/>
              <a:gd name="connsiteX91" fmla="*/ 3844944 w 7264800"/>
              <a:gd name="connsiteY91" fmla="*/ 548395 h 741600"/>
              <a:gd name="connsiteX92" fmla="*/ 3844944 w 7264800"/>
              <a:gd name="connsiteY92" fmla="*/ 509090 h 741600"/>
              <a:gd name="connsiteX93" fmla="*/ 3871568 w 7264800"/>
              <a:gd name="connsiteY93" fmla="*/ 509090 h 741600"/>
              <a:gd name="connsiteX94" fmla="*/ 3871568 w 7264800"/>
              <a:gd name="connsiteY94" fmla="*/ 494011 h 741600"/>
              <a:gd name="connsiteX95" fmla="*/ 3413592 w 7264800"/>
              <a:gd name="connsiteY95" fmla="*/ 489911 h 741600"/>
              <a:gd name="connsiteX96" fmla="*/ 3413592 w 7264800"/>
              <a:gd name="connsiteY96" fmla="*/ 496977 h 741600"/>
              <a:gd name="connsiteX97" fmla="*/ 3448923 w 7264800"/>
              <a:gd name="connsiteY97" fmla="*/ 496977 h 741600"/>
              <a:gd name="connsiteX98" fmla="*/ 3448923 w 7264800"/>
              <a:gd name="connsiteY98" fmla="*/ 489911 h 741600"/>
              <a:gd name="connsiteX99" fmla="*/ 3350375 w 7264800"/>
              <a:gd name="connsiteY99" fmla="*/ 489911 h 741600"/>
              <a:gd name="connsiteX100" fmla="*/ 3350375 w 7264800"/>
              <a:gd name="connsiteY100" fmla="*/ 496977 h 741600"/>
              <a:gd name="connsiteX101" fmla="*/ 3385706 w 7264800"/>
              <a:gd name="connsiteY101" fmla="*/ 496977 h 741600"/>
              <a:gd name="connsiteX102" fmla="*/ 3385706 w 7264800"/>
              <a:gd name="connsiteY102" fmla="*/ 489911 h 741600"/>
              <a:gd name="connsiteX103" fmla="*/ 3413592 w 7264800"/>
              <a:gd name="connsiteY103" fmla="*/ 475526 h 741600"/>
              <a:gd name="connsiteX104" fmla="*/ 3413592 w 7264800"/>
              <a:gd name="connsiteY104" fmla="*/ 482592 h 741600"/>
              <a:gd name="connsiteX105" fmla="*/ 3448923 w 7264800"/>
              <a:gd name="connsiteY105" fmla="*/ 482592 h 741600"/>
              <a:gd name="connsiteX106" fmla="*/ 3448923 w 7264800"/>
              <a:gd name="connsiteY106" fmla="*/ 475526 h 741600"/>
              <a:gd name="connsiteX107" fmla="*/ 3350375 w 7264800"/>
              <a:gd name="connsiteY107" fmla="*/ 475526 h 741600"/>
              <a:gd name="connsiteX108" fmla="*/ 3350375 w 7264800"/>
              <a:gd name="connsiteY108" fmla="*/ 482592 h 741600"/>
              <a:gd name="connsiteX109" fmla="*/ 3385706 w 7264800"/>
              <a:gd name="connsiteY109" fmla="*/ 482592 h 741600"/>
              <a:gd name="connsiteX110" fmla="*/ 3385706 w 7264800"/>
              <a:gd name="connsiteY110" fmla="*/ 475526 h 741600"/>
              <a:gd name="connsiteX111" fmla="*/ 3712706 w 7264800"/>
              <a:gd name="connsiteY111" fmla="*/ 470163 h 741600"/>
              <a:gd name="connsiteX112" fmla="*/ 3732452 w 7264800"/>
              <a:gd name="connsiteY112" fmla="*/ 470163 h 741600"/>
              <a:gd name="connsiteX113" fmla="*/ 3732452 w 7264800"/>
              <a:gd name="connsiteY113" fmla="*/ 490479 h 741600"/>
              <a:gd name="connsiteX114" fmla="*/ 3694598 w 7264800"/>
              <a:gd name="connsiteY114" fmla="*/ 490479 h 741600"/>
              <a:gd name="connsiteX115" fmla="*/ 3694598 w 7264800"/>
              <a:gd name="connsiteY115" fmla="*/ 502403 h 741600"/>
              <a:gd name="connsiteX116" fmla="*/ 3679078 w 7264800"/>
              <a:gd name="connsiteY116" fmla="*/ 477041 h 741600"/>
              <a:gd name="connsiteX117" fmla="*/ 3692327 w 7264800"/>
              <a:gd name="connsiteY117" fmla="*/ 477041 h 741600"/>
              <a:gd name="connsiteX118" fmla="*/ 3692327 w 7264800"/>
              <a:gd name="connsiteY118" fmla="*/ 476536 h 741600"/>
              <a:gd name="connsiteX119" fmla="*/ 3703936 w 7264800"/>
              <a:gd name="connsiteY119" fmla="*/ 486125 h 741600"/>
              <a:gd name="connsiteX120" fmla="*/ 3712706 w 7264800"/>
              <a:gd name="connsiteY120" fmla="*/ 470163 h 741600"/>
              <a:gd name="connsiteX121" fmla="*/ 3526209 w 7264800"/>
              <a:gd name="connsiteY121" fmla="*/ 467072 h 741600"/>
              <a:gd name="connsiteX122" fmla="*/ 3537628 w 7264800"/>
              <a:gd name="connsiteY122" fmla="*/ 480131 h 741600"/>
              <a:gd name="connsiteX123" fmla="*/ 3530247 w 7264800"/>
              <a:gd name="connsiteY123" fmla="*/ 490352 h 741600"/>
              <a:gd name="connsiteX124" fmla="*/ 3526714 w 7264800"/>
              <a:gd name="connsiteY124" fmla="*/ 490352 h 741600"/>
              <a:gd name="connsiteX125" fmla="*/ 3526714 w 7264800"/>
              <a:gd name="connsiteY125" fmla="*/ 495905 h 741600"/>
              <a:gd name="connsiteX126" fmla="*/ 3514348 w 7264800"/>
              <a:gd name="connsiteY126" fmla="*/ 476914 h 741600"/>
              <a:gd name="connsiteX127" fmla="*/ 3526209 w 7264800"/>
              <a:gd name="connsiteY127" fmla="*/ 476914 h 741600"/>
              <a:gd name="connsiteX128" fmla="*/ 3239462 w 7264800"/>
              <a:gd name="connsiteY128" fmla="*/ 460700 h 741600"/>
              <a:gd name="connsiteX129" fmla="*/ 3239462 w 7264800"/>
              <a:gd name="connsiteY129" fmla="*/ 468839 h 741600"/>
              <a:gd name="connsiteX130" fmla="*/ 3187223 w 7264800"/>
              <a:gd name="connsiteY130" fmla="*/ 468839 h 741600"/>
              <a:gd name="connsiteX131" fmla="*/ 3187223 w 7264800"/>
              <a:gd name="connsiteY131" fmla="*/ 480510 h 741600"/>
              <a:gd name="connsiteX132" fmla="*/ 3239462 w 7264800"/>
              <a:gd name="connsiteY132" fmla="*/ 480510 h 741600"/>
              <a:gd name="connsiteX133" fmla="*/ 3239462 w 7264800"/>
              <a:gd name="connsiteY133" fmla="*/ 488713 h 741600"/>
              <a:gd name="connsiteX134" fmla="*/ 3175613 w 7264800"/>
              <a:gd name="connsiteY134" fmla="*/ 488713 h 741600"/>
              <a:gd name="connsiteX135" fmla="*/ 3175613 w 7264800"/>
              <a:gd name="connsiteY135" fmla="*/ 500195 h 741600"/>
              <a:gd name="connsiteX136" fmla="*/ 3218263 w 7264800"/>
              <a:gd name="connsiteY136" fmla="*/ 500195 h 741600"/>
              <a:gd name="connsiteX137" fmla="*/ 3174036 w 7264800"/>
              <a:gd name="connsiteY137" fmla="*/ 519437 h 741600"/>
              <a:gd name="connsiteX138" fmla="*/ 3180787 w 7264800"/>
              <a:gd name="connsiteY138" fmla="*/ 532497 h 741600"/>
              <a:gd name="connsiteX139" fmla="*/ 3236749 w 7264800"/>
              <a:gd name="connsiteY139" fmla="*/ 500195 h 741600"/>
              <a:gd name="connsiteX140" fmla="*/ 3257506 w 7264800"/>
              <a:gd name="connsiteY140" fmla="*/ 500195 h 741600"/>
              <a:gd name="connsiteX141" fmla="*/ 3257568 w 7264800"/>
              <a:gd name="connsiteY141" fmla="*/ 513255 h 741600"/>
              <a:gd name="connsiteX142" fmla="*/ 3268546 w 7264800"/>
              <a:gd name="connsiteY142" fmla="*/ 522150 h 741600"/>
              <a:gd name="connsiteX143" fmla="*/ 3302048 w 7264800"/>
              <a:gd name="connsiteY143" fmla="*/ 522150 h 741600"/>
              <a:gd name="connsiteX144" fmla="*/ 3316054 w 7264800"/>
              <a:gd name="connsiteY144" fmla="*/ 511362 h 741600"/>
              <a:gd name="connsiteX145" fmla="*/ 3316621 w 7264800"/>
              <a:gd name="connsiteY145" fmla="*/ 507387 h 741600"/>
              <a:gd name="connsiteX146" fmla="*/ 3301543 w 7264800"/>
              <a:gd name="connsiteY146" fmla="*/ 502845 h 741600"/>
              <a:gd name="connsiteX147" fmla="*/ 3300786 w 7264800"/>
              <a:gd name="connsiteY147" fmla="*/ 507892 h 741600"/>
              <a:gd name="connsiteX148" fmla="*/ 3295675 w 7264800"/>
              <a:gd name="connsiteY148" fmla="*/ 511236 h 741600"/>
              <a:gd name="connsiteX149" fmla="*/ 3276559 w 7264800"/>
              <a:gd name="connsiteY149" fmla="*/ 511236 h 741600"/>
              <a:gd name="connsiteX150" fmla="*/ 3271764 w 7264800"/>
              <a:gd name="connsiteY150" fmla="*/ 507639 h 741600"/>
              <a:gd name="connsiteX151" fmla="*/ 3271764 w 7264800"/>
              <a:gd name="connsiteY151" fmla="*/ 500132 h 741600"/>
              <a:gd name="connsiteX152" fmla="*/ 3317946 w 7264800"/>
              <a:gd name="connsiteY152" fmla="*/ 500132 h 741600"/>
              <a:gd name="connsiteX153" fmla="*/ 3317946 w 7264800"/>
              <a:gd name="connsiteY153" fmla="*/ 488649 h 741600"/>
              <a:gd name="connsiteX154" fmla="*/ 3253973 w 7264800"/>
              <a:gd name="connsiteY154" fmla="*/ 488649 h 741600"/>
              <a:gd name="connsiteX155" fmla="*/ 3253973 w 7264800"/>
              <a:gd name="connsiteY155" fmla="*/ 480448 h 741600"/>
              <a:gd name="connsiteX156" fmla="*/ 3307221 w 7264800"/>
              <a:gd name="connsiteY156" fmla="*/ 480448 h 741600"/>
              <a:gd name="connsiteX157" fmla="*/ 3307221 w 7264800"/>
              <a:gd name="connsiteY157" fmla="*/ 469155 h 741600"/>
              <a:gd name="connsiteX158" fmla="*/ 3253973 w 7264800"/>
              <a:gd name="connsiteY158" fmla="*/ 469155 h 741600"/>
              <a:gd name="connsiteX159" fmla="*/ 3253973 w 7264800"/>
              <a:gd name="connsiteY159" fmla="*/ 460700 h 741600"/>
              <a:gd name="connsiteX160" fmla="*/ 3581350 w 7264800"/>
              <a:gd name="connsiteY160" fmla="*/ 457924 h 741600"/>
              <a:gd name="connsiteX161" fmla="*/ 3597186 w 7264800"/>
              <a:gd name="connsiteY161" fmla="*/ 476598 h 741600"/>
              <a:gd name="connsiteX162" fmla="*/ 3587597 w 7264800"/>
              <a:gd name="connsiteY162" fmla="*/ 487765 h 741600"/>
              <a:gd name="connsiteX163" fmla="*/ 3582801 w 7264800"/>
              <a:gd name="connsiteY163" fmla="*/ 487765 h 741600"/>
              <a:gd name="connsiteX164" fmla="*/ 3582801 w 7264800"/>
              <a:gd name="connsiteY164" fmla="*/ 487702 h 741600"/>
              <a:gd name="connsiteX165" fmla="*/ 3581350 w 7264800"/>
              <a:gd name="connsiteY165" fmla="*/ 457924 h 741600"/>
              <a:gd name="connsiteX166" fmla="*/ 4020904 w 7264800"/>
              <a:gd name="connsiteY166" fmla="*/ 446820 h 741600"/>
              <a:gd name="connsiteX167" fmla="*/ 4057497 w 7264800"/>
              <a:gd name="connsiteY167" fmla="*/ 474580 h 741600"/>
              <a:gd name="connsiteX168" fmla="*/ 3984690 w 7264800"/>
              <a:gd name="connsiteY168" fmla="*/ 474580 h 741600"/>
              <a:gd name="connsiteX169" fmla="*/ 4020904 w 7264800"/>
              <a:gd name="connsiteY169" fmla="*/ 446820 h 741600"/>
              <a:gd name="connsiteX170" fmla="*/ 3028485 w 7264800"/>
              <a:gd name="connsiteY170" fmla="*/ 444927 h 741600"/>
              <a:gd name="connsiteX171" fmla="*/ 3028485 w 7264800"/>
              <a:gd name="connsiteY171" fmla="*/ 459753 h 741600"/>
              <a:gd name="connsiteX172" fmla="*/ 3153090 w 7264800"/>
              <a:gd name="connsiteY172" fmla="*/ 459753 h 741600"/>
              <a:gd name="connsiteX173" fmla="*/ 3153090 w 7264800"/>
              <a:gd name="connsiteY173" fmla="*/ 444927 h 741600"/>
              <a:gd name="connsiteX174" fmla="*/ 3337505 w 7264800"/>
              <a:gd name="connsiteY174" fmla="*/ 438050 h 741600"/>
              <a:gd name="connsiteX175" fmla="*/ 3337505 w 7264800"/>
              <a:gd name="connsiteY175" fmla="*/ 449912 h 741600"/>
              <a:gd name="connsiteX176" fmla="*/ 3392015 w 7264800"/>
              <a:gd name="connsiteY176" fmla="*/ 449912 h 741600"/>
              <a:gd name="connsiteX177" fmla="*/ 3392015 w 7264800"/>
              <a:gd name="connsiteY177" fmla="*/ 457103 h 741600"/>
              <a:gd name="connsiteX178" fmla="*/ 3330627 w 7264800"/>
              <a:gd name="connsiteY178" fmla="*/ 457103 h 741600"/>
              <a:gd name="connsiteX179" fmla="*/ 3330627 w 7264800"/>
              <a:gd name="connsiteY179" fmla="*/ 493823 h 741600"/>
              <a:gd name="connsiteX180" fmla="*/ 3344066 w 7264800"/>
              <a:gd name="connsiteY180" fmla="*/ 493823 h 741600"/>
              <a:gd name="connsiteX181" fmla="*/ 3344066 w 7264800"/>
              <a:gd name="connsiteY181" fmla="*/ 468712 h 741600"/>
              <a:gd name="connsiteX182" fmla="*/ 3392015 w 7264800"/>
              <a:gd name="connsiteY182" fmla="*/ 468712 h 741600"/>
              <a:gd name="connsiteX183" fmla="*/ 3392015 w 7264800"/>
              <a:gd name="connsiteY183" fmla="*/ 499059 h 741600"/>
              <a:gd name="connsiteX184" fmla="*/ 3406274 w 7264800"/>
              <a:gd name="connsiteY184" fmla="*/ 499059 h 741600"/>
              <a:gd name="connsiteX185" fmla="*/ 3406274 w 7264800"/>
              <a:gd name="connsiteY185" fmla="*/ 468712 h 741600"/>
              <a:gd name="connsiteX186" fmla="*/ 3455989 w 7264800"/>
              <a:gd name="connsiteY186" fmla="*/ 468712 h 741600"/>
              <a:gd name="connsiteX187" fmla="*/ 3455989 w 7264800"/>
              <a:gd name="connsiteY187" fmla="*/ 493823 h 741600"/>
              <a:gd name="connsiteX188" fmla="*/ 3469427 w 7264800"/>
              <a:gd name="connsiteY188" fmla="*/ 493823 h 741600"/>
              <a:gd name="connsiteX189" fmla="*/ 3469427 w 7264800"/>
              <a:gd name="connsiteY189" fmla="*/ 457103 h 741600"/>
              <a:gd name="connsiteX190" fmla="*/ 3406274 w 7264800"/>
              <a:gd name="connsiteY190" fmla="*/ 457103 h 741600"/>
              <a:gd name="connsiteX191" fmla="*/ 3406274 w 7264800"/>
              <a:gd name="connsiteY191" fmla="*/ 449912 h 741600"/>
              <a:gd name="connsiteX192" fmla="*/ 3461856 w 7264800"/>
              <a:gd name="connsiteY192" fmla="*/ 449912 h 741600"/>
              <a:gd name="connsiteX193" fmla="*/ 3461856 w 7264800"/>
              <a:gd name="connsiteY193" fmla="*/ 438050 h 741600"/>
              <a:gd name="connsiteX194" fmla="*/ 4195287 w 7264800"/>
              <a:gd name="connsiteY194" fmla="*/ 434012 h 741600"/>
              <a:gd name="connsiteX195" fmla="*/ 4195287 w 7264800"/>
              <a:gd name="connsiteY195" fmla="*/ 470730 h 741600"/>
              <a:gd name="connsiteX196" fmla="*/ 4167150 w 7264800"/>
              <a:gd name="connsiteY196" fmla="*/ 470730 h 741600"/>
              <a:gd name="connsiteX197" fmla="*/ 4167150 w 7264800"/>
              <a:gd name="connsiteY197" fmla="*/ 485241 h 741600"/>
              <a:gd name="connsiteX198" fmla="*/ 4195287 w 7264800"/>
              <a:gd name="connsiteY198" fmla="*/ 485241 h 741600"/>
              <a:gd name="connsiteX199" fmla="*/ 4195287 w 7264800"/>
              <a:gd name="connsiteY199" fmla="*/ 557228 h 741600"/>
              <a:gd name="connsiteX200" fmla="*/ 4158190 w 7264800"/>
              <a:gd name="connsiteY200" fmla="*/ 557228 h 741600"/>
              <a:gd name="connsiteX201" fmla="*/ 4158190 w 7264800"/>
              <a:gd name="connsiteY201" fmla="*/ 571612 h 741600"/>
              <a:gd name="connsiteX202" fmla="*/ 4244624 w 7264800"/>
              <a:gd name="connsiteY202" fmla="*/ 571612 h 741600"/>
              <a:gd name="connsiteX203" fmla="*/ 4244624 w 7264800"/>
              <a:gd name="connsiteY203" fmla="*/ 557228 h 741600"/>
              <a:gd name="connsiteX204" fmla="*/ 4210303 w 7264800"/>
              <a:gd name="connsiteY204" fmla="*/ 557228 h 741600"/>
              <a:gd name="connsiteX205" fmla="*/ 4210303 w 7264800"/>
              <a:gd name="connsiteY205" fmla="*/ 485241 h 741600"/>
              <a:gd name="connsiteX206" fmla="*/ 4240209 w 7264800"/>
              <a:gd name="connsiteY206" fmla="*/ 485241 h 741600"/>
              <a:gd name="connsiteX207" fmla="*/ 4240209 w 7264800"/>
              <a:gd name="connsiteY207" fmla="*/ 470730 h 741600"/>
              <a:gd name="connsiteX208" fmla="*/ 4210303 w 7264800"/>
              <a:gd name="connsiteY208" fmla="*/ 470730 h 741600"/>
              <a:gd name="connsiteX209" fmla="*/ 4210303 w 7264800"/>
              <a:gd name="connsiteY209" fmla="*/ 434012 h 741600"/>
              <a:gd name="connsiteX210" fmla="*/ 3210818 w 7264800"/>
              <a:gd name="connsiteY210" fmla="*/ 433445 h 741600"/>
              <a:gd name="connsiteX211" fmla="*/ 3210818 w 7264800"/>
              <a:gd name="connsiteY211" fmla="*/ 443224 h 741600"/>
              <a:gd name="connsiteX212" fmla="*/ 3176370 w 7264800"/>
              <a:gd name="connsiteY212" fmla="*/ 443224 h 741600"/>
              <a:gd name="connsiteX213" fmla="*/ 3176370 w 7264800"/>
              <a:gd name="connsiteY213" fmla="*/ 455337 h 741600"/>
              <a:gd name="connsiteX214" fmla="*/ 3211007 w 7264800"/>
              <a:gd name="connsiteY214" fmla="*/ 455337 h 741600"/>
              <a:gd name="connsiteX215" fmla="*/ 3211007 w 7264800"/>
              <a:gd name="connsiteY215" fmla="*/ 464674 h 741600"/>
              <a:gd name="connsiteX216" fmla="*/ 3225707 w 7264800"/>
              <a:gd name="connsiteY216" fmla="*/ 464674 h 741600"/>
              <a:gd name="connsiteX217" fmla="*/ 3225707 w 7264800"/>
              <a:gd name="connsiteY217" fmla="*/ 455337 h 741600"/>
              <a:gd name="connsiteX218" fmla="*/ 3269051 w 7264800"/>
              <a:gd name="connsiteY218" fmla="*/ 455337 h 741600"/>
              <a:gd name="connsiteX219" fmla="*/ 3269051 w 7264800"/>
              <a:gd name="connsiteY219" fmla="*/ 464674 h 741600"/>
              <a:gd name="connsiteX220" fmla="*/ 3283562 w 7264800"/>
              <a:gd name="connsiteY220" fmla="*/ 464674 h 741600"/>
              <a:gd name="connsiteX221" fmla="*/ 3283562 w 7264800"/>
              <a:gd name="connsiteY221" fmla="*/ 455337 h 741600"/>
              <a:gd name="connsiteX222" fmla="*/ 3318955 w 7264800"/>
              <a:gd name="connsiteY222" fmla="*/ 455337 h 741600"/>
              <a:gd name="connsiteX223" fmla="*/ 3318955 w 7264800"/>
              <a:gd name="connsiteY223" fmla="*/ 443224 h 741600"/>
              <a:gd name="connsiteX224" fmla="*/ 3283562 w 7264800"/>
              <a:gd name="connsiteY224" fmla="*/ 443098 h 741600"/>
              <a:gd name="connsiteX225" fmla="*/ 3283562 w 7264800"/>
              <a:gd name="connsiteY225" fmla="*/ 433445 h 741600"/>
              <a:gd name="connsiteX226" fmla="*/ 3269051 w 7264800"/>
              <a:gd name="connsiteY226" fmla="*/ 433445 h 741600"/>
              <a:gd name="connsiteX227" fmla="*/ 3269051 w 7264800"/>
              <a:gd name="connsiteY227" fmla="*/ 443035 h 741600"/>
              <a:gd name="connsiteX228" fmla="*/ 3225707 w 7264800"/>
              <a:gd name="connsiteY228" fmla="*/ 443035 h 741600"/>
              <a:gd name="connsiteX229" fmla="*/ 3225707 w 7264800"/>
              <a:gd name="connsiteY229" fmla="*/ 433445 h 741600"/>
              <a:gd name="connsiteX230" fmla="*/ 4012639 w 7264800"/>
              <a:gd name="connsiteY230" fmla="*/ 432309 h 741600"/>
              <a:gd name="connsiteX231" fmla="*/ 3947277 w 7264800"/>
              <a:gd name="connsiteY231" fmla="*/ 474201 h 741600"/>
              <a:gd name="connsiteX232" fmla="*/ 3954659 w 7264800"/>
              <a:gd name="connsiteY232" fmla="*/ 489217 h 741600"/>
              <a:gd name="connsiteX233" fmla="*/ 3978318 w 7264800"/>
              <a:gd name="connsiteY233" fmla="*/ 478428 h 741600"/>
              <a:gd name="connsiteX234" fmla="*/ 3978318 w 7264800"/>
              <a:gd name="connsiteY234" fmla="*/ 488081 h 741600"/>
              <a:gd name="connsiteX235" fmla="*/ 4062481 w 7264800"/>
              <a:gd name="connsiteY235" fmla="*/ 488081 h 741600"/>
              <a:gd name="connsiteX236" fmla="*/ 4062481 w 7264800"/>
              <a:gd name="connsiteY236" fmla="*/ 476851 h 741600"/>
              <a:gd name="connsiteX237" fmla="*/ 4086961 w 7264800"/>
              <a:gd name="connsiteY237" fmla="*/ 486252 h 741600"/>
              <a:gd name="connsiteX238" fmla="*/ 4093648 w 7264800"/>
              <a:gd name="connsiteY238" fmla="*/ 472372 h 741600"/>
              <a:gd name="connsiteX239" fmla="*/ 4027781 w 7264800"/>
              <a:gd name="connsiteY239" fmla="*/ 432309 h 741600"/>
              <a:gd name="connsiteX240" fmla="*/ 3499900 w 7264800"/>
              <a:gd name="connsiteY240" fmla="*/ 432309 h 741600"/>
              <a:gd name="connsiteX241" fmla="*/ 3499900 w 7264800"/>
              <a:gd name="connsiteY241" fmla="*/ 462782 h 741600"/>
              <a:gd name="connsiteX242" fmla="*/ 3484317 w 7264800"/>
              <a:gd name="connsiteY242" fmla="*/ 462782 h 741600"/>
              <a:gd name="connsiteX243" fmla="*/ 3484317 w 7264800"/>
              <a:gd name="connsiteY243" fmla="*/ 476851 h 741600"/>
              <a:gd name="connsiteX244" fmla="*/ 3499900 w 7264800"/>
              <a:gd name="connsiteY244" fmla="*/ 476851 h 741600"/>
              <a:gd name="connsiteX245" fmla="*/ 3479900 w 7264800"/>
              <a:gd name="connsiteY245" fmla="*/ 521204 h 741600"/>
              <a:gd name="connsiteX246" fmla="*/ 3486020 w 7264800"/>
              <a:gd name="connsiteY246" fmla="*/ 538553 h 741600"/>
              <a:gd name="connsiteX247" fmla="*/ 3499900 w 7264800"/>
              <a:gd name="connsiteY247" fmla="*/ 509153 h 741600"/>
              <a:gd name="connsiteX248" fmla="*/ 3500784 w 7264800"/>
              <a:gd name="connsiteY248" fmla="*/ 506378 h 741600"/>
              <a:gd name="connsiteX249" fmla="*/ 3499900 w 7264800"/>
              <a:gd name="connsiteY249" fmla="*/ 517859 h 741600"/>
              <a:gd name="connsiteX250" fmla="*/ 3499900 w 7264800"/>
              <a:gd name="connsiteY250" fmla="*/ 580066 h 741600"/>
              <a:gd name="connsiteX251" fmla="*/ 3513654 w 7264800"/>
              <a:gd name="connsiteY251" fmla="*/ 580004 h 741600"/>
              <a:gd name="connsiteX252" fmla="*/ 3513654 w 7264800"/>
              <a:gd name="connsiteY252" fmla="*/ 508144 h 741600"/>
              <a:gd name="connsiteX253" fmla="*/ 3512770 w 7264800"/>
              <a:gd name="connsiteY253" fmla="*/ 495400 h 741600"/>
              <a:gd name="connsiteX254" fmla="*/ 3521540 w 7264800"/>
              <a:gd name="connsiteY254" fmla="*/ 511740 h 741600"/>
              <a:gd name="connsiteX255" fmla="*/ 3527344 w 7264800"/>
              <a:gd name="connsiteY255" fmla="*/ 502213 h 741600"/>
              <a:gd name="connsiteX256" fmla="*/ 3557186 w 7264800"/>
              <a:gd name="connsiteY256" fmla="*/ 499311 h 741600"/>
              <a:gd name="connsiteX257" fmla="*/ 3559394 w 7264800"/>
              <a:gd name="connsiteY257" fmla="*/ 505178 h 741600"/>
              <a:gd name="connsiteX258" fmla="*/ 3570688 w 7264800"/>
              <a:gd name="connsiteY258" fmla="*/ 500699 h 741600"/>
              <a:gd name="connsiteX259" fmla="*/ 3571635 w 7264800"/>
              <a:gd name="connsiteY259" fmla="*/ 508711 h 741600"/>
              <a:gd name="connsiteX260" fmla="*/ 3523748 w 7264800"/>
              <a:gd name="connsiteY260" fmla="*/ 508711 h 741600"/>
              <a:gd name="connsiteX261" fmla="*/ 3523748 w 7264800"/>
              <a:gd name="connsiteY261" fmla="*/ 521582 h 741600"/>
              <a:gd name="connsiteX262" fmla="*/ 3536430 w 7264800"/>
              <a:gd name="connsiteY262" fmla="*/ 521582 h 741600"/>
              <a:gd name="connsiteX263" fmla="*/ 3518891 w 7264800"/>
              <a:gd name="connsiteY263" fmla="*/ 565366 h 741600"/>
              <a:gd name="connsiteX264" fmla="*/ 3528922 w 7264800"/>
              <a:gd name="connsiteY264" fmla="*/ 577732 h 741600"/>
              <a:gd name="connsiteX265" fmla="*/ 3547660 w 7264800"/>
              <a:gd name="connsiteY265" fmla="*/ 542717 h 741600"/>
              <a:gd name="connsiteX266" fmla="*/ 3564126 w 7264800"/>
              <a:gd name="connsiteY266" fmla="*/ 554389 h 741600"/>
              <a:gd name="connsiteX267" fmla="*/ 3571382 w 7264800"/>
              <a:gd name="connsiteY267" fmla="*/ 542212 h 741600"/>
              <a:gd name="connsiteX268" fmla="*/ 3550436 w 7264800"/>
              <a:gd name="connsiteY268" fmla="*/ 527891 h 741600"/>
              <a:gd name="connsiteX269" fmla="*/ 3550751 w 7264800"/>
              <a:gd name="connsiteY269" fmla="*/ 521582 h 741600"/>
              <a:gd name="connsiteX270" fmla="*/ 3574095 w 7264800"/>
              <a:gd name="connsiteY270" fmla="*/ 521582 h 741600"/>
              <a:gd name="connsiteX271" fmla="*/ 3583243 w 7264800"/>
              <a:gd name="connsiteY271" fmla="*/ 547575 h 741600"/>
              <a:gd name="connsiteX272" fmla="*/ 3550688 w 7264800"/>
              <a:gd name="connsiteY272" fmla="*/ 563789 h 741600"/>
              <a:gd name="connsiteX273" fmla="*/ 3559016 w 7264800"/>
              <a:gd name="connsiteY273" fmla="*/ 577038 h 741600"/>
              <a:gd name="connsiteX274" fmla="*/ 3590625 w 7264800"/>
              <a:gd name="connsiteY274" fmla="*/ 560256 h 741600"/>
              <a:gd name="connsiteX275" fmla="*/ 3603180 w 7264800"/>
              <a:gd name="connsiteY275" fmla="*/ 573253 h 741600"/>
              <a:gd name="connsiteX276" fmla="*/ 3622738 w 7264800"/>
              <a:gd name="connsiteY276" fmla="*/ 572306 h 741600"/>
              <a:gd name="connsiteX277" fmla="*/ 3631697 w 7264800"/>
              <a:gd name="connsiteY277" fmla="*/ 556092 h 741600"/>
              <a:gd name="connsiteX278" fmla="*/ 3620529 w 7264800"/>
              <a:gd name="connsiteY278" fmla="*/ 544042 h 741600"/>
              <a:gd name="connsiteX279" fmla="*/ 3614473 w 7264800"/>
              <a:gd name="connsiteY279" fmla="*/ 557480 h 741600"/>
              <a:gd name="connsiteX280" fmla="*/ 3605136 w 7264800"/>
              <a:gd name="connsiteY280" fmla="*/ 555777 h 741600"/>
              <a:gd name="connsiteX281" fmla="*/ 3601981 w 7264800"/>
              <a:gd name="connsiteY281" fmla="*/ 550982 h 741600"/>
              <a:gd name="connsiteX282" fmla="*/ 3617627 w 7264800"/>
              <a:gd name="connsiteY282" fmla="*/ 531550 h 741600"/>
              <a:gd name="connsiteX283" fmla="*/ 3605892 w 7264800"/>
              <a:gd name="connsiteY283" fmla="*/ 523033 h 741600"/>
              <a:gd name="connsiteX284" fmla="*/ 3594284 w 7264800"/>
              <a:gd name="connsiteY284" fmla="*/ 539184 h 741600"/>
              <a:gd name="connsiteX285" fmla="*/ 3587912 w 7264800"/>
              <a:gd name="connsiteY285" fmla="*/ 521582 h 741600"/>
              <a:gd name="connsiteX286" fmla="*/ 3628984 w 7264800"/>
              <a:gd name="connsiteY286" fmla="*/ 521582 h 741600"/>
              <a:gd name="connsiteX287" fmla="*/ 3628984 w 7264800"/>
              <a:gd name="connsiteY287" fmla="*/ 508711 h 741600"/>
              <a:gd name="connsiteX288" fmla="*/ 3613968 w 7264800"/>
              <a:gd name="connsiteY288" fmla="*/ 508711 h 741600"/>
              <a:gd name="connsiteX289" fmla="*/ 3608732 w 7264800"/>
              <a:gd name="connsiteY289" fmla="*/ 497544 h 741600"/>
              <a:gd name="connsiteX290" fmla="*/ 3618132 w 7264800"/>
              <a:gd name="connsiteY290" fmla="*/ 496282 h 741600"/>
              <a:gd name="connsiteX291" fmla="*/ 3620403 w 7264800"/>
              <a:gd name="connsiteY291" fmla="*/ 502087 h 741600"/>
              <a:gd name="connsiteX292" fmla="*/ 3630435 w 7264800"/>
              <a:gd name="connsiteY292" fmla="*/ 498049 h 741600"/>
              <a:gd name="connsiteX293" fmla="*/ 3622928 w 7264800"/>
              <a:gd name="connsiteY293" fmla="*/ 475526 h 741600"/>
              <a:gd name="connsiteX294" fmla="*/ 3612896 w 7264800"/>
              <a:gd name="connsiteY294" fmla="*/ 478680 h 741600"/>
              <a:gd name="connsiteX295" fmla="*/ 3615419 w 7264800"/>
              <a:gd name="connsiteY295" fmla="*/ 486378 h 741600"/>
              <a:gd name="connsiteX296" fmla="*/ 3602675 w 7264800"/>
              <a:gd name="connsiteY296" fmla="*/ 487765 h 741600"/>
              <a:gd name="connsiteX297" fmla="*/ 3625766 w 7264800"/>
              <a:gd name="connsiteY297" fmla="*/ 458681 h 741600"/>
              <a:gd name="connsiteX298" fmla="*/ 3615419 w 7264800"/>
              <a:gd name="connsiteY298" fmla="*/ 452624 h 741600"/>
              <a:gd name="connsiteX299" fmla="*/ 3605388 w 7264800"/>
              <a:gd name="connsiteY299" fmla="*/ 466820 h 741600"/>
              <a:gd name="connsiteX300" fmla="*/ 3600656 w 7264800"/>
              <a:gd name="connsiteY300" fmla="*/ 461331 h 741600"/>
              <a:gd name="connsiteX301" fmla="*/ 3614094 w 7264800"/>
              <a:gd name="connsiteY301" fmla="*/ 439375 h 741600"/>
              <a:gd name="connsiteX302" fmla="*/ 3602296 w 7264800"/>
              <a:gd name="connsiteY302" fmla="*/ 434265 h 741600"/>
              <a:gd name="connsiteX303" fmla="*/ 3593086 w 7264800"/>
              <a:gd name="connsiteY303" fmla="*/ 451741 h 741600"/>
              <a:gd name="connsiteX304" fmla="*/ 3589174 w 7264800"/>
              <a:gd name="connsiteY304" fmla="*/ 448145 h 741600"/>
              <a:gd name="connsiteX305" fmla="*/ 3581288 w 7264800"/>
              <a:gd name="connsiteY305" fmla="*/ 456977 h 741600"/>
              <a:gd name="connsiteX306" fmla="*/ 3580530 w 7264800"/>
              <a:gd name="connsiteY306" fmla="*/ 432498 h 741600"/>
              <a:gd name="connsiteX307" fmla="*/ 3566777 w 7264800"/>
              <a:gd name="connsiteY307" fmla="*/ 432498 h 741600"/>
              <a:gd name="connsiteX308" fmla="*/ 3569994 w 7264800"/>
              <a:gd name="connsiteY308" fmla="*/ 497292 h 741600"/>
              <a:gd name="connsiteX309" fmla="*/ 3563180 w 7264800"/>
              <a:gd name="connsiteY309" fmla="*/ 477797 h 741600"/>
              <a:gd name="connsiteX310" fmla="*/ 3553653 w 7264800"/>
              <a:gd name="connsiteY310" fmla="*/ 480258 h 741600"/>
              <a:gd name="connsiteX311" fmla="*/ 3555861 w 7264800"/>
              <a:gd name="connsiteY311" fmla="*/ 488965 h 741600"/>
              <a:gd name="connsiteX312" fmla="*/ 3543875 w 7264800"/>
              <a:gd name="connsiteY312" fmla="*/ 490037 h 741600"/>
              <a:gd name="connsiteX313" fmla="*/ 3566082 w 7264800"/>
              <a:gd name="connsiteY313" fmla="*/ 459249 h 741600"/>
              <a:gd name="connsiteX314" fmla="*/ 3555546 w 7264800"/>
              <a:gd name="connsiteY314" fmla="*/ 453444 h 741600"/>
              <a:gd name="connsiteX315" fmla="*/ 3545578 w 7264800"/>
              <a:gd name="connsiteY315" fmla="*/ 469532 h 741600"/>
              <a:gd name="connsiteX316" fmla="*/ 3541099 w 7264800"/>
              <a:gd name="connsiteY316" fmla="*/ 464296 h 741600"/>
              <a:gd name="connsiteX317" fmla="*/ 3554474 w 7264800"/>
              <a:gd name="connsiteY317" fmla="*/ 439754 h 741600"/>
              <a:gd name="connsiteX318" fmla="*/ 3542739 w 7264800"/>
              <a:gd name="connsiteY318" fmla="*/ 435275 h 741600"/>
              <a:gd name="connsiteX319" fmla="*/ 3532518 w 7264800"/>
              <a:gd name="connsiteY319" fmla="*/ 455526 h 741600"/>
              <a:gd name="connsiteX320" fmla="*/ 3528480 w 7264800"/>
              <a:gd name="connsiteY320" fmla="*/ 452309 h 741600"/>
              <a:gd name="connsiteX321" fmla="*/ 3521225 w 7264800"/>
              <a:gd name="connsiteY321" fmla="*/ 462845 h 741600"/>
              <a:gd name="connsiteX322" fmla="*/ 3513654 w 7264800"/>
              <a:gd name="connsiteY322" fmla="*/ 462845 h 741600"/>
              <a:gd name="connsiteX323" fmla="*/ 3513654 w 7264800"/>
              <a:gd name="connsiteY323" fmla="*/ 432309 h 741600"/>
              <a:gd name="connsiteX324" fmla="*/ 4125635 w 7264800"/>
              <a:gd name="connsiteY324" fmla="*/ 432183 h 741600"/>
              <a:gd name="connsiteX325" fmla="*/ 4125635 w 7264800"/>
              <a:gd name="connsiteY325" fmla="*/ 456789 h 741600"/>
              <a:gd name="connsiteX326" fmla="*/ 4102228 w 7264800"/>
              <a:gd name="connsiteY326" fmla="*/ 456789 h 741600"/>
              <a:gd name="connsiteX327" fmla="*/ 4102228 w 7264800"/>
              <a:gd name="connsiteY327" fmla="*/ 471615 h 741600"/>
              <a:gd name="connsiteX328" fmla="*/ 4146455 w 7264800"/>
              <a:gd name="connsiteY328" fmla="*/ 471615 h 741600"/>
              <a:gd name="connsiteX329" fmla="*/ 4098632 w 7264800"/>
              <a:gd name="connsiteY329" fmla="*/ 525368 h 741600"/>
              <a:gd name="connsiteX330" fmla="*/ 4105005 w 7264800"/>
              <a:gd name="connsiteY330" fmla="*/ 540509 h 741600"/>
              <a:gd name="connsiteX331" fmla="*/ 4127086 w 7264800"/>
              <a:gd name="connsiteY331" fmla="*/ 520888 h 741600"/>
              <a:gd name="connsiteX332" fmla="*/ 4127086 w 7264800"/>
              <a:gd name="connsiteY332" fmla="*/ 578111 h 741600"/>
              <a:gd name="connsiteX333" fmla="*/ 4141155 w 7264800"/>
              <a:gd name="connsiteY333" fmla="*/ 578111 h 741600"/>
              <a:gd name="connsiteX334" fmla="*/ 4141155 w 7264800"/>
              <a:gd name="connsiteY334" fmla="*/ 513507 h 741600"/>
              <a:gd name="connsiteX335" fmla="*/ 4162859 w 7264800"/>
              <a:gd name="connsiteY335" fmla="*/ 533381 h 741600"/>
              <a:gd name="connsiteX336" fmla="*/ 4171502 w 7264800"/>
              <a:gd name="connsiteY336" fmla="*/ 521457 h 741600"/>
              <a:gd name="connsiteX337" fmla="*/ 4146266 w 7264800"/>
              <a:gd name="connsiteY337" fmla="*/ 498617 h 741600"/>
              <a:gd name="connsiteX338" fmla="*/ 4162290 w 7264800"/>
              <a:gd name="connsiteY338" fmla="*/ 470479 h 741600"/>
              <a:gd name="connsiteX339" fmla="*/ 4162290 w 7264800"/>
              <a:gd name="connsiteY339" fmla="*/ 456977 h 741600"/>
              <a:gd name="connsiteX340" fmla="*/ 4140651 w 7264800"/>
              <a:gd name="connsiteY340" fmla="*/ 456977 h 741600"/>
              <a:gd name="connsiteX341" fmla="*/ 4140651 w 7264800"/>
              <a:gd name="connsiteY341" fmla="*/ 432183 h 741600"/>
              <a:gd name="connsiteX342" fmla="*/ 3913082 w 7264800"/>
              <a:gd name="connsiteY342" fmla="*/ 432183 h 741600"/>
              <a:gd name="connsiteX343" fmla="*/ 3901095 w 7264800"/>
              <a:gd name="connsiteY343" fmla="*/ 438430 h 741600"/>
              <a:gd name="connsiteX344" fmla="*/ 3915038 w 7264800"/>
              <a:gd name="connsiteY344" fmla="*/ 457672 h 741600"/>
              <a:gd name="connsiteX345" fmla="*/ 3894659 w 7264800"/>
              <a:gd name="connsiteY345" fmla="*/ 457735 h 741600"/>
              <a:gd name="connsiteX346" fmla="*/ 3894092 w 7264800"/>
              <a:gd name="connsiteY346" fmla="*/ 432246 h 741600"/>
              <a:gd name="connsiteX347" fmla="*/ 3878130 w 7264800"/>
              <a:gd name="connsiteY347" fmla="*/ 432246 h 741600"/>
              <a:gd name="connsiteX348" fmla="*/ 3878761 w 7264800"/>
              <a:gd name="connsiteY348" fmla="*/ 457609 h 741600"/>
              <a:gd name="connsiteX349" fmla="*/ 3795922 w 7264800"/>
              <a:gd name="connsiteY349" fmla="*/ 457609 h 741600"/>
              <a:gd name="connsiteX350" fmla="*/ 3795922 w 7264800"/>
              <a:gd name="connsiteY350" fmla="*/ 473003 h 741600"/>
              <a:gd name="connsiteX351" fmla="*/ 3879896 w 7264800"/>
              <a:gd name="connsiteY351" fmla="*/ 473003 h 741600"/>
              <a:gd name="connsiteX352" fmla="*/ 3886521 w 7264800"/>
              <a:gd name="connsiteY352" fmla="*/ 524926 h 741600"/>
              <a:gd name="connsiteX353" fmla="*/ 3906142 w 7264800"/>
              <a:gd name="connsiteY353" fmla="*/ 571992 h 741600"/>
              <a:gd name="connsiteX354" fmla="*/ 3929044 w 7264800"/>
              <a:gd name="connsiteY354" fmla="*/ 570351 h 741600"/>
              <a:gd name="connsiteX355" fmla="*/ 3939706 w 7264800"/>
              <a:gd name="connsiteY355" fmla="*/ 544800 h 741600"/>
              <a:gd name="connsiteX356" fmla="*/ 3928035 w 7264800"/>
              <a:gd name="connsiteY356" fmla="*/ 529216 h 741600"/>
              <a:gd name="connsiteX357" fmla="*/ 3921473 w 7264800"/>
              <a:gd name="connsiteY357" fmla="*/ 550920 h 741600"/>
              <a:gd name="connsiteX358" fmla="*/ 3910621 w 7264800"/>
              <a:gd name="connsiteY358" fmla="*/ 550541 h 741600"/>
              <a:gd name="connsiteX359" fmla="*/ 3900338 w 7264800"/>
              <a:gd name="connsiteY359" fmla="*/ 516473 h 741600"/>
              <a:gd name="connsiteX360" fmla="*/ 3895543 w 7264800"/>
              <a:gd name="connsiteY360" fmla="*/ 473192 h 741600"/>
              <a:gd name="connsiteX361" fmla="*/ 3934470 w 7264800"/>
              <a:gd name="connsiteY361" fmla="*/ 473003 h 741600"/>
              <a:gd name="connsiteX362" fmla="*/ 3934470 w 7264800"/>
              <a:gd name="connsiteY362" fmla="*/ 457735 h 741600"/>
              <a:gd name="connsiteX363" fmla="*/ 3918508 w 7264800"/>
              <a:gd name="connsiteY363" fmla="*/ 457735 h 741600"/>
              <a:gd name="connsiteX364" fmla="*/ 3929297 w 7264800"/>
              <a:gd name="connsiteY364" fmla="*/ 450669 h 741600"/>
              <a:gd name="connsiteX365" fmla="*/ 3913082 w 7264800"/>
              <a:gd name="connsiteY365" fmla="*/ 432183 h 741600"/>
              <a:gd name="connsiteX366" fmla="*/ 3732390 w 7264800"/>
              <a:gd name="connsiteY366" fmla="*/ 431994 h 741600"/>
              <a:gd name="connsiteX367" fmla="*/ 3732390 w 7264800"/>
              <a:gd name="connsiteY367" fmla="*/ 456662 h 741600"/>
              <a:gd name="connsiteX368" fmla="*/ 3717374 w 7264800"/>
              <a:gd name="connsiteY368" fmla="*/ 456662 h 741600"/>
              <a:gd name="connsiteX369" fmla="*/ 3721853 w 7264800"/>
              <a:gd name="connsiteY369" fmla="*/ 439628 h 741600"/>
              <a:gd name="connsiteX370" fmla="*/ 3708163 w 7264800"/>
              <a:gd name="connsiteY370" fmla="*/ 436347 h 741600"/>
              <a:gd name="connsiteX371" fmla="*/ 3692263 w 7264800"/>
              <a:gd name="connsiteY371" fmla="*/ 475463 h 741600"/>
              <a:gd name="connsiteX372" fmla="*/ 3692263 w 7264800"/>
              <a:gd name="connsiteY372" fmla="*/ 463161 h 741600"/>
              <a:gd name="connsiteX373" fmla="*/ 3678636 w 7264800"/>
              <a:gd name="connsiteY373" fmla="*/ 463161 h 741600"/>
              <a:gd name="connsiteX374" fmla="*/ 3678636 w 7264800"/>
              <a:gd name="connsiteY374" fmla="*/ 432309 h 741600"/>
              <a:gd name="connsiteX375" fmla="*/ 3664377 w 7264800"/>
              <a:gd name="connsiteY375" fmla="*/ 432309 h 741600"/>
              <a:gd name="connsiteX376" fmla="*/ 3664377 w 7264800"/>
              <a:gd name="connsiteY376" fmla="*/ 463097 h 741600"/>
              <a:gd name="connsiteX377" fmla="*/ 3641349 w 7264800"/>
              <a:gd name="connsiteY377" fmla="*/ 463097 h 741600"/>
              <a:gd name="connsiteX378" fmla="*/ 3641349 w 7264800"/>
              <a:gd name="connsiteY378" fmla="*/ 477041 h 741600"/>
              <a:gd name="connsiteX379" fmla="*/ 3663242 w 7264800"/>
              <a:gd name="connsiteY379" fmla="*/ 477041 h 741600"/>
              <a:gd name="connsiteX380" fmla="*/ 3637627 w 7264800"/>
              <a:gd name="connsiteY380" fmla="*/ 523475 h 741600"/>
              <a:gd name="connsiteX381" fmla="*/ 3644252 w 7264800"/>
              <a:gd name="connsiteY381" fmla="*/ 538743 h 741600"/>
              <a:gd name="connsiteX382" fmla="*/ 3665261 w 7264800"/>
              <a:gd name="connsiteY382" fmla="*/ 502340 h 741600"/>
              <a:gd name="connsiteX383" fmla="*/ 3664377 w 7264800"/>
              <a:gd name="connsiteY383" fmla="*/ 514642 h 741600"/>
              <a:gd name="connsiteX384" fmla="*/ 3664377 w 7264800"/>
              <a:gd name="connsiteY384" fmla="*/ 580067 h 741600"/>
              <a:gd name="connsiteX385" fmla="*/ 3678636 w 7264800"/>
              <a:gd name="connsiteY385" fmla="*/ 580067 h 741600"/>
              <a:gd name="connsiteX386" fmla="*/ 3678636 w 7264800"/>
              <a:gd name="connsiteY386" fmla="*/ 508648 h 741600"/>
              <a:gd name="connsiteX387" fmla="*/ 3677753 w 7264800"/>
              <a:gd name="connsiteY387" fmla="*/ 496472 h 741600"/>
              <a:gd name="connsiteX388" fmla="*/ 3691885 w 7264800"/>
              <a:gd name="connsiteY388" fmla="*/ 520194 h 741600"/>
              <a:gd name="connsiteX389" fmla="*/ 3699456 w 7264800"/>
              <a:gd name="connsiteY389" fmla="*/ 507324 h 741600"/>
              <a:gd name="connsiteX390" fmla="*/ 3696428 w 7264800"/>
              <a:gd name="connsiteY390" fmla="*/ 504359 h 741600"/>
              <a:gd name="connsiteX391" fmla="*/ 3727721 w 7264800"/>
              <a:gd name="connsiteY391" fmla="*/ 504359 h 741600"/>
              <a:gd name="connsiteX392" fmla="*/ 3685766 w 7264800"/>
              <a:gd name="connsiteY392" fmla="*/ 554893 h 741600"/>
              <a:gd name="connsiteX393" fmla="*/ 3695355 w 7264800"/>
              <a:gd name="connsiteY393" fmla="*/ 566944 h 741600"/>
              <a:gd name="connsiteX394" fmla="*/ 3732390 w 7264800"/>
              <a:gd name="connsiteY394" fmla="*/ 522150 h 741600"/>
              <a:gd name="connsiteX395" fmla="*/ 3732390 w 7264800"/>
              <a:gd name="connsiteY395" fmla="*/ 579815 h 741600"/>
              <a:gd name="connsiteX396" fmla="*/ 3745955 w 7264800"/>
              <a:gd name="connsiteY396" fmla="*/ 579815 h 741600"/>
              <a:gd name="connsiteX397" fmla="*/ 3745955 w 7264800"/>
              <a:gd name="connsiteY397" fmla="*/ 521456 h 741600"/>
              <a:gd name="connsiteX398" fmla="*/ 3781096 w 7264800"/>
              <a:gd name="connsiteY398" fmla="*/ 565430 h 741600"/>
              <a:gd name="connsiteX399" fmla="*/ 3789865 w 7264800"/>
              <a:gd name="connsiteY399" fmla="*/ 551424 h 741600"/>
              <a:gd name="connsiteX400" fmla="*/ 3750118 w 7264800"/>
              <a:gd name="connsiteY400" fmla="*/ 503980 h 741600"/>
              <a:gd name="connsiteX401" fmla="*/ 3786521 w 7264800"/>
              <a:gd name="connsiteY401" fmla="*/ 503980 h 741600"/>
              <a:gd name="connsiteX402" fmla="*/ 3786521 w 7264800"/>
              <a:gd name="connsiteY402" fmla="*/ 490479 h 741600"/>
              <a:gd name="connsiteX403" fmla="*/ 3745955 w 7264800"/>
              <a:gd name="connsiteY403" fmla="*/ 490479 h 741600"/>
              <a:gd name="connsiteX404" fmla="*/ 3745955 w 7264800"/>
              <a:gd name="connsiteY404" fmla="*/ 470163 h 741600"/>
              <a:gd name="connsiteX405" fmla="*/ 3779392 w 7264800"/>
              <a:gd name="connsiteY405" fmla="*/ 470163 h 741600"/>
              <a:gd name="connsiteX406" fmla="*/ 3779392 w 7264800"/>
              <a:gd name="connsiteY406" fmla="*/ 456662 h 741600"/>
              <a:gd name="connsiteX407" fmla="*/ 3745955 w 7264800"/>
              <a:gd name="connsiteY407" fmla="*/ 456662 h 741600"/>
              <a:gd name="connsiteX408" fmla="*/ 3745955 w 7264800"/>
              <a:gd name="connsiteY408" fmla="*/ 431994 h 741600"/>
              <a:gd name="connsiteX409" fmla="*/ 0 w 7264800"/>
              <a:gd name="connsiteY409" fmla="*/ 0 h 741600"/>
              <a:gd name="connsiteX410" fmla="*/ 7264800 w 7264800"/>
              <a:gd name="connsiteY410" fmla="*/ 0 h 741600"/>
              <a:gd name="connsiteX411" fmla="*/ 7264800 w 7264800"/>
              <a:gd name="connsiteY411" fmla="*/ 741600 h 741600"/>
              <a:gd name="connsiteX412" fmla="*/ 0 w 7264800"/>
              <a:gd name="connsiteY412" fmla="*/ 741600 h 7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7264800" h="741600">
                <a:moveTo>
                  <a:pt x="3406336" y="562117"/>
                </a:moveTo>
                <a:lnTo>
                  <a:pt x="3457376" y="562117"/>
                </a:lnTo>
                <a:cubicBezTo>
                  <a:pt x="3457314" y="562117"/>
                  <a:pt x="3456873" y="565523"/>
                  <a:pt x="3456620" y="566786"/>
                </a:cubicBezTo>
                <a:cubicBezTo>
                  <a:pt x="3456115" y="568930"/>
                  <a:pt x="3454853" y="572463"/>
                  <a:pt x="3448103" y="572463"/>
                </a:cubicBezTo>
                <a:lnTo>
                  <a:pt x="3412267" y="572463"/>
                </a:lnTo>
                <a:cubicBezTo>
                  <a:pt x="3407093" y="572463"/>
                  <a:pt x="3406336" y="570697"/>
                  <a:pt x="3406336" y="567795"/>
                </a:cubicBezTo>
                <a:close/>
                <a:moveTo>
                  <a:pt x="3019148" y="555587"/>
                </a:moveTo>
                <a:lnTo>
                  <a:pt x="3019148" y="570982"/>
                </a:lnTo>
                <a:lnTo>
                  <a:pt x="3162490" y="570982"/>
                </a:lnTo>
                <a:lnTo>
                  <a:pt x="3162490" y="555587"/>
                </a:lnTo>
                <a:close/>
                <a:moveTo>
                  <a:pt x="3353403" y="540792"/>
                </a:moveTo>
                <a:lnTo>
                  <a:pt x="3391952" y="540792"/>
                </a:lnTo>
                <a:lnTo>
                  <a:pt x="3391952" y="550950"/>
                </a:lnTo>
                <a:lnTo>
                  <a:pt x="3353403" y="550950"/>
                </a:lnTo>
                <a:close/>
                <a:moveTo>
                  <a:pt x="3406273" y="540729"/>
                </a:moveTo>
                <a:lnTo>
                  <a:pt x="3445452" y="540729"/>
                </a:lnTo>
                <a:lnTo>
                  <a:pt x="3445452" y="550887"/>
                </a:lnTo>
                <a:lnTo>
                  <a:pt x="3406273" y="550887"/>
                </a:lnTo>
                <a:close/>
                <a:moveTo>
                  <a:pt x="3227159" y="540130"/>
                </a:moveTo>
                <a:lnTo>
                  <a:pt x="3273594" y="540130"/>
                </a:lnTo>
                <a:cubicBezTo>
                  <a:pt x="3269051" y="544611"/>
                  <a:pt x="3258578" y="549783"/>
                  <a:pt x="3249303" y="553443"/>
                </a:cubicBezTo>
                <a:cubicBezTo>
                  <a:pt x="3240597" y="550793"/>
                  <a:pt x="3231197" y="545178"/>
                  <a:pt x="3227159" y="540130"/>
                </a:cubicBezTo>
                <a:close/>
                <a:moveTo>
                  <a:pt x="3406273" y="522054"/>
                </a:moveTo>
                <a:lnTo>
                  <a:pt x="3445452" y="522054"/>
                </a:lnTo>
                <a:lnTo>
                  <a:pt x="3445452" y="530635"/>
                </a:lnTo>
                <a:lnTo>
                  <a:pt x="3406273" y="530635"/>
                </a:lnTo>
                <a:close/>
                <a:moveTo>
                  <a:pt x="3353403" y="522054"/>
                </a:moveTo>
                <a:lnTo>
                  <a:pt x="3391952" y="522054"/>
                </a:lnTo>
                <a:lnTo>
                  <a:pt x="3391952" y="530698"/>
                </a:lnTo>
                <a:lnTo>
                  <a:pt x="3353403" y="530635"/>
                </a:lnTo>
                <a:close/>
                <a:moveTo>
                  <a:pt x="3236117" y="514011"/>
                </a:moveTo>
                <a:cubicBezTo>
                  <a:pt x="3236117" y="514011"/>
                  <a:pt x="3223373" y="533569"/>
                  <a:pt x="3176686" y="543475"/>
                </a:cubicBezTo>
                <a:lnTo>
                  <a:pt x="3183499" y="555840"/>
                </a:lnTo>
                <a:cubicBezTo>
                  <a:pt x="3183499" y="555840"/>
                  <a:pt x="3196876" y="553443"/>
                  <a:pt x="3213720" y="546250"/>
                </a:cubicBezTo>
                <a:cubicBezTo>
                  <a:pt x="3213720" y="546250"/>
                  <a:pt x="3219588" y="550919"/>
                  <a:pt x="3229746" y="558806"/>
                </a:cubicBezTo>
                <a:cubicBezTo>
                  <a:pt x="3205266" y="564862"/>
                  <a:pt x="3188800" y="564294"/>
                  <a:pt x="3176118" y="564294"/>
                </a:cubicBezTo>
                <a:lnTo>
                  <a:pt x="3183184" y="578363"/>
                </a:lnTo>
                <a:cubicBezTo>
                  <a:pt x="3204698" y="577733"/>
                  <a:pt x="3227852" y="572938"/>
                  <a:pt x="3248105" y="567134"/>
                </a:cubicBezTo>
                <a:cubicBezTo>
                  <a:pt x="3251701" y="568206"/>
                  <a:pt x="3262616" y="571297"/>
                  <a:pt x="3266654" y="571992"/>
                </a:cubicBezTo>
                <a:cubicBezTo>
                  <a:pt x="3266654" y="571992"/>
                  <a:pt x="3298009" y="578048"/>
                  <a:pt x="3312835" y="577607"/>
                </a:cubicBezTo>
                <a:lnTo>
                  <a:pt x="3319145" y="562401"/>
                </a:lnTo>
                <a:cubicBezTo>
                  <a:pt x="3308104" y="562339"/>
                  <a:pt x="3283372" y="562465"/>
                  <a:pt x="3269871" y="558427"/>
                </a:cubicBezTo>
                <a:cubicBezTo>
                  <a:pt x="3274414" y="555903"/>
                  <a:pt x="3292647" y="543475"/>
                  <a:pt x="3295738" y="538995"/>
                </a:cubicBezTo>
                <a:lnTo>
                  <a:pt x="3295738" y="528711"/>
                </a:lnTo>
                <a:lnTo>
                  <a:pt x="3239209" y="528837"/>
                </a:lnTo>
                <a:cubicBezTo>
                  <a:pt x="3244257" y="524926"/>
                  <a:pt x="3246590" y="521897"/>
                  <a:pt x="3251133" y="516661"/>
                </a:cubicBezTo>
                <a:close/>
                <a:moveTo>
                  <a:pt x="3339775" y="511266"/>
                </a:moveTo>
                <a:lnTo>
                  <a:pt x="3339775" y="571012"/>
                </a:lnTo>
                <a:lnTo>
                  <a:pt x="3353466" y="571012"/>
                </a:lnTo>
                <a:lnTo>
                  <a:pt x="3353466" y="562054"/>
                </a:lnTo>
                <a:lnTo>
                  <a:pt x="3392015" y="562054"/>
                </a:lnTo>
                <a:lnTo>
                  <a:pt x="3392015" y="573032"/>
                </a:lnTo>
                <a:cubicBezTo>
                  <a:pt x="3392015" y="581359"/>
                  <a:pt x="3397125" y="584577"/>
                  <a:pt x="3407977" y="584577"/>
                </a:cubicBezTo>
                <a:lnTo>
                  <a:pt x="3450184" y="584577"/>
                </a:lnTo>
                <a:cubicBezTo>
                  <a:pt x="3450184" y="584577"/>
                  <a:pt x="3470121" y="584009"/>
                  <a:pt x="3471446" y="570004"/>
                </a:cubicBezTo>
                <a:lnTo>
                  <a:pt x="3472582" y="558710"/>
                </a:lnTo>
                <a:lnTo>
                  <a:pt x="3459144" y="553663"/>
                </a:lnTo>
                <a:lnTo>
                  <a:pt x="3459144" y="511266"/>
                </a:lnTo>
                <a:lnTo>
                  <a:pt x="3459080" y="511266"/>
                </a:lnTo>
                <a:close/>
                <a:moveTo>
                  <a:pt x="3953712" y="503664"/>
                </a:moveTo>
                <a:lnTo>
                  <a:pt x="3953712" y="518049"/>
                </a:lnTo>
                <a:lnTo>
                  <a:pt x="3997623" y="518049"/>
                </a:lnTo>
                <a:cubicBezTo>
                  <a:pt x="3997623" y="518049"/>
                  <a:pt x="3986771" y="543601"/>
                  <a:pt x="3978002" y="555146"/>
                </a:cubicBezTo>
                <a:cubicBezTo>
                  <a:pt x="3978002" y="555146"/>
                  <a:pt x="3958759" y="556408"/>
                  <a:pt x="3957182" y="556030"/>
                </a:cubicBezTo>
                <a:lnTo>
                  <a:pt x="3960021" y="571361"/>
                </a:lnTo>
                <a:cubicBezTo>
                  <a:pt x="3960021" y="571361"/>
                  <a:pt x="4040336" y="567449"/>
                  <a:pt x="4064058" y="561645"/>
                </a:cubicBezTo>
                <a:cubicBezTo>
                  <a:pt x="4064058" y="561645"/>
                  <a:pt x="4073207" y="571613"/>
                  <a:pt x="4075794" y="574641"/>
                </a:cubicBezTo>
                <a:lnTo>
                  <a:pt x="4087970" y="564925"/>
                </a:lnTo>
                <a:cubicBezTo>
                  <a:pt x="4087970" y="564925"/>
                  <a:pt x="4061724" y="534452"/>
                  <a:pt x="4046898" y="523853"/>
                </a:cubicBezTo>
                <a:lnTo>
                  <a:pt x="4035162" y="532118"/>
                </a:lnTo>
                <a:cubicBezTo>
                  <a:pt x="4035162" y="532118"/>
                  <a:pt x="4045825" y="541330"/>
                  <a:pt x="4052892" y="549594"/>
                </a:cubicBezTo>
                <a:cubicBezTo>
                  <a:pt x="4052892" y="549594"/>
                  <a:pt x="4027655" y="553443"/>
                  <a:pt x="3996046" y="554641"/>
                </a:cubicBezTo>
                <a:cubicBezTo>
                  <a:pt x="3996046" y="554641"/>
                  <a:pt x="4006519" y="536661"/>
                  <a:pt x="4015226" y="518049"/>
                </a:cubicBezTo>
                <a:lnTo>
                  <a:pt x="4087276" y="518049"/>
                </a:lnTo>
                <a:lnTo>
                  <a:pt x="4087276" y="503664"/>
                </a:lnTo>
                <a:close/>
                <a:moveTo>
                  <a:pt x="3033595" y="498743"/>
                </a:moveTo>
                <a:lnTo>
                  <a:pt x="3033595" y="513695"/>
                </a:lnTo>
                <a:lnTo>
                  <a:pt x="3147915" y="513695"/>
                </a:lnTo>
                <a:lnTo>
                  <a:pt x="3147915" y="498743"/>
                </a:lnTo>
                <a:close/>
                <a:moveTo>
                  <a:pt x="3595924" y="498302"/>
                </a:moveTo>
                <a:lnTo>
                  <a:pt x="3600278" y="508585"/>
                </a:lnTo>
                <a:lnTo>
                  <a:pt x="3585451" y="508585"/>
                </a:lnTo>
                <a:cubicBezTo>
                  <a:pt x="3584631" y="506693"/>
                  <a:pt x="3583937" y="498680"/>
                  <a:pt x="3583937" y="498680"/>
                </a:cubicBezTo>
                <a:close/>
                <a:moveTo>
                  <a:pt x="3801852" y="494011"/>
                </a:moveTo>
                <a:lnTo>
                  <a:pt x="3801852" y="509090"/>
                </a:lnTo>
                <a:lnTo>
                  <a:pt x="3829738" y="509090"/>
                </a:lnTo>
                <a:lnTo>
                  <a:pt x="3829738" y="551297"/>
                </a:lnTo>
                <a:cubicBezTo>
                  <a:pt x="3815480" y="553821"/>
                  <a:pt x="3805449" y="554768"/>
                  <a:pt x="3796048" y="555651"/>
                </a:cubicBezTo>
                <a:lnTo>
                  <a:pt x="3797814" y="571928"/>
                </a:lnTo>
                <a:cubicBezTo>
                  <a:pt x="3797814" y="571928"/>
                  <a:pt x="3854155" y="563096"/>
                  <a:pt x="3876173" y="556345"/>
                </a:cubicBezTo>
                <a:lnTo>
                  <a:pt x="3876173" y="540950"/>
                </a:lnTo>
                <a:cubicBezTo>
                  <a:pt x="3876173" y="540950"/>
                  <a:pt x="3863239" y="544862"/>
                  <a:pt x="3844944" y="548395"/>
                </a:cubicBezTo>
                <a:lnTo>
                  <a:pt x="3844944" y="509090"/>
                </a:lnTo>
                <a:lnTo>
                  <a:pt x="3871568" y="509090"/>
                </a:lnTo>
                <a:lnTo>
                  <a:pt x="3871568" y="494011"/>
                </a:lnTo>
                <a:close/>
                <a:moveTo>
                  <a:pt x="3413592" y="489911"/>
                </a:moveTo>
                <a:lnTo>
                  <a:pt x="3413592" y="496977"/>
                </a:lnTo>
                <a:lnTo>
                  <a:pt x="3448923" y="496977"/>
                </a:lnTo>
                <a:lnTo>
                  <a:pt x="3448923" y="489911"/>
                </a:lnTo>
                <a:close/>
                <a:moveTo>
                  <a:pt x="3350375" y="489911"/>
                </a:moveTo>
                <a:lnTo>
                  <a:pt x="3350375" y="496977"/>
                </a:lnTo>
                <a:lnTo>
                  <a:pt x="3385706" y="496977"/>
                </a:lnTo>
                <a:lnTo>
                  <a:pt x="3385706" y="489911"/>
                </a:lnTo>
                <a:close/>
                <a:moveTo>
                  <a:pt x="3413592" y="475526"/>
                </a:moveTo>
                <a:lnTo>
                  <a:pt x="3413592" y="482592"/>
                </a:lnTo>
                <a:lnTo>
                  <a:pt x="3448923" y="482592"/>
                </a:lnTo>
                <a:lnTo>
                  <a:pt x="3448923" y="475526"/>
                </a:lnTo>
                <a:close/>
                <a:moveTo>
                  <a:pt x="3350375" y="475526"/>
                </a:moveTo>
                <a:lnTo>
                  <a:pt x="3350375" y="482592"/>
                </a:lnTo>
                <a:lnTo>
                  <a:pt x="3385706" y="482592"/>
                </a:lnTo>
                <a:lnTo>
                  <a:pt x="3385706" y="475526"/>
                </a:lnTo>
                <a:close/>
                <a:moveTo>
                  <a:pt x="3712706" y="470163"/>
                </a:moveTo>
                <a:lnTo>
                  <a:pt x="3732452" y="470163"/>
                </a:lnTo>
                <a:lnTo>
                  <a:pt x="3732452" y="490479"/>
                </a:lnTo>
                <a:lnTo>
                  <a:pt x="3694598" y="490479"/>
                </a:lnTo>
                <a:lnTo>
                  <a:pt x="3694598" y="502403"/>
                </a:lnTo>
                <a:cubicBezTo>
                  <a:pt x="3688604" y="494201"/>
                  <a:pt x="3682800" y="487009"/>
                  <a:pt x="3679078" y="477041"/>
                </a:cubicBezTo>
                <a:lnTo>
                  <a:pt x="3692327" y="477041"/>
                </a:lnTo>
                <a:lnTo>
                  <a:pt x="3692327" y="476536"/>
                </a:lnTo>
                <a:lnTo>
                  <a:pt x="3703936" y="486125"/>
                </a:lnTo>
                <a:cubicBezTo>
                  <a:pt x="3709550" y="477356"/>
                  <a:pt x="3712706" y="470163"/>
                  <a:pt x="3712706" y="470163"/>
                </a:cubicBezTo>
                <a:close/>
                <a:moveTo>
                  <a:pt x="3526209" y="467072"/>
                </a:moveTo>
                <a:cubicBezTo>
                  <a:pt x="3529048" y="468839"/>
                  <a:pt x="3537628" y="480131"/>
                  <a:pt x="3537628" y="480131"/>
                </a:cubicBezTo>
                <a:cubicBezTo>
                  <a:pt x="3535925" y="484107"/>
                  <a:pt x="3530247" y="490352"/>
                  <a:pt x="3530247" y="490352"/>
                </a:cubicBezTo>
                <a:lnTo>
                  <a:pt x="3526714" y="490352"/>
                </a:lnTo>
                <a:lnTo>
                  <a:pt x="3526714" y="495905"/>
                </a:lnTo>
                <a:cubicBezTo>
                  <a:pt x="3520530" y="491614"/>
                  <a:pt x="3514348" y="476914"/>
                  <a:pt x="3514348" y="476914"/>
                </a:cubicBezTo>
                <a:lnTo>
                  <a:pt x="3526209" y="476914"/>
                </a:lnTo>
                <a:close/>
                <a:moveTo>
                  <a:pt x="3239462" y="460700"/>
                </a:moveTo>
                <a:lnTo>
                  <a:pt x="3239462" y="468839"/>
                </a:lnTo>
                <a:lnTo>
                  <a:pt x="3187223" y="468839"/>
                </a:lnTo>
                <a:lnTo>
                  <a:pt x="3187223" y="480510"/>
                </a:lnTo>
                <a:lnTo>
                  <a:pt x="3239462" y="480510"/>
                </a:lnTo>
                <a:lnTo>
                  <a:pt x="3239462" y="488713"/>
                </a:lnTo>
                <a:lnTo>
                  <a:pt x="3175613" y="488713"/>
                </a:lnTo>
                <a:lnTo>
                  <a:pt x="3175613" y="500195"/>
                </a:lnTo>
                <a:lnTo>
                  <a:pt x="3218263" y="500195"/>
                </a:lnTo>
                <a:cubicBezTo>
                  <a:pt x="3218263" y="500132"/>
                  <a:pt x="3212522" y="513002"/>
                  <a:pt x="3174036" y="519437"/>
                </a:cubicBezTo>
                <a:lnTo>
                  <a:pt x="3180787" y="532497"/>
                </a:lnTo>
                <a:cubicBezTo>
                  <a:pt x="3180787" y="532497"/>
                  <a:pt x="3214351" y="529595"/>
                  <a:pt x="3236749" y="500195"/>
                </a:cubicBezTo>
                <a:lnTo>
                  <a:pt x="3257506" y="500195"/>
                </a:lnTo>
                <a:lnTo>
                  <a:pt x="3257568" y="513255"/>
                </a:lnTo>
                <a:cubicBezTo>
                  <a:pt x="3257568" y="520195"/>
                  <a:pt x="3261165" y="522150"/>
                  <a:pt x="3268546" y="522150"/>
                </a:cubicBezTo>
                <a:lnTo>
                  <a:pt x="3302048" y="522150"/>
                </a:lnTo>
                <a:cubicBezTo>
                  <a:pt x="3310439" y="522150"/>
                  <a:pt x="3316054" y="516788"/>
                  <a:pt x="3316054" y="511362"/>
                </a:cubicBezTo>
                <a:lnTo>
                  <a:pt x="3316621" y="507387"/>
                </a:lnTo>
                <a:lnTo>
                  <a:pt x="3301543" y="502845"/>
                </a:lnTo>
                <a:lnTo>
                  <a:pt x="3300786" y="507892"/>
                </a:lnTo>
                <a:cubicBezTo>
                  <a:pt x="3300344" y="510857"/>
                  <a:pt x="3297064" y="511236"/>
                  <a:pt x="3295675" y="511236"/>
                </a:cubicBezTo>
                <a:lnTo>
                  <a:pt x="3276559" y="511236"/>
                </a:lnTo>
                <a:cubicBezTo>
                  <a:pt x="3272458" y="511236"/>
                  <a:pt x="3271764" y="509785"/>
                  <a:pt x="3271764" y="507639"/>
                </a:cubicBezTo>
                <a:lnTo>
                  <a:pt x="3271764" y="500132"/>
                </a:lnTo>
                <a:lnTo>
                  <a:pt x="3317946" y="500132"/>
                </a:lnTo>
                <a:lnTo>
                  <a:pt x="3317946" y="488649"/>
                </a:lnTo>
                <a:lnTo>
                  <a:pt x="3253973" y="488649"/>
                </a:lnTo>
                <a:lnTo>
                  <a:pt x="3253973" y="480448"/>
                </a:lnTo>
                <a:lnTo>
                  <a:pt x="3307221" y="480448"/>
                </a:lnTo>
                <a:lnTo>
                  <a:pt x="3307221" y="469155"/>
                </a:lnTo>
                <a:lnTo>
                  <a:pt x="3253973" y="469155"/>
                </a:lnTo>
                <a:lnTo>
                  <a:pt x="3253973" y="460700"/>
                </a:lnTo>
                <a:close/>
                <a:moveTo>
                  <a:pt x="3581350" y="457924"/>
                </a:moveTo>
                <a:cubicBezTo>
                  <a:pt x="3588921" y="464422"/>
                  <a:pt x="3597186" y="476598"/>
                  <a:pt x="3597186" y="476598"/>
                </a:cubicBezTo>
                <a:cubicBezTo>
                  <a:pt x="3593148" y="483097"/>
                  <a:pt x="3587597" y="487765"/>
                  <a:pt x="3587597" y="487765"/>
                </a:cubicBezTo>
                <a:lnTo>
                  <a:pt x="3582801" y="487765"/>
                </a:lnTo>
                <a:lnTo>
                  <a:pt x="3582801" y="487702"/>
                </a:lnTo>
                <a:cubicBezTo>
                  <a:pt x="3581792" y="478680"/>
                  <a:pt x="3581350" y="457924"/>
                  <a:pt x="3581350" y="457924"/>
                </a:cubicBezTo>
                <a:close/>
                <a:moveTo>
                  <a:pt x="4020904" y="446820"/>
                </a:moveTo>
                <a:cubicBezTo>
                  <a:pt x="4033144" y="460953"/>
                  <a:pt x="4057497" y="474580"/>
                  <a:pt x="4057497" y="474580"/>
                </a:cubicBezTo>
                <a:lnTo>
                  <a:pt x="3984690" y="474580"/>
                </a:lnTo>
                <a:cubicBezTo>
                  <a:pt x="4002230" y="465242"/>
                  <a:pt x="4020904" y="446820"/>
                  <a:pt x="4020904" y="446820"/>
                </a:cubicBezTo>
                <a:close/>
                <a:moveTo>
                  <a:pt x="3028485" y="444927"/>
                </a:moveTo>
                <a:lnTo>
                  <a:pt x="3028485" y="459753"/>
                </a:lnTo>
                <a:lnTo>
                  <a:pt x="3153090" y="459753"/>
                </a:lnTo>
                <a:lnTo>
                  <a:pt x="3153090" y="444927"/>
                </a:lnTo>
                <a:close/>
                <a:moveTo>
                  <a:pt x="3337505" y="438050"/>
                </a:moveTo>
                <a:lnTo>
                  <a:pt x="3337505" y="449912"/>
                </a:lnTo>
                <a:lnTo>
                  <a:pt x="3392015" y="449912"/>
                </a:lnTo>
                <a:lnTo>
                  <a:pt x="3392015" y="457103"/>
                </a:lnTo>
                <a:lnTo>
                  <a:pt x="3330627" y="457103"/>
                </a:lnTo>
                <a:lnTo>
                  <a:pt x="3330627" y="493823"/>
                </a:lnTo>
                <a:lnTo>
                  <a:pt x="3344066" y="493823"/>
                </a:lnTo>
                <a:lnTo>
                  <a:pt x="3344066" y="468712"/>
                </a:lnTo>
                <a:lnTo>
                  <a:pt x="3392015" y="468712"/>
                </a:lnTo>
                <a:lnTo>
                  <a:pt x="3392015" y="499059"/>
                </a:lnTo>
                <a:lnTo>
                  <a:pt x="3406274" y="499059"/>
                </a:lnTo>
                <a:lnTo>
                  <a:pt x="3406274" y="468712"/>
                </a:lnTo>
                <a:lnTo>
                  <a:pt x="3455989" y="468712"/>
                </a:lnTo>
                <a:lnTo>
                  <a:pt x="3455989" y="493823"/>
                </a:lnTo>
                <a:lnTo>
                  <a:pt x="3469427" y="493823"/>
                </a:lnTo>
                <a:lnTo>
                  <a:pt x="3469427" y="457103"/>
                </a:lnTo>
                <a:lnTo>
                  <a:pt x="3406274" y="457103"/>
                </a:lnTo>
                <a:lnTo>
                  <a:pt x="3406274" y="449912"/>
                </a:lnTo>
                <a:lnTo>
                  <a:pt x="3461856" y="449912"/>
                </a:lnTo>
                <a:lnTo>
                  <a:pt x="3461856" y="438050"/>
                </a:lnTo>
                <a:close/>
                <a:moveTo>
                  <a:pt x="4195287" y="434012"/>
                </a:moveTo>
                <a:lnTo>
                  <a:pt x="4195287" y="470730"/>
                </a:lnTo>
                <a:lnTo>
                  <a:pt x="4167150" y="470730"/>
                </a:lnTo>
                <a:lnTo>
                  <a:pt x="4167150" y="485241"/>
                </a:lnTo>
                <a:lnTo>
                  <a:pt x="4195287" y="485241"/>
                </a:lnTo>
                <a:lnTo>
                  <a:pt x="4195287" y="557228"/>
                </a:lnTo>
                <a:lnTo>
                  <a:pt x="4158190" y="557228"/>
                </a:lnTo>
                <a:lnTo>
                  <a:pt x="4158190" y="571612"/>
                </a:lnTo>
                <a:lnTo>
                  <a:pt x="4244624" y="571612"/>
                </a:lnTo>
                <a:lnTo>
                  <a:pt x="4244624" y="557228"/>
                </a:lnTo>
                <a:lnTo>
                  <a:pt x="4210303" y="557228"/>
                </a:lnTo>
                <a:lnTo>
                  <a:pt x="4210303" y="485241"/>
                </a:lnTo>
                <a:lnTo>
                  <a:pt x="4240209" y="485241"/>
                </a:lnTo>
                <a:lnTo>
                  <a:pt x="4240209" y="470730"/>
                </a:lnTo>
                <a:lnTo>
                  <a:pt x="4210303" y="470730"/>
                </a:lnTo>
                <a:lnTo>
                  <a:pt x="4210303" y="434012"/>
                </a:lnTo>
                <a:close/>
                <a:moveTo>
                  <a:pt x="3210818" y="433445"/>
                </a:moveTo>
                <a:lnTo>
                  <a:pt x="3210818" y="443224"/>
                </a:lnTo>
                <a:lnTo>
                  <a:pt x="3176370" y="443224"/>
                </a:lnTo>
                <a:lnTo>
                  <a:pt x="3176370" y="455337"/>
                </a:lnTo>
                <a:lnTo>
                  <a:pt x="3211007" y="455337"/>
                </a:lnTo>
                <a:lnTo>
                  <a:pt x="3211007" y="464674"/>
                </a:lnTo>
                <a:lnTo>
                  <a:pt x="3225707" y="464674"/>
                </a:lnTo>
                <a:lnTo>
                  <a:pt x="3225707" y="455337"/>
                </a:lnTo>
                <a:lnTo>
                  <a:pt x="3269051" y="455337"/>
                </a:lnTo>
                <a:lnTo>
                  <a:pt x="3269051" y="464674"/>
                </a:lnTo>
                <a:lnTo>
                  <a:pt x="3283562" y="464674"/>
                </a:lnTo>
                <a:lnTo>
                  <a:pt x="3283562" y="455337"/>
                </a:lnTo>
                <a:lnTo>
                  <a:pt x="3318955" y="455337"/>
                </a:lnTo>
                <a:lnTo>
                  <a:pt x="3318955" y="443224"/>
                </a:lnTo>
                <a:lnTo>
                  <a:pt x="3283562" y="443098"/>
                </a:lnTo>
                <a:lnTo>
                  <a:pt x="3283562" y="433445"/>
                </a:lnTo>
                <a:lnTo>
                  <a:pt x="3269051" y="433445"/>
                </a:lnTo>
                <a:lnTo>
                  <a:pt x="3269051" y="443035"/>
                </a:lnTo>
                <a:lnTo>
                  <a:pt x="3225707" y="443035"/>
                </a:lnTo>
                <a:lnTo>
                  <a:pt x="3225707" y="433445"/>
                </a:lnTo>
                <a:close/>
                <a:moveTo>
                  <a:pt x="4012639" y="432309"/>
                </a:moveTo>
                <a:cubicBezTo>
                  <a:pt x="4012639" y="432309"/>
                  <a:pt x="3993523" y="460069"/>
                  <a:pt x="3947277" y="474201"/>
                </a:cubicBezTo>
                <a:cubicBezTo>
                  <a:pt x="3947277" y="474201"/>
                  <a:pt x="3953271" y="488270"/>
                  <a:pt x="3954659" y="489217"/>
                </a:cubicBezTo>
                <a:cubicBezTo>
                  <a:pt x="3954659" y="489217"/>
                  <a:pt x="3970242" y="482781"/>
                  <a:pt x="3978318" y="478428"/>
                </a:cubicBezTo>
                <a:lnTo>
                  <a:pt x="3978318" y="488081"/>
                </a:lnTo>
                <a:lnTo>
                  <a:pt x="4062481" y="488081"/>
                </a:lnTo>
                <a:lnTo>
                  <a:pt x="4062481" y="476851"/>
                </a:lnTo>
                <a:cubicBezTo>
                  <a:pt x="4062481" y="476851"/>
                  <a:pt x="4070179" y="480825"/>
                  <a:pt x="4086961" y="486252"/>
                </a:cubicBezTo>
                <a:lnTo>
                  <a:pt x="4093648" y="472372"/>
                </a:lnTo>
                <a:cubicBezTo>
                  <a:pt x="4093586" y="472434"/>
                  <a:pt x="4053775" y="462782"/>
                  <a:pt x="4027781" y="432309"/>
                </a:cubicBezTo>
                <a:close/>
                <a:moveTo>
                  <a:pt x="3499900" y="432309"/>
                </a:moveTo>
                <a:lnTo>
                  <a:pt x="3499900" y="462782"/>
                </a:lnTo>
                <a:lnTo>
                  <a:pt x="3484317" y="462782"/>
                </a:lnTo>
                <a:lnTo>
                  <a:pt x="3484317" y="476851"/>
                </a:lnTo>
                <a:lnTo>
                  <a:pt x="3499900" y="476851"/>
                </a:lnTo>
                <a:cubicBezTo>
                  <a:pt x="3499900" y="476851"/>
                  <a:pt x="3493718" y="501835"/>
                  <a:pt x="3479900" y="521204"/>
                </a:cubicBezTo>
                <a:lnTo>
                  <a:pt x="3486020" y="538553"/>
                </a:lnTo>
                <a:cubicBezTo>
                  <a:pt x="3486020" y="538553"/>
                  <a:pt x="3493402" y="527827"/>
                  <a:pt x="3499900" y="509153"/>
                </a:cubicBezTo>
                <a:cubicBezTo>
                  <a:pt x="3500215" y="508459"/>
                  <a:pt x="3500784" y="506378"/>
                  <a:pt x="3500784" y="506378"/>
                </a:cubicBezTo>
                <a:cubicBezTo>
                  <a:pt x="3500784" y="506378"/>
                  <a:pt x="3500089" y="514264"/>
                  <a:pt x="3499900" y="517859"/>
                </a:cubicBezTo>
                <a:lnTo>
                  <a:pt x="3499900" y="580066"/>
                </a:lnTo>
                <a:lnTo>
                  <a:pt x="3513654" y="580004"/>
                </a:lnTo>
                <a:lnTo>
                  <a:pt x="3513654" y="508144"/>
                </a:lnTo>
                <a:cubicBezTo>
                  <a:pt x="3513654" y="505620"/>
                  <a:pt x="3512770" y="495400"/>
                  <a:pt x="3512770" y="495400"/>
                </a:cubicBezTo>
                <a:cubicBezTo>
                  <a:pt x="3514033" y="499185"/>
                  <a:pt x="3513717" y="499059"/>
                  <a:pt x="3521540" y="511740"/>
                </a:cubicBezTo>
                <a:lnTo>
                  <a:pt x="3527344" y="502213"/>
                </a:lnTo>
                <a:lnTo>
                  <a:pt x="3557186" y="499311"/>
                </a:lnTo>
                <a:lnTo>
                  <a:pt x="3559394" y="505178"/>
                </a:lnTo>
                <a:lnTo>
                  <a:pt x="3570688" y="500699"/>
                </a:lnTo>
                <a:cubicBezTo>
                  <a:pt x="3571256" y="504422"/>
                  <a:pt x="3571635" y="508711"/>
                  <a:pt x="3571635" y="508711"/>
                </a:cubicBezTo>
                <a:lnTo>
                  <a:pt x="3523748" y="508711"/>
                </a:lnTo>
                <a:lnTo>
                  <a:pt x="3523748" y="521582"/>
                </a:lnTo>
                <a:lnTo>
                  <a:pt x="3536430" y="521582"/>
                </a:lnTo>
                <a:cubicBezTo>
                  <a:pt x="3536556" y="549405"/>
                  <a:pt x="3518891" y="565366"/>
                  <a:pt x="3518891" y="565366"/>
                </a:cubicBezTo>
                <a:lnTo>
                  <a:pt x="3528922" y="577732"/>
                </a:lnTo>
                <a:cubicBezTo>
                  <a:pt x="3542171" y="565493"/>
                  <a:pt x="3547660" y="542717"/>
                  <a:pt x="3547660" y="542717"/>
                </a:cubicBezTo>
                <a:cubicBezTo>
                  <a:pt x="3554663" y="545304"/>
                  <a:pt x="3564126" y="554389"/>
                  <a:pt x="3564126" y="554389"/>
                </a:cubicBezTo>
                <a:lnTo>
                  <a:pt x="3571382" y="542212"/>
                </a:lnTo>
                <a:cubicBezTo>
                  <a:pt x="3566650" y="537292"/>
                  <a:pt x="3550436" y="527891"/>
                  <a:pt x="3550436" y="527891"/>
                </a:cubicBezTo>
                <a:lnTo>
                  <a:pt x="3550751" y="521582"/>
                </a:lnTo>
                <a:lnTo>
                  <a:pt x="3574095" y="521582"/>
                </a:lnTo>
                <a:cubicBezTo>
                  <a:pt x="3577755" y="537481"/>
                  <a:pt x="3583243" y="547575"/>
                  <a:pt x="3583243" y="547575"/>
                </a:cubicBezTo>
                <a:cubicBezTo>
                  <a:pt x="3573717" y="556471"/>
                  <a:pt x="3550688" y="563789"/>
                  <a:pt x="3550688" y="563789"/>
                </a:cubicBezTo>
                <a:lnTo>
                  <a:pt x="3559016" y="577038"/>
                </a:lnTo>
                <a:cubicBezTo>
                  <a:pt x="3572959" y="573316"/>
                  <a:pt x="3590625" y="560256"/>
                  <a:pt x="3590625" y="560256"/>
                </a:cubicBezTo>
                <a:cubicBezTo>
                  <a:pt x="3594852" y="566060"/>
                  <a:pt x="3603180" y="573253"/>
                  <a:pt x="3603180" y="573253"/>
                </a:cubicBezTo>
                <a:cubicBezTo>
                  <a:pt x="3616050" y="582401"/>
                  <a:pt x="3622738" y="572306"/>
                  <a:pt x="3622738" y="572306"/>
                </a:cubicBezTo>
                <a:cubicBezTo>
                  <a:pt x="3626776" y="567070"/>
                  <a:pt x="3631697" y="556092"/>
                  <a:pt x="3631697" y="556092"/>
                </a:cubicBezTo>
                <a:lnTo>
                  <a:pt x="3620529" y="544042"/>
                </a:lnTo>
                <a:cubicBezTo>
                  <a:pt x="3618259" y="550982"/>
                  <a:pt x="3614473" y="557480"/>
                  <a:pt x="3614473" y="557480"/>
                </a:cubicBezTo>
                <a:cubicBezTo>
                  <a:pt x="3610120" y="562464"/>
                  <a:pt x="3605136" y="555777"/>
                  <a:pt x="3605136" y="555777"/>
                </a:cubicBezTo>
                <a:cubicBezTo>
                  <a:pt x="3602234" y="552559"/>
                  <a:pt x="3601981" y="550982"/>
                  <a:pt x="3601981" y="550982"/>
                </a:cubicBezTo>
                <a:cubicBezTo>
                  <a:pt x="3609236" y="543916"/>
                  <a:pt x="3617627" y="531550"/>
                  <a:pt x="3617627" y="531550"/>
                </a:cubicBezTo>
                <a:lnTo>
                  <a:pt x="3605892" y="523033"/>
                </a:lnTo>
                <a:cubicBezTo>
                  <a:pt x="3603937" y="528270"/>
                  <a:pt x="3594284" y="539184"/>
                  <a:pt x="3594284" y="539184"/>
                </a:cubicBezTo>
                <a:cubicBezTo>
                  <a:pt x="3589868" y="532812"/>
                  <a:pt x="3587912" y="521582"/>
                  <a:pt x="3587912" y="521582"/>
                </a:cubicBezTo>
                <a:lnTo>
                  <a:pt x="3628984" y="521582"/>
                </a:lnTo>
                <a:lnTo>
                  <a:pt x="3628984" y="508711"/>
                </a:lnTo>
                <a:lnTo>
                  <a:pt x="3613968" y="508711"/>
                </a:lnTo>
                <a:cubicBezTo>
                  <a:pt x="3610561" y="502402"/>
                  <a:pt x="3608732" y="497544"/>
                  <a:pt x="3608732" y="497544"/>
                </a:cubicBezTo>
                <a:lnTo>
                  <a:pt x="3618132" y="496282"/>
                </a:lnTo>
                <a:cubicBezTo>
                  <a:pt x="3619078" y="498302"/>
                  <a:pt x="3620403" y="502087"/>
                  <a:pt x="3620403" y="502087"/>
                </a:cubicBezTo>
                <a:lnTo>
                  <a:pt x="3630435" y="498049"/>
                </a:lnTo>
                <a:cubicBezTo>
                  <a:pt x="3627659" y="486440"/>
                  <a:pt x="3627154" y="486378"/>
                  <a:pt x="3622928" y="475526"/>
                </a:cubicBezTo>
                <a:lnTo>
                  <a:pt x="3612896" y="478680"/>
                </a:lnTo>
                <a:lnTo>
                  <a:pt x="3615419" y="486378"/>
                </a:lnTo>
                <a:lnTo>
                  <a:pt x="3602675" y="487765"/>
                </a:lnTo>
                <a:cubicBezTo>
                  <a:pt x="3606461" y="483917"/>
                  <a:pt x="3622928" y="462845"/>
                  <a:pt x="3625766" y="458681"/>
                </a:cubicBezTo>
                <a:lnTo>
                  <a:pt x="3615419" y="452624"/>
                </a:lnTo>
                <a:cubicBezTo>
                  <a:pt x="3614725" y="453949"/>
                  <a:pt x="3606650" y="465179"/>
                  <a:pt x="3605388" y="466820"/>
                </a:cubicBezTo>
                <a:lnTo>
                  <a:pt x="3600656" y="461331"/>
                </a:lnTo>
                <a:cubicBezTo>
                  <a:pt x="3607154" y="452435"/>
                  <a:pt x="3614094" y="439375"/>
                  <a:pt x="3614094" y="439375"/>
                </a:cubicBezTo>
                <a:lnTo>
                  <a:pt x="3602296" y="434265"/>
                </a:lnTo>
                <a:cubicBezTo>
                  <a:pt x="3601098" y="437167"/>
                  <a:pt x="3596619" y="447073"/>
                  <a:pt x="3593086" y="451741"/>
                </a:cubicBezTo>
                <a:cubicBezTo>
                  <a:pt x="3592138" y="450732"/>
                  <a:pt x="3589174" y="448145"/>
                  <a:pt x="3589174" y="448145"/>
                </a:cubicBezTo>
                <a:lnTo>
                  <a:pt x="3581288" y="456977"/>
                </a:lnTo>
                <a:lnTo>
                  <a:pt x="3580530" y="432498"/>
                </a:lnTo>
                <a:lnTo>
                  <a:pt x="3566777" y="432498"/>
                </a:lnTo>
                <a:cubicBezTo>
                  <a:pt x="3566777" y="464233"/>
                  <a:pt x="3569994" y="497292"/>
                  <a:pt x="3569994" y="497292"/>
                </a:cubicBezTo>
                <a:cubicBezTo>
                  <a:pt x="3565703" y="487135"/>
                  <a:pt x="3563180" y="477797"/>
                  <a:pt x="3563180" y="477797"/>
                </a:cubicBezTo>
                <a:lnTo>
                  <a:pt x="3553653" y="480258"/>
                </a:lnTo>
                <a:lnTo>
                  <a:pt x="3555861" y="488965"/>
                </a:lnTo>
                <a:lnTo>
                  <a:pt x="3543875" y="490037"/>
                </a:lnTo>
                <a:cubicBezTo>
                  <a:pt x="3551067" y="481709"/>
                  <a:pt x="3566082" y="459249"/>
                  <a:pt x="3566082" y="459249"/>
                </a:cubicBezTo>
                <a:lnTo>
                  <a:pt x="3555546" y="453444"/>
                </a:lnTo>
                <a:cubicBezTo>
                  <a:pt x="3552518" y="458050"/>
                  <a:pt x="3545578" y="469532"/>
                  <a:pt x="3545578" y="469532"/>
                </a:cubicBezTo>
                <a:lnTo>
                  <a:pt x="3541099" y="464296"/>
                </a:lnTo>
                <a:cubicBezTo>
                  <a:pt x="3548228" y="453444"/>
                  <a:pt x="3554474" y="439754"/>
                  <a:pt x="3554474" y="439754"/>
                </a:cubicBezTo>
                <a:lnTo>
                  <a:pt x="3542739" y="435275"/>
                </a:lnTo>
                <a:cubicBezTo>
                  <a:pt x="3537566" y="447388"/>
                  <a:pt x="3532518" y="455526"/>
                  <a:pt x="3532518" y="455526"/>
                </a:cubicBezTo>
                <a:cubicBezTo>
                  <a:pt x="3531698" y="454265"/>
                  <a:pt x="3528480" y="452309"/>
                  <a:pt x="3528480" y="452309"/>
                </a:cubicBezTo>
                <a:lnTo>
                  <a:pt x="3521225" y="462845"/>
                </a:lnTo>
                <a:lnTo>
                  <a:pt x="3513654" y="462845"/>
                </a:lnTo>
                <a:lnTo>
                  <a:pt x="3513654" y="432309"/>
                </a:lnTo>
                <a:close/>
                <a:moveTo>
                  <a:pt x="4125635" y="432183"/>
                </a:moveTo>
                <a:lnTo>
                  <a:pt x="4125635" y="456789"/>
                </a:lnTo>
                <a:lnTo>
                  <a:pt x="4102228" y="456789"/>
                </a:lnTo>
                <a:lnTo>
                  <a:pt x="4102228" y="471615"/>
                </a:lnTo>
                <a:lnTo>
                  <a:pt x="4146455" y="471615"/>
                </a:lnTo>
                <a:cubicBezTo>
                  <a:pt x="4146455" y="471615"/>
                  <a:pt x="4134278" y="500006"/>
                  <a:pt x="4098632" y="525368"/>
                </a:cubicBezTo>
                <a:lnTo>
                  <a:pt x="4105005" y="540509"/>
                </a:lnTo>
                <a:cubicBezTo>
                  <a:pt x="4105005" y="540509"/>
                  <a:pt x="4122102" y="526567"/>
                  <a:pt x="4127086" y="520888"/>
                </a:cubicBezTo>
                <a:lnTo>
                  <a:pt x="4127086" y="578111"/>
                </a:lnTo>
                <a:lnTo>
                  <a:pt x="4141155" y="578111"/>
                </a:lnTo>
                <a:lnTo>
                  <a:pt x="4141155" y="513507"/>
                </a:lnTo>
                <a:cubicBezTo>
                  <a:pt x="4141155" y="513507"/>
                  <a:pt x="4154404" y="527954"/>
                  <a:pt x="4162859" y="533381"/>
                </a:cubicBezTo>
                <a:lnTo>
                  <a:pt x="4171502" y="521457"/>
                </a:lnTo>
                <a:cubicBezTo>
                  <a:pt x="4171502" y="521457"/>
                  <a:pt x="4148853" y="504359"/>
                  <a:pt x="4146266" y="498617"/>
                </a:cubicBezTo>
                <a:cubicBezTo>
                  <a:pt x="4146266" y="498617"/>
                  <a:pt x="4160777" y="477293"/>
                  <a:pt x="4162290" y="470479"/>
                </a:cubicBezTo>
                <a:lnTo>
                  <a:pt x="4162290" y="456977"/>
                </a:lnTo>
                <a:lnTo>
                  <a:pt x="4140651" y="456977"/>
                </a:lnTo>
                <a:lnTo>
                  <a:pt x="4140651" y="432183"/>
                </a:lnTo>
                <a:close/>
                <a:moveTo>
                  <a:pt x="3913082" y="432183"/>
                </a:moveTo>
                <a:lnTo>
                  <a:pt x="3901095" y="438430"/>
                </a:lnTo>
                <a:cubicBezTo>
                  <a:pt x="3901095" y="438430"/>
                  <a:pt x="3914722" y="453634"/>
                  <a:pt x="3915038" y="457672"/>
                </a:cubicBezTo>
                <a:lnTo>
                  <a:pt x="3894659" y="457735"/>
                </a:lnTo>
                <a:cubicBezTo>
                  <a:pt x="3894471" y="450732"/>
                  <a:pt x="3893713" y="439186"/>
                  <a:pt x="3894092" y="432246"/>
                </a:cubicBezTo>
                <a:lnTo>
                  <a:pt x="3878130" y="432246"/>
                </a:lnTo>
                <a:cubicBezTo>
                  <a:pt x="3878130" y="432246"/>
                  <a:pt x="3878256" y="445180"/>
                  <a:pt x="3878761" y="457609"/>
                </a:cubicBezTo>
                <a:lnTo>
                  <a:pt x="3795922" y="457609"/>
                </a:lnTo>
                <a:lnTo>
                  <a:pt x="3795922" y="473003"/>
                </a:lnTo>
                <a:lnTo>
                  <a:pt x="3879896" y="473003"/>
                </a:lnTo>
                <a:cubicBezTo>
                  <a:pt x="3881032" y="489217"/>
                  <a:pt x="3883619" y="516409"/>
                  <a:pt x="3886521" y="524926"/>
                </a:cubicBezTo>
                <a:cubicBezTo>
                  <a:pt x="3886521" y="524926"/>
                  <a:pt x="3891821" y="558239"/>
                  <a:pt x="3906142" y="571992"/>
                </a:cubicBezTo>
                <a:cubicBezTo>
                  <a:pt x="3906142" y="571992"/>
                  <a:pt x="3917561" y="584546"/>
                  <a:pt x="3929044" y="570351"/>
                </a:cubicBezTo>
                <a:cubicBezTo>
                  <a:pt x="3929044" y="570351"/>
                  <a:pt x="3934722" y="562654"/>
                  <a:pt x="3939706" y="544800"/>
                </a:cubicBezTo>
                <a:lnTo>
                  <a:pt x="3928035" y="529216"/>
                </a:lnTo>
                <a:cubicBezTo>
                  <a:pt x="3928161" y="529153"/>
                  <a:pt x="3925385" y="541519"/>
                  <a:pt x="3921473" y="550920"/>
                </a:cubicBezTo>
                <a:cubicBezTo>
                  <a:pt x="3921473" y="550920"/>
                  <a:pt x="3917057" y="564295"/>
                  <a:pt x="3910621" y="550541"/>
                </a:cubicBezTo>
                <a:cubicBezTo>
                  <a:pt x="3910621" y="550541"/>
                  <a:pt x="3903745" y="536976"/>
                  <a:pt x="3900338" y="516473"/>
                </a:cubicBezTo>
                <a:cubicBezTo>
                  <a:pt x="3900338" y="516473"/>
                  <a:pt x="3896741" y="491741"/>
                  <a:pt x="3895543" y="473192"/>
                </a:cubicBezTo>
                <a:lnTo>
                  <a:pt x="3934470" y="473003"/>
                </a:lnTo>
                <a:lnTo>
                  <a:pt x="3934470" y="457735"/>
                </a:lnTo>
                <a:lnTo>
                  <a:pt x="3918508" y="457735"/>
                </a:lnTo>
                <a:lnTo>
                  <a:pt x="3929297" y="450669"/>
                </a:lnTo>
                <a:cubicBezTo>
                  <a:pt x="3926773" y="446378"/>
                  <a:pt x="3916174" y="433949"/>
                  <a:pt x="3913082" y="432183"/>
                </a:cubicBezTo>
                <a:close/>
                <a:moveTo>
                  <a:pt x="3732390" y="431994"/>
                </a:moveTo>
                <a:lnTo>
                  <a:pt x="3732390" y="456662"/>
                </a:lnTo>
                <a:lnTo>
                  <a:pt x="3717374" y="456662"/>
                </a:lnTo>
                <a:cubicBezTo>
                  <a:pt x="3718194" y="453508"/>
                  <a:pt x="3721853" y="439628"/>
                  <a:pt x="3721853" y="439628"/>
                </a:cubicBezTo>
                <a:lnTo>
                  <a:pt x="3708163" y="436347"/>
                </a:lnTo>
                <a:cubicBezTo>
                  <a:pt x="3703746" y="461836"/>
                  <a:pt x="3694724" y="472814"/>
                  <a:pt x="3692263" y="475463"/>
                </a:cubicBezTo>
                <a:lnTo>
                  <a:pt x="3692263" y="463161"/>
                </a:lnTo>
                <a:lnTo>
                  <a:pt x="3678636" y="463161"/>
                </a:lnTo>
                <a:lnTo>
                  <a:pt x="3678636" y="432309"/>
                </a:lnTo>
                <a:lnTo>
                  <a:pt x="3664377" y="432309"/>
                </a:lnTo>
                <a:lnTo>
                  <a:pt x="3664377" y="463097"/>
                </a:lnTo>
                <a:lnTo>
                  <a:pt x="3641349" y="463097"/>
                </a:lnTo>
                <a:lnTo>
                  <a:pt x="3641349" y="477041"/>
                </a:lnTo>
                <a:lnTo>
                  <a:pt x="3663242" y="477041"/>
                </a:lnTo>
                <a:cubicBezTo>
                  <a:pt x="3663242" y="477041"/>
                  <a:pt x="3656870" y="500700"/>
                  <a:pt x="3637627" y="523475"/>
                </a:cubicBezTo>
                <a:lnTo>
                  <a:pt x="3644252" y="538743"/>
                </a:lnTo>
                <a:cubicBezTo>
                  <a:pt x="3658321" y="520131"/>
                  <a:pt x="3663431" y="507829"/>
                  <a:pt x="3665261" y="502340"/>
                </a:cubicBezTo>
                <a:cubicBezTo>
                  <a:pt x="3665261" y="502340"/>
                  <a:pt x="3664441" y="511550"/>
                  <a:pt x="3664377" y="514642"/>
                </a:cubicBezTo>
                <a:lnTo>
                  <a:pt x="3664377" y="580067"/>
                </a:lnTo>
                <a:lnTo>
                  <a:pt x="3678636" y="580067"/>
                </a:lnTo>
                <a:lnTo>
                  <a:pt x="3678636" y="508648"/>
                </a:lnTo>
                <a:cubicBezTo>
                  <a:pt x="3678573" y="505620"/>
                  <a:pt x="3677753" y="496472"/>
                  <a:pt x="3677753" y="496472"/>
                </a:cubicBezTo>
                <a:cubicBezTo>
                  <a:pt x="3677753" y="496472"/>
                  <a:pt x="3678510" y="501961"/>
                  <a:pt x="3691885" y="520194"/>
                </a:cubicBezTo>
                <a:lnTo>
                  <a:pt x="3699456" y="507324"/>
                </a:lnTo>
                <a:lnTo>
                  <a:pt x="3696428" y="504359"/>
                </a:lnTo>
                <a:lnTo>
                  <a:pt x="3727721" y="504359"/>
                </a:lnTo>
                <a:cubicBezTo>
                  <a:pt x="3716175" y="532749"/>
                  <a:pt x="3685766" y="554893"/>
                  <a:pt x="3685766" y="554893"/>
                </a:cubicBezTo>
                <a:lnTo>
                  <a:pt x="3695355" y="566944"/>
                </a:lnTo>
                <a:cubicBezTo>
                  <a:pt x="3717248" y="551550"/>
                  <a:pt x="3732390" y="522150"/>
                  <a:pt x="3732390" y="522150"/>
                </a:cubicBezTo>
                <a:lnTo>
                  <a:pt x="3732390" y="579815"/>
                </a:lnTo>
                <a:lnTo>
                  <a:pt x="3745955" y="579815"/>
                </a:lnTo>
                <a:lnTo>
                  <a:pt x="3745955" y="521456"/>
                </a:lnTo>
                <a:cubicBezTo>
                  <a:pt x="3752831" y="532749"/>
                  <a:pt x="3761727" y="549468"/>
                  <a:pt x="3781096" y="565430"/>
                </a:cubicBezTo>
                <a:lnTo>
                  <a:pt x="3789865" y="551424"/>
                </a:lnTo>
                <a:cubicBezTo>
                  <a:pt x="3768478" y="535021"/>
                  <a:pt x="3754472" y="513696"/>
                  <a:pt x="3750118" y="503980"/>
                </a:cubicBezTo>
                <a:lnTo>
                  <a:pt x="3786521" y="503980"/>
                </a:lnTo>
                <a:lnTo>
                  <a:pt x="3786521" y="490479"/>
                </a:lnTo>
                <a:lnTo>
                  <a:pt x="3745955" y="490479"/>
                </a:lnTo>
                <a:lnTo>
                  <a:pt x="3745955" y="470163"/>
                </a:lnTo>
                <a:lnTo>
                  <a:pt x="3779392" y="470163"/>
                </a:lnTo>
                <a:lnTo>
                  <a:pt x="3779392" y="456662"/>
                </a:lnTo>
                <a:lnTo>
                  <a:pt x="3745955" y="456662"/>
                </a:lnTo>
                <a:lnTo>
                  <a:pt x="3745955" y="431994"/>
                </a:lnTo>
                <a:close/>
                <a:moveTo>
                  <a:pt x="0" y="0"/>
                </a:moveTo>
                <a:lnTo>
                  <a:pt x="7264800" y="0"/>
                </a:lnTo>
                <a:lnTo>
                  <a:pt x="7264800" y="741600"/>
                </a:lnTo>
                <a:lnTo>
                  <a:pt x="0" y="741600"/>
                </a:lnTo>
                <a:close/>
              </a:path>
            </a:pathLst>
          </a:custGeom>
          <a:solidFill>
            <a:schemeClr val="bg1">
              <a:alpha val="45000"/>
            </a:schemeClr>
          </a:solidFill>
        </p:spPr>
        <p:txBody>
          <a:bodyPr vert="horz" wrap="square" lIns="0" tIns="0" rIns="0" bIns="435600" rtlCol="0" anchor="b" anchorCtr="1">
            <a:noAutofit/>
          </a:bodyPr>
          <a:lstStyle>
            <a:lvl1pPr>
              <a:defRPr lang="ja-JP" altLang="en-US" sz="900" b="1" spc="250" baseline="0">
                <a:solidFill>
                  <a:schemeClr val="tx1"/>
                </a:solidFill>
                <a:latin typeface="Meiryo UI" panose="020B0604030504040204" pitchFamily="34" charset="-128"/>
                <a:ea typeface="Meiryo UI" panose="020B0604030504040204" pitchFamily="34" charset="-128"/>
              </a:defRPr>
            </a:lvl1pPr>
          </a:lstStyle>
          <a:p>
            <a:pPr algn="ctr" defTabSz="914400"/>
            <a:endParaRPr lang="en-JP" dirty="0"/>
          </a:p>
        </p:txBody>
      </p:sp>
      <p:sp>
        <p:nvSpPr>
          <p:cNvPr id="4" name="Footer Placeholder">
            <a:extLst>
              <a:ext uri="{FF2B5EF4-FFF2-40B4-BE49-F238E27FC236}">
                <a16:creationId xmlns:a16="http://schemas.microsoft.com/office/drawing/2014/main" id="{AC6C1DA5-7AE8-4D39-9096-E824C34E14A4}"/>
              </a:ext>
            </a:extLst>
          </p:cNvPr>
          <p:cNvSpPr>
            <a:spLocks noGrp="1"/>
          </p:cNvSpPr>
          <p:nvPr>
            <p:ph type="ftr" sz="quarter" idx="14"/>
          </p:nvPr>
        </p:nvSpPr>
        <p:spPr/>
        <p:txBody>
          <a:bodyPr vert="horz" lIns="0" tIns="0" rIns="0" bIns="0" rtlCol="0" anchor="ctr"/>
          <a:lstStyle>
            <a:lvl1pPr>
              <a:defRPr lang="ja-JP" altLang="en-US" dirty="0">
                <a:solidFill>
                  <a:srgbClr val="000000"/>
                </a:solidFill>
                <a:latin typeface="Meiryo UI" panose="020B0604030504040204" pitchFamily="34" charset="-128"/>
                <a:ea typeface="Meiryo UI" panose="020B0604030504040204" pitchFamily="34" charset="-128"/>
              </a:defRPr>
            </a:lvl1pPr>
          </a:lstStyle>
          <a:p>
            <a:pPr defTabSz="914400">
              <a:lnSpc>
                <a:spcPct val="130000"/>
              </a:lnSpc>
            </a:pPr>
            <a:endParaRPr lang="en-JP"/>
          </a:p>
        </p:txBody>
      </p:sp>
      <p:sp>
        <p:nvSpPr>
          <p:cNvPr id="5" name="Slide Number Placeholder">
            <a:extLst>
              <a:ext uri="{FF2B5EF4-FFF2-40B4-BE49-F238E27FC236}">
                <a16:creationId xmlns:a16="http://schemas.microsoft.com/office/drawing/2014/main" id="{A27F3943-5830-4A24-AB3A-0B4EDA0052F2}"/>
              </a:ext>
            </a:extLst>
          </p:cNvPr>
          <p:cNvSpPr>
            <a:spLocks noGrp="1"/>
          </p:cNvSpPr>
          <p:nvPr>
            <p:ph type="sldNum" sz="quarter" idx="15"/>
          </p:nvPr>
        </p:nvSpPr>
        <p:spPr/>
        <p:txBody>
          <a:bodyPr vert="horz" lIns="0" tIns="0" rIns="0" bIns="0" rtlCol="0" anchor="ctr"/>
          <a:lstStyle>
            <a:lvl1pPr>
              <a:defRPr lang="en-US" altLang="ja-JP" smtClean="0">
                <a:solidFill>
                  <a:srgbClr val="000000"/>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altLang="ja-JP" dirty="0"/>
          </a:p>
        </p:txBody>
      </p:sp>
      <p:grpSp>
        <p:nvGrpSpPr>
          <p:cNvPr id="2" name="Group 18">
            <a:extLst>
              <a:ext uri="{FF2B5EF4-FFF2-40B4-BE49-F238E27FC236}">
                <a16:creationId xmlns:a16="http://schemas.microsoft.com/office/drawing/2014/main" id="{86EE7BD4-005A-851B-3F36-89124B06EAD7}"/>
              </a:ext>
            </a:extLst>
          </p:cNvPr>
          <p:cNvGrpSpPr/>
          <p:nvPr userDrawn="1"/>
        </p:nvGrpSpPr>
        <p:grpSpPr>
          <a:xfrm>
            <a:off x="12527745" y="1706598"/>
            <a:ext cx="2425636" cy="4834602"/>
            <a:chOff x="12216680" y="2015317"/>
            <a:chExt cx="2425636" cy="4834602"/>
          </a:xfrm>
        </p:grpSpPr>
        <p:sp>
          <p:nvSpPr>
            <p:cNvPr id="3" name="Rectangle 19">
              <a:extLst>
                <a:ext uri="{FF2B5EF4-FFF2-40B4-BE49-F238E27FC236}">
                  <a16:creationId xmlns:a16="http://schemas.microsoft.com/office/drawing/2014/main" id="{752A6D60-F3E3-3CF4-31A0-01448752BD93}"/>
                </a:ext>
              </a:extLst>
            </p:cNvPr>
            <p:cNvSpPr/>
            <p:nvPr userDrawn="1"/>
          </p:nvSpPr>
          <p:spPr>
            <a:xfrm>
              <a:off x="13206394" y="332077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 name="Rectangle 20">
              <a:extLst>
                <a:ext uri="{FF2B5EF4-FFF2-40B4-BE49-F238E27FC236}">
                  <a16:creationId xmlns:a16="http://schemas.microsoft.com/office/drawing/2014/main" id="{C0C0565A-F70F-A9C0-F086-61CA1B7375C5}"/>
                </a:ext>
              </a:extLst>
            </p:cNvPr>
            <p:cNvSpPr/>
            <p:nvPr userDrawn="1"/>
          </p:nvSpPr>
          <p:spPr>
            <a:xfrm>
              <a:off x="13445026" y="332077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7" name="Rectangle 21">
              <a:extLst>
                <a:ext uri="{FF2B5EF4-FFF2-40B4-BE49-F238E27FC236}">
                  <a16:creationId xmlns:a16="http://schemas.microsoft.com/office/drawing/2014/main" id="{4271D8C7-CFB1-6519-92B4-A058CB276EA6}"/>
                </a:ext>
              </a:extLst>
            </p:cNvPr>
            <p:cNvSpPr/>
            <p:nvPr userDrawn="1"/>
          </p:nvSpPr>
          <p:spPr>
            <a:xfrm>
              <a:off x="13683658" y="332077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8" name="Rectangle 22">
              <a:extLst>
                <a:ext uri="{FF2B5EF4-FFF2-40B4-BE49-F238E27FC236}">
                  <a16:creationId xmlns:a16="http://schemas.microsoft.com/office/drawing/2014/main" id="{CDBAD577-CFA8-E41C-664D-5D89FBB3BA70}"/>
                </a:ext>
              </a:extLst>
            </p:cNvPr>
            <p:cNvSpPr/>
            <p:nvPr userDrawn="1"/>
          </p:nvSpPr>
          <p:spPr>
            <a:xfrm>
              <a:off x="13922290" y="332077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9" name="Rectangle 23">
              <a:extLst>
                <a:ext uri="{FF2B5EF4-FFF2-40B4-BE49-F238E27FC236}">
                  <a16:creationId xmlns:a16="http://schemas.microsoft.com/office/drawing/2014/main" id="{82466F5B-B242-E042-2BAF-7C5765BCEA31}"/>
                </a:ext>
              </a:extLst>
            </p:cNvPr>
            <p:cNvSpPr/>
            <p:nvPr userDrawn="1"/>
          </p:nvSpPr>
          <p:spPr>
            <a:xfrm>
              <a:off x="14160920" y="332077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0" name="TextBox 24">
              <a:extLst>
                <a:ext uri="{FF2B5EF4-FFF2-40B4-BE49-F238E27FC236}">
                  <a16:creationId xmlns:a16="http://schemas.microsoft.com/office/drawing/2014/main" id="{E8D2CC72-9683-A5F4-1E93-F45A506C2D7F}"/>
                </a:ext>
              </a:extLst>
            </p:cNvPr>
            <p:cNvSpPr txBox="1"/>
            <p:nvPr userDrawn="1"/>
          </p:nvSpPr>
          <p:spPr>
            <a:xfrm>
              <a:off x="12317995" y="2945416"/>
              <a:ext cx="1109599" cy="215444"/>
            </a:xfrm>
            <a:prstGeom prst="rect">
              <a:avLst/>
            </a:prstGeom>
            <a:noFill/>
          </p:spPr>
          <p:txBody>
            <a:bodyPr wrap="none" rtlCol="0">
              <a:spAutoFit/>
            </a:bodyPr>
            <a:lstStyle/>
            <a:p>
              <a:r>
                <a:rPr kumimoji="1" lang="en-US" altLang="ja-JP" sz="800" u="sng" dirty="0"/>
                <a:t>Accent Color Palette</a:t>
              </a:r>
              <a:endParaRPr kumimoji="1" lang="ja-JP" altLang="en-US" sz="800" u="sng" dirty="0"/>
            </a:p>
          </p:txBody>
        </p:sp>
        <p:sp>
          <p:nvSpPr>
            <p:cNvPr id="11" name="TextBox 25">
              <a:extLst>
                <a:ext uri="{FF2B5EF4-FFF2-40B4-BE49-F238E27FC236}">
                  <a16:creationId xmlns:a16="http://schemas.microsoft.com/office/drawing/2014/main" id="{A65C4FC7-71AE-BCB2-190C-360AAC58DD6C}"/>
                </a:ext>
              </a:extLst>
            </p:cNvPr>
            <p:cNvSpPr txBox="1"/>
            <p:nvPr userDrawn="1"/>
          </p:nvSpPr>
          <p:spPr>
            <a:xfrm>
              <a:off x="12458438" y="332077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12" name="TextBox 26">
              <a:extLst>
                <a:ext uri="{FF2B5EF4-FFF2-40B4-BE49-F238E27FC236}">
                  <a16:creationId xmlns:a16="http://schemas.microsoft.com/office/drawing/2014/main" id="{FE0F326C-8B3B-4855-3F7E-968ABB063608}"/>
                </a:ext>
              </a:extLst>
            </p:cNvPr>
            <p:cNvSpPr txBox="1"/>
            <p:nvPr userDrawn="1"/>
          </p:nvSpPr>
          <p:spPr>
            <a:xfrm>
              <a:off x="13132897" y="315150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13" name="TextBox 27">
              <a:extLst>
                <a:ext uri="{FF2B5EF4-FFF2-40B4-BE49-F238E27FC236}">
                  <a16:creationId xmlns:a16="http://schemas.microsoft.com/office/drawing/2014/main" id="{E14C9591-7BFA-60AE-91ED-06AC6945838C}"/>
                </a:ext>
              </a:extLst>
            </p:cNvPr>
            <p:cNvSpPr txBox="1"/>
            <p:nvPr userDrawn="1"/>
          </p:nvSpPr>
          <p:spPr>
            <a:xfrm>
              <a:off x="13377276"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14" name="TextBox 28">
              <a:extLst>
                <a:ext uri="{FF2B5EF4-FFF2-40B4-BE49-F238E27FC236}">
                  <a16:creationId xmlns:a16="http://schemas.microsoft.com/office/drawing/2014/main" id="{3822EFC4-5817-36C8-7319-C8684AE83ECB}"/>
                </a:ext>
              </a:extLst>
            </p:cNvPr>
            <p:cNvSpPr txBox="1"/>
            <p:nvPr userDrawn="1"/>
          </p:nvSpPr>
          <p:spPr>
            <a:xfrm>
              <a:off x="13598064"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15" name="TextBox 29">
              <a:extLst>
                <a:ext uri="{FF2B5EF4-FFF2-40B4-BE49-F238E27FC236}">
                  <a16:creationId xmlns:a16="http://schemas.microsoft.com/office/drawing/2014/main" id="{97B8F19E-0A71-4D3A-F883-32A80A12C4DD}"/>
                </a:ext>
              </a:extLst>
            </p:cNvPr>
            <p:cNvSpPr txBox="1"/>
            <p:nvPr userDrawn="1"/>
          </p:nvSpPr>
          <p:spPr>
            <a:xfrm>
              <a:off x="13824143"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16" name="TextBox 30">
              <a:extLst>
                <a:ext uri="{FF2B5EF4-FFF2-40B4-BE49-F238E27FC236}">
                  <a16:creationId xmlns:a16="http://schemas.microsoft.com/office/drawing/2014/main" id="{4F1734F1-BD4B-C3F1-BE89-48E8F1C0AFDB}"/>
                </a:ext>
              </a:extLst>
            </p:cNvPr>
            <p:cNvSpPr txBox="1"/>
            <p:nvPr userDrawn="1"/>
          </p:nvSpPr>
          <p:spPr>
            <a:xfrm>
              <a:off x="14046511" y="315150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17" name="Rectangle 31">
              <a:extLst>
                <a:ext uri="{FF2B5EF4-FFF2-40B4-BE49-F238E27FC236}">
                  <a16:creationId xmlns:a16="http://schemas.microsoft.com/office/drawing/2014/main" id="{94E9474F-14C9-36F1-DB11-68D29768DEDB}"/>
                </a:ext>
              </a:extLst>
            </p:cNvPr>
            <p:cNvSpPr/>
            <p:nvPr userDrawn="1"/>
          </p:nvSpPr>
          <p:spPr>
            <a:xfrm>
              <a:off x="13206394" y="35768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8" name="Rectangle 32">
              <a:extLst>
                <a:ext uri="{FF2B5EF4-FFF2-40B4-BE49-F238E27FC236}">
                  <a16:creationId xmlns:a16="http://schemas.microsoft.com/office/drawing/2014/main" id="{D67FBDEC-6473-875E-14FE-4F7926AF2160}"/>
                </a:ext>
              </a:extLst>
            </p:cNvPr>
            <p:cNvSpPr/>
            <p:nvPr userDrawn="1"/>
          </p:nvSpPr>
          <p:spPr>
            <a:xfrm>
              <a:off x="13202303" y="383283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19" name="Rectangle 33">
              <a:extLst>
                <a:ext uri="{FF2B5EF4-FFF2-40B4-BE49-F238E27FC236}">
                  <a16:creationId xmlns:a16="http://schemas.microsoft.com/office/drawing/2014/main" id="{793E4C5F-1D3E-E37D-54F4-1BAB258204B0}"/>
                </a:ext>
              </a:extLst>
            </p:cNvPr>
            <p:cNvSpPr/>
            <p:nvPr userDrawn="1"/>
          </p:nvSpPr>
          <p:spPr>
            <a:xfrm>
              <a:off x="13202303" y="408886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0" name="Rectangle 34">
              <a:extLst>
                <a:ext uri="{FF2B5EF4-FFF2-40B4-BE49-F238E27FC236}">
                  <a16:creationId xmlns:a16="http://schemas.microsoft.com/office/drawing/2014/main" id="{24E8AD99-E29B-2351-81C3-0F73818CF909}"/>
                </a:ext>
              </a:extLst>
            </p:cNvPr>
            <p:cNvSpPr/>
            <p:nvPr userDrawn="1"/>
          </p:nvSpPr>
          <p:spPr>
            <a:xfrm>
              <a:off x="13202303" y="434488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1" name="Rectangle 35">
              <a:extLst>
                <a:ext uri="{FF2B5EF4-FFF2-40B4-BE49-F238E27FC236}">
                  <a16:creationId xmlns:a16="http://schemas.microsoft.com/office/drawing/2014/main" id="{E080B4E9-FB97-9844-39B7-F0E3ED965208}"/>
                </a:ext>
              </a:extLst>
            </p:cNvPr>
            <p:cNvSpPr/>
            <p:nvPr userDrawn="1"/>
          </p:nvSpPr>
          <p:spPr>
            <a:xfrm>
              <a:off x="13202303" y="460091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2" name="Rectangle 36">
              <a:extLst>
                <a:ext uri="{FF2B5EF4-FFF2-40B4-BE49-F238E27FC236}">
                  <a16:creationId xmlns:a16="http://schemas.microsoft.com/office/drawing/2014/main" id="{1629F1AC-0BC9-10C3-343C-D9E1691CF8AD}"/>
                </a:ext>
              </a:extLst>
            </p:cNvPr>
            <p:cNvSpPr/>
            <p:nvPr userDrawn="1"/>
          </p:nvSpPr>
          <p:spPr>
            <a:xfrm>
              <a:off x="13202303" y="485694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3" name="Rectangle 37">
              <a:extLst>
                <a:ext uri="{FF2B5EF4-FFF2-40B4-BE49-F238E27FC236}">
                  <a16:creationId xmlns:a16="http://schemas.microsoft.com/office/drawing/2014/main" id="{CFEFF383-C781-932E-726E-98BEC2690421}"/>
                </a:ext>
              </a:extLst>
            </p:cNvPr>
            <p:cNvSpPr/>
            <p:nvPr userDrawn="1"/>
          </p:nvSpPr>
          <p:spPr>
            <a:xfrm>
              <a:off x="13198212" y="511297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4" name="Rectangle 38">
              <a:extLst>
                <a:ext uri="{FF2B5EF4-FFF2-40B4-BE49-F238E27FC236}">
                  <a16:creationId xmlns:a16="http://schemas.microsoft.com/office/drawing/2014/main" id="{9D09D7B6-E42C-60CB-9CFD-5D261BDFDB1C}"/>
                </a:ext>
              </a:extLst>
            </p:cNvPr>
            <p:cNvSpPr/>
            <p:nvPr userDrawn="1"/>
          </p:nvSpPr>
          <p:spPr>
            <a:xfrm>
              <a:off x="13198212" y="536900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5" name="Rectangle 39">
              <a:extLst>
                <a:ext uri="{FF2B5EF4-FFF2-40B4-BE49-F238E27FC236}">
                  <a16:creationId xmlns:a16="http://schemas.microsoft.com/office/drawing/2014/main" id="{8266C5DD-1170-AA58-49CC-9F44C652CD48}"/>
                </a:ext>
              </a:extLst>
            </p:cNvPr>
            <p:cNvSpPr/>
            <p:nvPr userDrawn="1"/>
          </p:nvSpPr>
          <p:spPr>
            <a:xfrm>
              <a:off x="13198212" y="562503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 name="Rectangle 40">
              <a:extLst>
                <a:ext uri="{FF2B5EF4-FFF2-40B4-BE49-F238E27FC236}">
                  <a16:creationId xmlns:a16="http://schemas.microsoft.com/office/drawing/2014/main" id="{5164647D-20CB-9842-FD09-12A0D23951C2}"/>
                </a:ext>
              </a:extLst>
            </p:cNvPr>
            <p:cNvSpPr/>
            <p:nvPr userDrawn="1"/>
          </p:nvSpPr>
          <p:spPr>
            <a:xfrm>
              <a:off x="13198212" y="627387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 name="Rectangle 41">
              <a:extLst>
                <a:ext uri="{FF2B5EF4-FFF2-40B4-BE49-F238E27FC236}">
                  <a16:creationId xmlns:a16="http://schemas.microsoft.com/office/drawing/2014/main" id="{DBCCCB5A-84D2-9E91-C5E5-2BFD838C8490}"/>
                </a:ext>
              </a:extLst>
            </p:cNvPr>
            <p:cNvSpPr/>
            <p:nvPr userDrawn="1"/>
          </p:nvSpPr>
          <p:spPr>
            <a:xfrm>
              <a:off x="13445026" y="627387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 name="Rectangle 42">
              <a:extLst>
                <a:ext uri="{FF2B5EF4-FFF2-40B4-BE49-F238E27FC236}">
                  <a16:creationId xmlns:a16="http://schemas.microsoft.com/office/drawing/2014/main" id="{1CE753D7-2983-4F32-D674-5FB26EA4F6FF}"/>
                </a:ext>
              </a:extLst>
            </p:cNvPr>
            <p:cNvSpPr/>
            <p:nvPr userDrawn="1"/>
          </p:nvSpPr>
          <p:spPr>
            <a:xfrm>
              <a:off x="13683658" y="627387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 name="Rectangle 43">
              <a:extLst>
                <a:ext uri="{FF2B5EF4-FFF2-40B4-BE49-F238E27FC236}">
                  <a16:creationId xmlns:a16="http://schemas.microsoft.com/office/drawing/2014/main" id="{BE820622-AE45-2694-B361-CF9FEAE8A2C5}"/>
                </a:ext>
              </a:extLst>
            </p:cNvPr>
            <p:cNvSpPr/>
            <p:nvPr userDrawn="1"/>
          </p:nvSpPr>
          <p:spPr>
            <a:xfrm>
              <a:off x="13922290" y="627387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 name="Rectangle 44">
              <a:extLst>
                <a:ext uri="{FF2B5EF4-FFF2-40B4-BE49-F238E27FC236}">
                  <a16:creationId xmlns:a16="http://schemas.microsoft.com/office/drawing/2014/main" id="{85C7F881-64F7-CBC9-0F32-1F45DDF67BCD}"/>
                </a:ext>
              </a:extLst>
            </p:cNvPr>
            <p:cNvSpPr/>
            <p:nvPr userDrawn="1"/>
          </p:nvSpPr>
          <p:spPr>
            <a:xfrm>
              <a:off x="14160920" y="627387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 name="TextBox 45">
              <a:extLst>
                <a:ext uri="{FF2B5EF4-FFF2-40B4-BE49-F238E27FC236}">
                  <a16:creationId xmlns:a16="http://schemas.microsoft.com/office/drawing/2014/main" id="{7DF63F9B-6868-6330-936A-50175F0D6D47}"/>
                </a:ext>
              </a:extLst>
            </p:cNvPr>
            <p:cNvSpPr txBox="1"/>
            <p:nvPr userDrawn="1"/>
          </p:nvSpPr>
          <p:spPr>
            <a:xfrm>
              <a:off x="12317995" y="5985049"/>
              <a:ext cx="1140056" cy="215444"/>
            </a:xfrm>
            <a:prstGeom prst="rect">
              <a:avLst/>
            </a:prstGeom>
            <a:noFill/>
          </p:spPr>
          <p:txBody>
            <a:bodyPr wrap="none" rtlCol="0">
              <a:spAutoFit/>
            </a:bodyPr>
            <a:lstStyle/>
            <a:p>
              <a:r>
                <a:rPr kumimoji="1" lang="en-US" altLang="ja-JP" sz="800" b="0" u="sng" dirty="0"/>
                <a:t>Monochrome Palette</a:t>
              </a:r>
              <a:endParaRPr kumimoji="1" lang="ja-JP" altLang="en-US" sz="800" b="0" u="sng" dirty="0"/>
            </a:p>
          </p:txBody>
        </p:sp>
        <p:sp>
          <p:nvSpPr>
            <p:cNvPr id="32" name="TextBox 46">
              <a:extLst>
                <a:ext uri="{FF2B5EF4-FFF2-40B4-BE49-F238E27FC236}">
                  <a16:creationId xmlns:a16="http://schemas.microsoft.com/office/drawing/2014/main" id="{48D2A0C1-3F87-B9EA-C2F0-FB786D66EFE4}"/>
                </a:ext>
              </a:extLst>
            </p:cNvPr>
            <p:cNvSpPr txBox="1"/>
            <p:nvPr userDrawn="1"/>
          </p:nvSpPr>
          <p:spPr>
            <a:xfrm>
              <a:off x="12458438" y="627387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Dark</a:t>
              </a:r>
              <a:endParaRPr kumimoji="1" lang="ja-JP" altLang="en-US" sz="800" b="1" dirty="0">
                <a:latin typeface="Arial" panose="020B0604020202020204" pitchFamily="34" charset="0"/>
                <a:cs typeface="Arial" panose="020B0604020202020204" pitchFamily="34" charset="0"/>
              </a:endParaRPr>
            </a:p>
          </p:txBody>
        </p:sp>
        <p:sp>
          <p:nvSpPr>
            <p:cNvPr id="33" name="TextBox 47">
              <a:extLst>
                <a:ext uri="{FF2B5EF4-FFF2-40B4-BE49-F238E27FC236}">
                  <a16:creationId xmlns:a16="http://schemas.microsoft.com/office/drawing/2014/main" id="{EBA724AB-3494-D319-A3F7-D22929A6055A}"/>
                </a:ext>
              </a:extLst>
            </p:cNvPr>
            <p:cNvSpPr txBox="1"/>
            <p:nvPr userDrawn="1"/>
          </p:nvSpPr>
          <p:spPr>
            <a:xfrm>
              <a:off x="13132897" y="613000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34" name="TextBox 48">
              <a:extLst>
                <a:ext uri="{FF2B5EF4-FFF2-40B4-BE49-F238E27FC236}">
                  <a16:creationId xmlns:a16="http://schemas.microsoft.com/office/drawing/2014/main" id="{E0D1F189-0EEF-2EC3-21A8-2B7F0C812311}"/>
                </a:ext>
              </a:extLst>
            </p:cNvPr>
            <p:cNvSpPr txBox="1"/>
            <p:nvPr userDrawn="1"/>
          </p:nvSpPr>
          <p:spPr>
            <a:xfrm>
              <a:off x="13400067"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35" name="TextBox 49">
              <a:extLst>
                <a:ext uri="{FF2B5EF4-FFF2-40B4-BE49-F238E27FC236}">
                  <a16:creationId xmlns:a16="http://schemas.microsoft.com/office/drawing/2014/main" id="{70BF7AF2-E9F4-8F89-951D-A42D484C1E52}"/>
                </a:ext>
              </a:extLst>
            </p:cNvPr>
            <p:cNvSpPr txBox="1"/>
            <p:nvPr userDrawn="1"/>
          </p:nvSpPr>
          <p:spPr>
            <a:xfrm>
              <a:off x="13632989"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36" name="TextBox 50">
              <a:extLst>
                <a:ext uri="{FF2B5EF4-FFF2-40B4-BE49-F238E27FC236}">
                  <a16:creationId xmlns:a16="http://schemas.microsoft.com/office/drawing/2014/main" id="{E3FD6925-8444-AE03-EAEA-0AC1AC199199}"/>
                </a:ext>
              </a:extLst>
            </p:cNvPr>
            <p:cNvSpPr txBox="1"/>
            <p:nvPr userDrawn="1"/>
          </p:nvSpPr>
          <p:spPr>
            <a:xfrm>
              <a:off x="1386859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37" name="TextBox 51">
              <a:extLst>
                <a:ext uri="{FF2B5EF4-FFF2-40B4-BE49-F238E27FC236}">
                  <a16:creationId xmlns:a16="http://schemas.microsoft.com/office/drawing/2014/main" id="{FC27E306-856E-616E-A715-135C662F2CB2}"/>
                </a:ext>
              </a:extLst>
            </p:cNvPr>
            <p:cNvSpPr txBox="1"/>
            <p:nvPr userDrawn="1"/>
          </p:nvSpPr>
          <p:spPr>
            <a:xfrm>
              <a:off x="14104763" y="613000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38" name="Rectangle 52">
              <a:extLst>
                <a:ext uri="{FF2B5EF4-FFF2-40B4-BE49-F238E27FC236}">
                  <a16:creationId xmlns:a16="http://schemas.microsoft.com/office/drawing/2014/main" id="{23CB6498-1000-CD41-0083-72D41D16E0C2}"/>
                </a:ext>
              </a:extLst>
            </p:cNvPr>
            <p:cNvSpPr/>
            <p:nvPr userDrawn="1"/>
          </p:nvSpPr>
          <p:spPr>
            <a:xfrm>
              <a:off x="13198212" y="663391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9" name="Rectangle 53">
              <a:extLst>
                <a:ext uri="{FF2B5EF4-FFF2-40B4-BE49-F238E27FC236}">
                  <a16:creationId xmlns:a16="http://schemas.microsoft.com/office/drawing/2014/main" id="{78650942-14F5-6634-2787-E76DF44D8411}"/>
                </a:ext>
              </a:extLst>
            </p:cNvPr>
            <p:cNvSpPr/>
            <p:nvPr userDrawn="1"/>
          </p:nvSpPr>
          <p:spPr>
            <a:xfrm>
              <a:off x="13445026" y="663391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0" name="Rectangle 54">
              <a:extLst>
                <a:ext uri="{FF2B5EF4-FFF2-40B4-BE49-F238E27FC236}">
                  <a16:creationId xmlns:a16="http://schemas.microsoft.com/office/drawing/2014/main" id="{276569E2-9701-5A0A-634B-0B49C45380C7}"/>
                </a:ext>
              </a:extLst>
            </p:cNvPr>
            <p:cNvSpPr/>
            <p:nvPr userDrawn="1"/>
          </p:nvSpPr>
          <p:spPr>
            <a:xfrm>
              <a:off x="13683658" y="663391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1" name="Rectangle 55">
              <a:extLst>
                <a:ext uri="{FF2B5EF4-FFF2-40B4-BE49-F238E27FC236}">
                  <a16:creationId xmlns:a16="http://schemas.microsoft.com/office/drawing/2014/main" id="{E1A91965-E04E-538F-7040-0A08DE9B9910}"/>
                </a:ext>
              </a:extLst>
            </p:cNvPr>
            <p:cNvSpPr/>
            <p:nvPr userDrawn="1"/>
          </p:nvSpPr>
          <p:spPr>
            <a:xfrm>
              <a:off x="13922290" y="663391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2" name="Rectangle 56">
              <a:extLst>
                <a:ext uri="{FF2B5EF4-FFF2-40B4-BE49-F238E27FC236}">
                  <a16:creationId xmlns:a16="http://schemas.microsoft.com/office/drawing/2014/main" id="{ECE58C21-093C-5B91-D37C-02E1FE67C6C4}"/>
                </a:ext>
              </a:extLst>
            </p:cNvPr>
            <p:cNvSpPr/>
            <p:nvPr userDrawn="1"/>
          </p:nvSpPr>
          <p:spPr>
            <a:xfrm>
              <a:off x="14160920" y="663391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3" name="TextBox 57">
              <a:extLst>
                <a:ext uri="{FF2B5EF4-FFF2-40B4-BE49-F238E27FC236}">
                  <a16:creationId xmlns:a16="http://schemas.microsoft.com/office/drawing/2014/main" id="{98424287-66A2-AD89-09ED-355CE5B19625}"/>
                </a:ext>
              </a:extLst>
            </p:cNvPr>
            <p:cNvSpPr txBox="1"/>
            <p:nvPr userDrawn="1"/>
          </p:nvSpPr>
          <p:spPr>
            <a:xfrm>
              <a:off x="12458438" y="663391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ght</a:t>
              </a:r>
              <a:endParaRPr kumimoji="1" lang="ja-JP" altLang="en-US" sz="800" b="1" dirty="0">
                <a:latin typeface="Arial" panose="020B0604020202020204" pitchFamily="34" charset="0"/>
                <a:cs typeface="Arial" panose="020B0604020202020204" pitchFamily="34" charset="0"/>
              </a:endParaRPr>
            </a:p>
          </p:txBody>
        </p:sp>
        <p:sp>
          <p:nvSpPr>
            <p:cNvPr id="44" name="TextBox 58">
              <a:extLst>
                <a:ext uri="{FF2B5EF4-FFF2-40B4-BE49-F238E27FC236}">
                  <a16:creationId xmlns:a16="http://schemas.microsoft.com/office/drawing/2014/main" id="{0A8A00E6-8D9D-4E37-7CD1-69306E864310}"/>
                </a:ext>
              </a:extLst>
            </p:cNvPr>
            <p:cNvSpPr txBox="1"/>
            <p:nvPr userDrawn="1"/>
          </p:nvSpPr>
          <p:spPr>
            <a:xfrm>
              <a:off x="1315701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45" name="TextBox 59">
              <a:extLst>
                <a:ext uri="{FF2B5EF4-FFF2-40B4-BE49-F238E27FC236}">
                  <a16:creationId xmlns:a16="http://schemas.microsoft.com/office/drawing/2014/main" id="{BBA43CBB-1EA3-9F9C-0F1C-020D4C319C39}"/>
                </a:ext>
              </a:extLst>
            </p:cNvPr>
            <p:cNvSpPr txBox="1"/>
            <p:nvPr userDrawn="1"/>
          </p:nvSpPr>
          <p:spPr>
            <a:xfrm>
              <a:off x="13400067"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46" name="TextBox 60">
              <a:extLst>
                <a:ext uri="{FF2B5EF4-FFF2-40B4-BE49-F238E27FC236}">
                  <a16:creationId xmlns:a16="http://schemas.microsoft.com/office/drawing/2014/main" id="{645B4EC5-797E-2175-8097-E1AC9F271C3D}"/>
                </a:ext>
              </a:extLst>
            </p:cNvPr>
            <p:cNvSpPr txBox="1"/>
            <p:nvPr userDrawn="1"/>
          </p:nvSpPr>
          <p:spPr>
            <a:xfrm>
              <a:off x="13632989"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47" name="TextBox 61">
              <a:extLst>
                <a:ext uri="{FF2B5EF4-FFF2-40B4-BE49-F238E27FC236}">
                  <a16:creationId xmlns:a16="http://schemas.microsoft.com/office/drawing/2014/main" id="{B4501C34-DCEF-EB37-B7BA-181BB3C98335}"/>
                </a:ext>
              </a:extLst>
            </p:cNvPr>
            <p:cNvSpPr txBox="1"/>
            <p:nvPr userDrawn="1"/>
          </p:nvSpPr>
          <p:spPr>
            <a:xfrm>
              <a:off x="13868593" y="651138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48" name="TextBox 62">
              <a:extLst>
                <a:ext uri="{FF2B5EF4-FFF2-40B4-BE49-F238E27FC236}">
                  <a16:creationId xmlns:a16="http://schemas.microsoft.com/office/drawing/2014/main" id="{57198F5F-D81A-0156-BE56-068E73AE7BED}"/>
                </a:ext>
              </a:extLst>
            </p:cNvPr>
            <p:cNvSpPr txBox="1"/>
            <p:nvPr userDrawn="1"/>
          </p:nvSpPr>
          <p:spPr>
            <a:xfrm>
              <a:off x="14140029" y="651138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49" name="TextBox 63">
              <a:extLst>
                <a:ext uri="{FF2B5EF4-FFF2-40B4-BE49-F238E27FC236}">
                  <a16:creationId xmlns:a16="http://schemas.microsoft.com/office/drawing/2014/main" id="{F398D4B3-EB23-E13C-9125-C31D46D96F33}"/>
                </a:ext>
              </a:extLst>
            </p:cNvPr>
            <p:cNvSpPr txBox="1"/>
            <p:nvPr userDrawn="1"/>
          </p:nvSpPr>
          <p:spPr>
            <a:xfrm>
              <a:off x="12458438" y="56250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50" name="TextBox 64">
              <a:extLst>
                <a:ext uri="{FF2B5EF4-FFF2-40B4-BE49-F238E27FC236}">
                  <a16:creationId xmlns:a16="http://schemas.microsoft.com/office/drawing/2014/main" id="{37F29543-B34A-5E0F-55BC-BDD6EA03652E}"/>
                </a:ext>
              </a:extLst>
            </p:cNvPr>
            <p:cNvSpPr txBox="1"/>
            <p:nvPr userDrawn="1"/>
          </p:nvSpPr>
          <p:spPr>
            <a:xfrm>
              <a:off x="12458438" y="357680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51" name="TextBox 65">
              <a:extLst>
                <a:ext uri="{FF2B5EF4-FFF2-40B4-BE49-F238E27FC236}">
                  <a16:creationId xmlns:a16="http://schemas.microsoft.com/office/drawing/2014/main" id="{9507C65B-17E9-5B3C-5FFD-D41E7D701A4C}"/>
                </a:ext>
              </a:extLst>
            </p:cNvPr>
            <p:cNvSpPr txBox="1"/>
            <p:nvPr userDrawn="1"/>
          </p:nvSpPr>
          <p:spPr>
            <a:xfrm>
              <a:off x="12458438" y="383283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52" name="TextBox 66">
              <a:extLst>
                <a:ext uri="{FF2B5EF4-FFF2-40B4-BE49-F238E27FC236}">
                  <a16:creationId xmlns:a16="http://schemas.microsoft.com/office/drawing/2014/main" id="{FDEEF17F-A22F-650C-7A73-1F00B186F10C}"/>
                </a:ext>
              </a:extLst>
            </p:cNvPr>
            <p:cNvSpPr txBox="1"/>
            <p:nvPr userDrawn="1"/>
          </p:nvSpPr>
          <p:spPr>
            <a:xfrm>
              <a:off x="12458438" y="408886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53" name="TextBox 67">
              <a:extLst>
                <a:ext uri="{FF2B5EF4-FFF2-40B4-BE49-F238E27FC236}">
                  <a16:creationId xmlns:a16="http://schemas.microsoft.com/office/drawing/2014/main" id="{C82F2FAC-EC5A-0880-772D-3F6CF297E6C1}"/>
                </a:ext>
              </a:extLst>
            </p:cNvPr>
            <p:cNvSpPr txBox="1"/>
            <p:nvPr userDrawn="1"/>
          </p:nvSpPr>
          <p:spPr>
            <a:xfrm>
              <a:off x="12458438" y="434488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54" name="TextBox 68">
              <a:extLst>
                <a:ext uri="{FF2B5EF4-FFF2-40B4-BE49-F238E27FC236}">
                  <a16:creationId xmlns:a16="http://schemas.microsoft.com/office/drawing/2014/main" id="{81A0283C-7B78-6C0B-D9CF-C27938F6D8B4}"/>
                </a:ext>
              </a:extLst>
            </p:cNvPr>
            <p:cNvSpPr txBox="1"/>
            <p:nvPr userDrawn="1"/>
          </p:nvSpPr>
          <p:spPr>
            <a:xfrm>
              <a:off x="12458438" y="460091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55" name="TextBox 69">
              <a:extLst>
                <a:ext uri="{FF2B5EF4-FFF2-40B4-BE49-F238E27FC236}">
                  <a16:creationId xmlns:a16="http://schemas.microsoft.com/office/drawing/2014/main" id="{53980A70-CBEF-163B-1EC4-09852175F2B3}"/>
                </a:ext>
              </a:extLst>
            </p:cNvPr>
            <p:cNvSpPr txBox="1"/>
            <p:nvPr userDrawn="1"/>
          </p:nvSpPr>
          <p:spPr>
            <a:xfrm>
              <a:off x="12458438" y="511297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56" name="TextBox 70">
              <a:extLst>
                <a:ext uri="{FF2B5EF4-FFF2-40B4-BE49-F238E27FC236}">
                  <a16:creationId xmlns:a16="http://schemas.microsoft.com/office/drawing/2014/main" id="{8F31A9D4-821C-68AF-9038-089CA7B1DC13}"/>
                </a:ext>
              </a:extLst>
            </p:cNvPr>
            <p:cNvSpPr txBox="1"/>
            <p:nvPr userDrawn="1"/>
          </p:nvSpPr>
          <p:spPr>
            <a:xfrm>
              <a:off x="12458438" y="536900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57" name="TextBox 71">
              <a:extLst>
                <a:ext uri="{FF2B5EF4-FFF2-40B4-BE49-F238E27FC236}">
                  <a16:creationId xmlns:a16="http://schemas.microsoft.com/office/drawing/2014/main" id="{B3480E5F-367C-8B36-D07E-182227EB7DE6}"/>
                </a:ext>
              </a:extLst>
            </p:cNvPr>
            <p:cNvSpPr txBox="1"/>
            <p:nvPr userDrawn="1"/>
          </p:nvSpPr>
          <p:spPr>
            <a:xfrm>
              <a:off x="12458438" y="485694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58" name="Rectangle 72">
              <a:extLst>
                <a:ext uri="{FF2B5EF4-FFF2-40B4-BE49-F238E27FC236}">
                  <a16:creationId xmlns:a16="http://schemas.microsoft.com/office/drawing/2014/main" id="{EEBFAC48-36ED-6F97-D441-AA9D82AE6571}"/>
                </a:ext>
              </a:extLst>
            </p:cNvPr>
            <p:cNvSpPr/>
            <p:nvPr userDrawn="1"/>
          </p:nvSpPr>
          <p:spPr>
            <a:xfrm>
              <a:off x="13445026" y="562503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59" name="Rectangle 73">
              <a:extLst>
                <a:ext uri="{FF2B5EF4-FFF2-40B4-BE49-F238E27FC236}">
                  <a16:creationId xmlns:a16="http://schemas.microsoft.com/office/drawing/2014/main" id="{15F5E91E-7249-C99F-DE47-38A39FA018FF}"/>
                </a:ext>
              </a:extLst>
            </p:cNvPr>
            <p:cNvSpPr/>
            <p:nvPr userDrawn="1"/>
          </p:nvSpPr>
          <p:spPr>
            <a:xfrm>
              <a:off x="13683658" y="562503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0" name="Rectangle 74">
              <a:extLst>
                <a:ext uri="{FF2B5EF4-FFF2-40B4-BE49-F238E27FC236}">
                  <a16:creationId xmlns:a16="http://schemas.microsoft.com/office/drawing/2014/main" id="{5D34D780-1897-0E2B-9223-0C0FEFF11609}"/>
                </a:ext>
              </a:extLst>
            </p:cNvPr>
            <p:cNvSpPr/>
            <p:nvPr userDrawn="1"/>
          </p:nvSpPr>
          <p:spPr>
            <a:xfrm>
              <a:off x="13922290" y="562503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1" name="Rectangle 75">
              <a:extLst>
                <a:ext uri="{FF2B5EF4-FFF2-40B4-BE49-F238E27FC236}">
                  <a16:creationId xmlns:a16="http://schemas.microsoft.com/office/drawing/2014/main" id="{8783EB1E-9CF0-A251-CA4E-D49169881D93}"/>
                </a:ext>
              </a:extLst>
            </p:cNvPr>
            <p:cNvSpPr/>
            <p:nvPr userDrawn="1"/>
          </p:nvSpPr>
          <p:spPr>
            <a:xfrm>
              <a:off x="14160920" y="562503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2" name="Rectangle 76">
              <a:extLst>
                <a:ext uri="{FF2B5EF4-FFF2-40B4-BE49-F238E27FC236}">
                  <a16:creationId xmlns:a16="http://schemas.microsoft.com/office/drawing/2014/main" id="{4F0574EE-65FF-22DC-57BE-1D6911A0D8E3}"/>
                </a:ext>
              </a:extLst>
            </p:cNvPr>
            <p:cNvSpPr/>
            <p:nvPr userDrawn="1"/>
          </p:nvSpPr>
          <p:spPr>
            <a:xfrm>
              <a:off x="13445026" y="357680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63" name="Rectangle 77">
              <a:extLst>
                <a:ext uri="{FF2B5EF4-FFF2-40B4-BE49-F238E27FC236}">
                  <a16:creationId xmlns:a16="http://schemas.microsoft.com/office/drawing/2014/main" id="{1A8FA40E-6A63-AB89-4A43-005F063419FD}"/>
                </a:ext>
              </a:extLst>
            </p:cNvPr>
            <p:cNvSpPr/>
            <p:nvPr userDrawn="1"/>
          </p:nvSpPr>
          <p:spPr>
            <a:xfrm>
              <a:off x="13683658" y="357680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8" name="Rectangle 78">
              <a:extLst>
                <a:ext uri="{FF2B5EF4-FFF2-40B4-BE49-F238E27FC236}">
                  <a16:creationId xmlns:a16="http://schemas.microsoft.com/office/drawing/2014/main" id="{7CD19936-D5B4-FB51-27D5-168E67A1BF94}"/>
                </a:ext>
              </a:extLst>
            </p:cNvPr>
            <p:cNvSpPr/>
            <p:nvPr userDrawn="1"/>
          </p:nvSpPr>
          <p:spPr>
            <a:xfrm>
              <a:off x="13922290" y="357680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49" name="Rectangle 79">
              <a:extLst>
                <a:ext uri="{FF2B5EF4-FFF2-40B4-BE49-F238E27FC236}">
                  <a16:creationId xmlns:a16="http://schemas.microsoft.com/office/drawing/2014/main" id="{3828B1EA-F95D-5FDB-391C-A355C339FAEC}"/>
                </a:ext>
              </a:extLst>
            </p:cNvPr>
            <p:cNvSpPr/>
            <p:nvPr userDrawn="1"/>
          </p:nvSpPr>
          <p:spPr>
            <a:xfrm>
              <a:off x="14160920" y="357680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0" name="Rectangle 80">
              <a:extLst>
                <a:ext uri="{FF2B5EF4-FFF2-40B4-BE49-F238E27FC236}">
                  <a16:creationId xmlns:a16="http://schemas.microsoft.com/office/drawing/2014/main" id="{B34C74D6-277F-036D-64E6-FF2A9F8CE622}"/>
                </a:ext>
              </a:extLst>
            </p:cNvPr>
            <p:cNvSpPr/>
            <p:nvPr userDrawn="1"/>
          </p:nvSpPr>
          <p:spPr>
            <a:xfrm>
              <a:off x="13445026" y="383283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1" name="Rectangle 81">
              <a:extLst>
                <a:ext uri="{FF2B5EF4-FFF2-40B4-BE49-F238E27FC236}">
                  <a16:creationId xmlns:a16="http://schemas.microsoft.com/office/drawing/2014/main" id="{D3AC5AE2-FC99-E8E3-600E-F43511D60285}"/>
                </a:ext>
              </a:extLst>
            </p:cNvPr>
            <p:cNvSpPr/>
            <p:nvPr userDrawn="1"/>
          </p:nvSpPr>
          <p:spPr>
            <a:xfrm>
              <a:off x="13683658" y="383283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2" name="Rectangle 82">
              <a:extLst>
                <a:ext uri="{FF2B5EF4-FFF2-40B4-BE49-F238E27FC236}">
                  <a16:creationId xmlns:a16="http://schemas.microsoft.com/office/drawing/2014/main" id="{71090A61-3FD6-93CD-203C-DED9AC2FCDE4}"/>
                </a:ext>
              </a:extLst>
            </p:cNvPr>
            <p:cNvSpPr/>
            <p:nvPr userDrawn="1"/>
          </p:nvSpPr>
          <p:spPr>
            <a:xfrm>
              <a:off x="13922290" y="383283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3" name="Rectangle 83">
              <a:extLst>
                <a:ext uri="{FF2B5EF4-FFF2-40B4-BE49-F238E27FC236}">
                  <a16:creationId xmlns:a16="http://schemas.microsoft.com/office/drawing/2014/main" id="{6D0FDBEB-BCDE-D527-4071-8B8A5A0AE97D}"/>
                </a:ext>
              </a:extLst>
            </p:cNvPr>
            <p:cNvSpPr/>
            <p:nvPr userDrawn="1"/>
          </p:nvSpPr>
          <p:spPr>
            <a:xfrm>
              <a:off x="14160920" y="383283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4" name="Rectangle 84">
              <a:extLst>
                <a:ext uri="{FF2B5EF4-FFF2-40B4-BE49-F238E27FC236}">
                  <a16:creationId xmlns:a16="http://schemas.microsoft.com/office/drawing/2014/main" id="{12C11201-7B27-9A18-DA4C-CB6CC0483D2E}"/>
                </a:ext>
              </a:extLst>
            </p:cNvPr>
            <p:cNvSpPr/>
            <p:nvPr userDrawn="1"/>
          </p:nvSpPr>
          <p:spPr>
            <a:xfrm>
              <a:off x="13445026" y="408886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5" name="Rectangle 85">
              <a:extLst>
                <a:ext uri="{FF2B5EF4-FFF2-40B4-BE49-F238E27FC236}">
                  <a16:creationId xmlns:a16="http://schemas.microsoft.com/office/drawing/2014/main" id="{C8CCDB9F-EAF3-5C18-764E-075A46EC4F8B}"/>
                </a:ext>
              </a:extLst>
            </p:cNvPr>
            <p:cNvSpPr/>
            <p:nvPr userDrawn="1"/>
          </p:nvSpPr>
          <p:spPr>
            <a:xfrm>
              <a:off x="13683658" y="408886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6" name="Rectangle 86">
              <a:extLst>
                <a:ext uri="{FF2B5EF4-FFF2-40B4-BE49-F238E27FC236}">
                  <a16:creationId xmlns:a16="http://schemas.microsoft.com/office/drawing/2014/main" id="{53ADF6CB-BBE0-72E2-CD85-D7866DAD7916}"/>
                </a:ext>
              </a:extLst>
            </p:cNvPr>
            <p:cNvSpPr/>
            <p:nvPr userDrawn="1"/>
          </p:nvSpPr>
          <p:spPr>
            <a:xfrm>
              <a:off x="13922290" y="408886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7" name="Rectangle 87">
              <a:extLst>
                <a:ext uri="{FF2B5EF4-FFF2-40B4-BE49-F238E27FC236}">
                  <a16:creationId xmlns:a16="http://schemas.microsoft.com/office/drawing/2014/main" id="{7B43923A-196D-1BFA-097C-7BB47AA01471}"/>
                </a:ext>
              </a:extLst>
            </p:cNvPr>
            <p:cNvSpPr/>
            <p:nvPr userDrawn="1"/>
          </p:nvSpPr>
          <p:spPr>
            <a:xfrm>
              <a:off x="14160920" y="408886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8" name="Rectangle 88">
              <a:extLst>
                <a:ext uri="{FF2B5EF4-FFF2-40B4-BE49-F238E27FC236}">
                  <a16:creationId xmlns:a16="http://schemas.microsoft.com/office/drawing/2014/main" id="{933473B3-8D18-CCDD-6D75-791B298E0000}"/>
                </a:ext>
              </a:extLst>
            </p:cNvPr>
            <p:cNvSpPr/>
            <p:nvPr userDrawn="1"/>
          </p:nvSpPr>
          <p:spPr>
            <a:xfrm>
              <a:off x="13445026" y="434488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59" name="Rectangle 89">
              <a:extLst>
                <a:ext uri="{FF2B5EF4-FFF2-40B4-BE49-F238E27FC236}">
                  <a16:creationId xmlns:a16="http://schemas.microsoft.com/office/drawing/2014/main" id="{AE90202C-3D34-8168-67E4-C0CEB87CB6E1}"/>
                </a:ext>
              </a:extLst>
            </p:cNvPr>
            <p:cNvSpPr/>
            <p:nvPr userDrawn="1"/>
          </p:nvSpPr>
          <p:spPr>
            <a:xfrm>
              <a:off x="13683658" y="434488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1" name="Rectangle 90">
              <a:extLst>
                <a:ext uri="{FF2B5EF4-FFF2-40B4-BE49-F238E27FC236}">
                  <a16:creationId xmlns:a16="http://schemas.microsoft.com/office/drawing/2014/main" id="{E6CF89CD-91EF-D2A1-048A-62ACCCB3EBCA}"/>
                </a:ext>
              </a:extLst>
            </p:cNvPr>
            <p:cNvSpPr/>
            <p:nvPr userDrawn="1"/>
          </p:nvSpPr>
          <p:spPr>
            <a:xfrm>
              <a:off x="13922290" y="434488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2" name="Rectangle 91">
              <a:extLst>
                <a:ext uri="{FF2B5EF4-FFF2-40B4-BE49-F238E27FC236}">
                  <a16:creationId xmlns:a16="http://schemas.microsoft.com/office/drawing/2014/main" id="{28B7DCA8-CCDF-2F32-2770-24C37B52B57C}"/>
                </a:ext>
              </a:extLst>
            </p:cNvPr>
            <p:cNvSpPr/>
            <p:nvPr userDrawn="1"/>
          </p:nvSpPr>
          <p:spPr>
            <a:xfrm>
              <a:off x="14160920" y="434488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3" name="Rectangle 92">
              <a:extLst>
                <a:ext uri="{FF2B5EF4-FFF2-40B4-BE49-F238E27FC236}">
                  <a16:creationId xmlns:a16="http://schemas.microsoft.com/office/drawing/2014/main" id="{D494381C-FED0-B426-5C7B-3244CB13B9E4}"/>
                </a:ext>
              </a:extLst>
            </p:cNvPr>
            <p:cNvSpPr/>
            <p:nvPr userDrawn="1"/>
          </p:nvSpPr>
          <p:spPr>
            <a:xfrm>
              <a:off x="13445026" y="460091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4" name="Rectangle 93">
              <a:extLst>
                <a:ext uri="{FF2B5EF4-FFF2-40B4-BE49-F238E27FC236}">
                  <a16:creationId xmlns:a16="http://schemas.microsoft.com/office/drawing/2014/main" id="{B39005A9-16D7-BA33-E367-B88E4083ECB7}"/>
                </a:ext>
              </a:extLst>
            </p:cNvPr>
            <p:cNvSpPr/>
            <p:nvPr userDrawn="1"/>
          </p:nvSpPr>
          <p:spPr>
            <a:xfrm>
              <a:off x="13683658" y="460091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5" name="Rectangle 94">
              <a:extLst>
                <a:ext uri="{FF2B5EF4-FFF2-40B4-BE49-F238E27FC236}">
                  <a16:creationId xmlns:a16="http://schemas.microsoft.com/office/drawing/2014/main" id="{F430FD4C-E2EB-E05A-218E-EE1B31B8D74F}"/>
                </a:ext>
              </a:extLst>
            </p:cNvPr>
            <p:cNvSpPr/>
            <p:nvPr userDrawn="1"/>
          </p:nvSpPr>
          <p:spPr>
            <a:xfrm>
              <a:off x="13922290" y="460091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6" name="Rectangle 95">
              <a:extLst>
                <a:ext uri="{FF2B5EF4-FFF2-40B4-BE49-F238E27FC236}">
                  <a16:creationId xmlns:a16="http://schemas.microsoft.com/office/drawing/2014/main" id="{FD63B02A-223D-B48C-951A-AB50B95134A5}"/>
                </a:ext>
              </a:extLst>
            </p:cNvPr>
            <p:cNvSpPr/>
            <p:nvPr userDrawn="1"/>
          </p:nvSpPr>
          <p:spPr>
            <a:xfrm>
              <a:off x="14160920" y="460091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7" name="Rectangle 96">
              <a:extLst>
                <a:ext uri="{FF2B5EF4-FFF2-40B4-BE49-F238E27FC236}">
                  <a16:creationId xmlns:a16="http://schemas.microsoft.com/office/drawing/2014/main" id="{4B1B70EC-49DB-AD5F-D733-CBCCF4DE0E63}"/>
                </a:ext>
              </a:extLst>
            </p:cNvPr>
            <p:cNvSpPr/>
            <p:nvPr userDrawn="1"/>
          </p:nvSpPr>
          <p:spPr>
            <a:xfrm>
              <a:off x="13445026" y="485694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8" name="Rectangle 97">
              <a:extLst>
                <a:ext uri="{FF2B5EF4-FFF2-40B4-BE49-F238E27FC236}">
                  <a16:creationId xmlns:a16="http://schemas.microsoft.com/office/drawing/2014/main" id="{16057F30-75FB-0C6D-FC96-F0A083287485}"/>
                </a:ext>
              </a:extLst>
            </p:cNvPr>
            <p:cNvSpPr/>
            <p:nvPr userDrawn="1"/>
          </p:nvSpPr>
          <p:spPr>
            <a:xfrm>
              <a:off x="13683658" y="485694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69" name="Rectangle 98">
              <a:extLst>
                <a:ext uri="{FF2B5EF4-FFF2-40B4-BE49-F238E27FC236}">
                  <a16:creationId xmlns:a16="http://schemas.microsoft.com/office/drawing/2014/main" id="{AF86DBD0-C869-A496-083E-94FE18121D7F}"/>
                </a:ext>
              </a:extLst>
            </p:cNvPr>
            <p:cNvSpPr/>
            <p:nvPr userDrawn="1"/>
          </p:nvSpPr>
          <p:spPr>
            <a:xfrm>
              <a:off x="13922290" y="485694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0" name="Rectangle 99">
              <a:extLst>
                <a:ext uri="{FF2B5EF4-FFF2-40B4-BE49-F238E27FC236}">
                  <a16:creationId xmlns:a16="http://schemas.microsoft.com/office/drawing/2014/main" id="{5780994B-15FA-DFAE-98CA-10DA11D6CBE9}"/>
                </a:ext>
              </a:extLst>
            </p:cNvPr>
            <p:cNvSpPr/>
            <p:nvPr userDrawn="1"/>
          </p:nvSpPr>
          <p:spPr>
            <a:xfrm>
              <a:off x="14160920" y="485694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1" name="Rectangle 100">
              <a:extLst>
                <a:ext uri="{FF2B5EF4-FFF2-40B4-BE49-F238E27FC236}">
                  <a16:creationId xmlns:a16="http://schemas.microsoft.com/office/drawing/2014/main" id="{001FC07A-462F-5F75-7158-1ABF8013CE72}"/>
                </a:ext>
              </a:extLst>
            </p:cNvPr>
            <p:cNvSpPr/>
            <p:nvPr userDrawn="1"/>
          </p:nvSpPr>
          <p:spPr>
            <a:xfrm>
              <a:off x="13445026" y="511297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2" name="Rectangle 101">
              <a:extLst>
                <a:ext uri="{FF2B5EF4-FFF2-40B4-BE49-F238E27FC236}">
                  <a16:creationId xmlns:a16="http://schemas.microsoft.com/office/drawing/2014/main" id="{FC1FA270-FA13-A613-B131-B96D22FE8565}"/>
                </a:ext>
              </a:extLst>
            </p:cNvPr>
            <p:cNvSpPr/>
            <p:nvPr userDrawn="1"/>
          </p:nvSpPr>
          <p:spPr>
            <a:xfrm>
              <a:off x="13683658" y="511297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3" name="Rectangle 102">
              <a:extLst>
                <a:ext uri="{FF2B5EF4-FFF2-40B4-BE49-F238E27FC236}">
                  <a16:creationId xmlns:a16="http://schemas.microsoft.com/office/drawing/2014/main" id="{798A497A-5256-0D29-F008-EFF69DB97671}"/>
                </a:ext>
              </a:extLst>
            </p:cNvPr>
            <p:cNvSpPr/>
            <p:nvPr userDrawn="1"/>
          </p:nvSpPr>
          <p:spPr>
            <a:xfrm>
              <a:off x="13922290" y="511297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4" name="Rectangle 103">
              <a:extLst>
                <a:ext uri="{FF2B5EF4-FFF2-40B4-BE49-F238E27FC236}">
                  <a16:creationId xmlns:a16="http://schemas.microsoft.com/office/drawing/2014/main" id="{767F29B6-2C1C-0732-DE62-17BE7B54A9B8}"/>
                </a:ext>
              </a:extLst>
            </p:cNvPr>
            <p:cNvSpPr/>
            <p:nvPr userDrawn="1"/>
          </p:nvSpPr>
          <p:spPr>
            <a:xfrm>
              <a:off x="14160920" y="511297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7" name="Rectangle 104">
              <a:extLst>
                <a:ext uri="{FF2B5EF4-FFF2-40B4-BE49-F238E27FC236}">
                  <a16:creationId xmlns:a16="http://schemas.microsoft.com/office/drawing/2014/main" id="{CBC3E824-F2C0-16ED-8AD6-4A7C3706F9D3}"/>
                </a:ext>
              </a:extLst>
            </p:cNvPr>
            <p:cNvSpPr/>
            <p:nvPr userDrawn="1"/>
          </p:nvSpPr>
          <p:spPr>
            <a:xfrm>
              <a:off x="13445026" y="536900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8" name="Rectangle 105">
              <a:extLst>
                <a:ext uri="{FF2B5EF4-FFF2-40B4-BE49-F238E27FC236}">
                  <a16:creationId xmlns:a16="http://schemas.microsoft.com/office/drawing/2014/main" id="{FFB119EE-C811-9D7C-7CF1-946ED2CF64E5}"/>
                </a:ext>
              </a:extLst>
            </p:cNvPr>
            <p:cNvSpPr/>
            <p:nvPr userDrawn="1"/>
          </p:nvSpPr>
          <p:spPr>
            <a:xfrm>
              <a:off x="13683658" y="536900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79" name="Rectangle 106">
              <a:extLst>
                <a:ext uri="{FF2B5EF4-FFF2-40B4-BE49-F238E27FC236}">
                  <a16:creationId xmlns:a16="http://schemas.microsoft.com/office/drawing/2014/main" id="{3FFF1F40-E41C-CAC5-7EC2-19C9F0E16825}"/>
                </a:ext>
              </a:extLst>
            </p:cNvPr>
            <p:cNvSpPr/>
            <p:nvPr userDrawn="1"/>
          </p:nvSpPr>
          <p:spPr>
            <a:xfrm>
              <a:off x="13922290" y="536900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0" name="Rectangle 107">
              <a:extLst>
                <a:ext uri="{FF2B5EF4-FFF2-40B4-BE49-F238E27FC236}">
                  <a16:creationId xmlns:a16="http://schemas.microsoft.com/office/drawing/2014/main" id="{2B7EDB98-E4E6-BAE2-FCC3-A8FD0417F9B7}"/>
                </a:ext>
              </a:extLst>
            </p:cNvPr>
            <p:cNvSpPr/>
            <p:nvPr userDrawn="1"/>
          </p:nvSpPr>
          <p:spPr>
            <a:xfrm>
              <a:off x="14160920" y="536900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1" name="Rectangle 108">
              <a:extLst>
                <a:ext uri="{FF2B5EF4-FFF2-40B4-BE49-F238E27FC236}">
                  <a16:creationId xmlns:a16="http://schemas.microsoft.com/office/drawing/2014/main" id="{D88FC2BD-9A4A-53EC-9CC8-191B43B1FF0D}"/>
                </a:ext>
              </a:extLst>
            </p:cNvPr>
            <p:cNvSpPr/>
            <p:nvPr userDrawn="1"/>
          </p:nvSpPr>
          <p:spPr>
            <a:xfrm>
              <a:off x="13206394" y="259624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2" name="Rectangle 109">
              <a:extLst>
                <a:ext uri="{FF2B5EF4-FFF2-40B4-BE49-F238E27FC236}">
                  <a16:creationId xmlns:a16="http://schemas.microsoft.com/office/drawing/2014/main" id="{001305DD-ED65-84DA-A47C-D1150C33F51C}"/>
                </a:ext>
              </a:extLst>
            </p:cNvPr>
            <p:cNvSpPr/>
            <p:nvPr userDrawn="1"/>
          </p:nvSpPr>
          <p:spPr>
            <a:xfrm>
              <a:off x="13445026" y="259624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3" name="Rectangle 110">
              <a:extLst>
                <a:ext uri="{FF2B5EF4-FFF2-40B4-BE49-F238E27FC236}">
                  <a16:creationId xmlns:a16="http://schemas.microsoft.com/office/drawing/2014/main" id="{4F7474FD-F028-D3DA-8585-7EEFCA01071C}"/>
                </a:ext>
              </a:extLst>
            </p:cNvPr>
            <p:cNvSpPr/>
            <p:nvPr userDrawn="1"/>
          </p:nvSpPr>
          <p:spPr>
            <a:xfrm>
              <a:off x="13683658" y="259624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4" name="Rectangle 111">
              <a:extLst>
                <a:ext uri="{FF2B5EF4-FFF2-40B4-BE49-F238E27FC236}">
                  <a16:creationId xmlns:a16="http://schemas.microsoft.com/office/drawing/2014/main" id="{7E016EF4-683C-7F01-7D7C-41ADCDF399BA}"/>
                </a:ext>
              </a:extLst>
            </p:cNvPr>
            <p:cNvSpPr/>
            <p:nvPr userDrawn="1"/>
          </p:nvSpPr>
          <p:spPr>
            <a:xfrm>
              <a:off x="13922290" y="259624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485" name="TextBox 112">
              <a:extLst>
                <a:ext uri="{FF2B5EF4-FFF2-40B4-BE49-F238E27FC236}">
                  <a16:creationId xmlns:a16="http://schemas.microsoft.com/office/drawing/2014/main" id="{7093E07A-B7EE-28F4-1FB0-ABF1D7280072}"/>
                </a:ext>
              </a:extLst>
            </p:cNvPr>
            <p:cNvSpPr txBox="1"/>
            <p:nvPr userDrawn="1"/>
          </p:nvSpPr>
          <p:spPr>
            <a:xfrm>
              <a:off x="12326354" y="2343652"/>
              <a:ext cx="1188146" cy="215444"/>
            </a:xfrm>
            <a:prstGeom prst="rect">
              <a:avLst/>
            </a:prstGeom>
            <a:noFill/>
          </p:spPr>
          <p:txBody>
            <a:bodyPr wrap="none" rtlCol="0">
              <a:spAutoFit/>
            </a:bodyPr>
            <a:lstStyle/>
            <a:p>
              <a:r>
                <a:rPr kumimoji="1" lang="en-US" altLang="ja-JP" sz="800" b="0" u="sng" dirty="0"/>
                <a:t>Primary Color Palette</a:t>
              </a:r>
              <a:endParaRPr kumimoji="1" lang="ja-JP" altLang="en-US" sz="800" b="0" u="sng" dirty="0"/>
            </a:p>
          </p:txBody>
        </p:sp>
        <p:sp>
          <p:nvSpPr>
            <p:cNvPr id="486" name="TextBox 113">
              <a:extLst>
                <a:ext uri="{FF2B5EF4-FFF2-40B4-BE49-F238E27FC236}">
                  <a16:creationId xmlns:a16="http://schemas.microsoft.com/office/drawing/2014/main" id="{6BFCA2A3-3FF3-407C-00EA-0CCA33EDAA73}"/>
                </a:ext>
              </a:extLst>
            </p:cNvPr>
            <p:cNvSpPr txBox="1"/>
            <p:nvPr userDrawn="1"/>
          </p:nvSpPr>
          <p:spPr>
            <a:xfrm>
              <a:off x="12216680" y="2534276"/>
              <a:ext cx="944463"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487" name="TextBox 114">
              <a:extLst>
                <a:ext uri="{FF2B5EF4-FFF2-40B4-BE49-F238E27FC236}">
                  <a16:creationId xmlns:a16="http://schemas.microsoft.com/office/drawing/2014/main" id="{6FA67CF3-07FA-4AFF-A394-B5149D985CAA}"/>
                </a:ext>
              </a:extLst>
            </p:cNvPr>
            <p:cNvSpPr txBox="1"/>
            <p:nvPr userDrawn="1"/>
          </p:nvSpPr>
          <p:spPr>
            <a:xfrm>
              <a:off x="12316038" y="2015317"/>
              <a:ext cx="2326278" cy="369332"/>
            </a:xfrm>
            <a:prstGeom prst="rect">
              <a:avLst/>
            </a:prstGeom>
            <a:noFill/>
          </p:spPr>
          <p:txBody>
            <a:bodyPr wrap="none" rtlCol="0">
              <a:spAutoFit/>
            </a:bodyPr>
            <a:lstStyle/>
            <a:p>
              <a:r>
                <a:rPr kumimoji="1" lang="en-US" altLang="ja-JP" sz="900" b="1" dirty="0"/>
                <a:t>Mitsubishi Electric Factory Automation </a:t>
              </a:r>
              <a:br>
                <a:rPr kumimoji="1" lang="en-US" altLang="ja-JP" sz="900" b="1" dirty="0"/>
              </a:br>
              <a:r>
                <a:rPr kumimoji="1" lang="en-US" altLang="ja-JP" sz="900" b="1" dirty="0"/>
                <a:t>Official Color Palette</a:t>
              </a:r>
              <a:endParaRPr kumimoji="1" lang="ja-JP" altLang="en-US" sz="900" b="1" dirty="0"/>
            </a:p>
          </p:txBody>
        </p:sp>
      </p:grpSp>
    </p:spTree>
    <p:extLst>
      <p:ext uri="{BB962C8B-B14F-4D97-AF65-F5344CB8AC3E}">
        <p14:creationId xmlns:p14="http://schemas.microsoft.com/office/powerpoint/2010/main" val="25728121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 name="Slide Number Divider">
            <a:extLst>
              <a:ext uri="{FF2B5EF4-FFF2-40B4-BE49-F238E27FC236}">
                <a16:creationId xmlns:a16="http://schemas.microsoft.com/office/drawing/2014/main" id="{60308DB4-A1E9-42F9-B95E-27EAACEE6F15}"/>
              </a:ext>
            </a:extLst>
          </p:cNvPr>
          <p:cNvSpPr/>
          <p:nvPr userDrawn="1"/>
        </p:nvSpPr>
        <p:spPr>
          <a:xfrm>
            <a:off x="11606802" y="6588000"/>
            <a:ext cx="10800" cy="27053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ja-JP" altLang="en-US" dirty="0">
              <a:latin typeface="Meiryo UI" panose="020B0604030504040204" pitchFamily="34" charset="-128"/>
              <a:ea typeface="Meiryo UI" panose="020B0604030504040204" pitchFamily="34" charset="-128"/>
            </a:endParaRPr>
          </a:p>
        </p:txBody>
      </p:sp>
      <p:sp>
        <p:nvSpPr>
          <p:cNvPr id="197" name="Copyright">
            <a:extLst>
              <a:ext uri="{FF2B5EF4-FFF2-40B4-BE49-F238E27FC236}">
                <a16:creationId xmlns:a16="http://schemas.microsoft.com/office/drawing/2014/main" id="{3ECB3BBF-BCFE-4263-A587-E82E29FFE8EE}"/>
              </a:ext>
            </a:extLst>
          </p:cNvPr>
          <p:cNvSpPr txBox="1"/>
          <p:nvPr userDrawn="1"/>
        </p:nvSpPr>
        <p:spPr>
          <a:xfrm>
            <a:off x="180975" y="6645600"/>
            <a:ext cx="1292225" cy="105222"/>
          </a:xfrm>
          <a:prstGeom prst="rect">
            <a:avLst/>
          </a:prstGeom>
          <a:noFill/>
        </p:spPr>
        <p:txBody>
          <a:bodyPr wrap="square" lIns="0" tIns="0" rIns="0" bIns="0" rtlCol="0">
            <a:spAutoFit/>
          </a:bodyPr>
          <a:lstStyle>
            <a:defPPr>
              <a:defRPr lang="ja-JP"/>
            </a:defPPr>
            <a:lvl1pPr defTabSz="914400">
              <a:lnSpc>
                <a:spcPct val="130000"/>
              </a:lnSpc>
              <a:defRPr kumimoji="1" sz="600">
                <a:solidFill>
                  <a:srgbClr val="666666"/>
                </a:solidFill>
              </a:defRPr>
            </a:lvl1pPr>
            <a:lvl2pPr defTabSz="914400">
              <a:defRPr kumimoji="1"/>
            </a:lvl2pPr>
            <a:lvl3pPr defTabSz="914400">
              <a:defRPr kumimoji="1"/>
            </a:lvl3pPr>
            <a:lvl4pPr defTabSz="914400">
              <a:defRPr kumimoji="1"/>
            </a:lvl4pPr>
            <a:lvl5pPr defTabSz="914400">
              <a:defRPr kumimoji="1"/>
            </a:lvl5pPr>
            <a:lvl6pPr defTabSz="914400">
              <a:defRPr kumimoji="1"/>
            </a:lvl6pPr>
            <a:lvl7pPr defTabSz="914400">
              <a:defRPr kumimoji="1"/>
            </a:lvl7pPr>
            <a:lvl8pPr defTabSz="914400">
              <a:defRPr kumimoji="1"/>
            </a:lvl8pPr>
            <a:lvl9pPr defTabSz="914400">
              <a:defRPr kumimoji="1"/>
            </a:lvl9pPr>
          </a:lstStyle>
          <a:p>
            <a:pPr lvl="0"/>
            <a:r>
              <a:rPr lang="en-US" altLang="ja-JP" dirty="0">
                <a:latin typeface="Meiryo UI" panose="020B0604030504040204" pitchFamily="34" charset="-128"/>
                <a:ea typeface="Meiryo UI" panose="020B0604030504040204" pitchFamily="34" charset="-128"/>
              </a:rPr>
              <a:t>©Mitsubishi</a:t>
            </a:r>
            <a:r>
              <a:rPr lang="ja-JP" altLang="en-US" dirty="0">
                <a:latin typeface="Meiryo UI" panose="020B0604030504040204" pitchFamily="34" charset="-128"/>
                <a:ea typeface="Meiryo UI" panose="020B0604030504040204" pitchFamily="34" charset="-128"/>
              </a:rPr>
              <a:t> </a:t>
            </a:r>
            <a:r>
              <a:rPr lang="en-US" altLang="ja-JP" dirty="0">
                <a:latin typeface="Meiryo UI" panose="020B0604030504040204" pitchFamily="34" charset="-128"/>
                <a:ea typeface="Meiryo UI" panose="020B0604030504040204" pitchFamily="34" charset="-128"/>
              </a:rPr>
              <a:t>Electric</a:t>
            </a:r>
            <a:r>
              <a:rPr lang="ja-JP" altLang="en-US" dirty="0">
                <a:latin typeface="Meiryo UI" panose="020B0604030504040204" pitchFamily="34" charset="-128"/>
                <a:ea typeface="Meiryo UI" panose="020B0604030504040204" pitchFamily="34" charset="-128"/>
              </a:rPr>
              <a:t> </a:t>
            </a:r>
            <a:r>
              <a:rPr lang="en-US" altLang="ja-JP" dirty="0">
                <a:latin typeface="Meiryo UI" panose="020B0604030504040204" pitchFamily="34" charset="-128"/>
                <a:ea typeface="Meiryo UI" panose="020B0604030504040204" pitchFamily="34" charset="-128"/>
              </a:rPr>
              <a:t>Corporation</a:t>
            </a:r>
            <a:endParaRPr lang="ja-JP" altLang="en-US" dirty="0">
              <a:latin typeface="Meiryo UI" panose="020B0604030504040204" pitchFamily="34" charset="-128"/>
              <a:ea typeface="Meiryo UI" panose="020B0604030504040204" pitchFamily="34" charset="-128"/>
            </a:endParaRPr>
          </a:p>
        </p:txBody>
      </p:sp>
      <p:cxnSp>
        <p:nvCxnSpPr>
          <p:cNvPr id="9" name="Header Divider">
            <a:extLst>
              <a:ext uri="{FF2B5EF4-FFF2-40B4-BE49-F238E27FC236}">
                <a16:creationId xmlns:a16="http://schemas.microsoft.com/office/drawing/2014/main" id="{24120B97-C947-4A0C-96AA-609125DB01F1}"/>
              </a:ext>
            </a:extLst>
          </p:cNvPr>
          <p:cNvCxnSpPr/>
          <p:nvPr userDrawn="1"/>
        </p:nvCxnSpPr>
        <p:spPr>
          <a:xfrm>
            <a:off x="0" y="689613"/>
            <a:ext cx="12192000" cy="0"/>
          </a:xfrm>
          <a:prstGeom prst="line">
            <a:avLst/>
          </a:prstGeom>
          <a:ln w="19050">
            <a:solidFill>
              <a:srgbClr val="E1E1E1"/>
            </a:solidFill>
          </a:ln>
        </p:spPr>
        <p:style>
          <a:lnRef idx="1">
            <a:schemeClr val="accent1"/>
          </a:lnRef>
          <a:fillRef idx="0">
            <a:schemeClr val="accent1"/>
          </a:fillRef>
          <a:effectRef idx="0">
            <a:schemeClr val="accent1"/>
          </a:effectRef>
          <a:fontRef idx="minor">
            <a:schemeClr val="tx1"/>
          </a:fontRef>
        </p:style>
      </p:cxnSp>
      <p:sp>
        <p:nvSpPr>
          <p:cNvPr id="10" name="Section Number Background">
            <a:extLst>
              <a:ext uri="{FF2B5EF4-FFF2-40B4-BE49-F238E27FC236}">
                <a16:creationId xmlns:a16="http://schemas.microsoft.com/office/drawing/2014/main" id="{794BE07A-F803-409A-AC88-D02DFC77F206}"/>
              </a:ext>
            </a:extLst>
          </p:cNvPr>
          <p:cNvSpPr>
            <a:spLocks noChangeAspect="1"/>
          </p:cNvSpPr>
          <p:nvPr userDrawn="1"/>
        </p:nvSpPr>
        <p:spPr>
          <a:xfrm>
            <a:off x="0" y="0"/>
            <a:ext cx="1177200" cy="68947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latin typeface="Meiryo UI" panose="020B0604030504040204" pitchFamily="34" charset="-128"/>
              <a:ea typeface="Meiryo UI" panose="020B0604030504040204" pitchFamily="34" charset="-128"/>
            </a:endParaRPr>
          </a:p>
        </p:txBody>
      </p:sp>
      <p:sp>
        <p:nvSpPr>
          <p:cNvPr id="55" name="Title Placeholder">
            <a:extLst>
              <a:ext uri="{FF2B5EF4-FFF2-40B4-BE49-F238E27FC236}">
                <a16:creationId xmlns:a16="http://schemas.microsoft.com/office/drawing/2014/main" id="{462681B2-ED48-4414-8328-96ACD6794E90}"/>
              </a:ext>
            </a:extLst>
          </p:cNvPr>
          <p:cNvSpPr>
            <a:spLocks noGrp="1"/>
          </p:cNvSpPr>
          <p:nvPr>
            <p:ph type="title"/>
          </p:nvPr>
        </p:nvSpPr>
        <p:spPr>
          <a:xfrm>
            <a:off x="1177200" y="1036"/>
            <a:ext cx="7905193" cy="688436"/>
          </a:xfrm>
          <a:prstGeom prst="rect">
            <a:avLst/>
          </a:prstGeom>
        </p:spPr>
        <p:txBody>
          <a:bodyPr vert="horz" lIns="284400" tIns="72000" rIns="284400" bIns="72000" rtlCol="0" anchor="ctr">
            <a:normAutofit/>
          </a:bodyPr>
          <a:lstStyle/>
          <a:p>
            <a:pPr lvl="0"/>
            <a:r>
              <a:rPr lang="ja-JP" altLang="en-US" dirty="0"/>
              <a:t>マスター タイトルの書式設定</a:t>
            </a:r>
            <a:endParaRPr lang="en-US" dirty="0"/>
          </a:p>
        </p:txBody>
      </p:sp>
      <p:sp>
        <p:nvSpPr>
          <p:cNvPr id="192" name="Content Placeholder">
            <a:extLst>
              <a:ext uri="{FF2B5EF4-FFF2-40B4-BE49-F238E27FC236}">
                <a16:creationId xmlns:a16="http://schemas.microsoft.com/office/drawing/2014/main" id="{81E2C3B9-5259-4BBA-97EF-394738F02BEC}"/>
              </a:ext>
            </a:extLst>
          </p:cNvPr>
          <p:cNvSpPr>
            <a:spLocks noGrp="1"/>
          </p:cNvSpPr>
          <p:nvPr>
            <p:ph type="body" idx="1"/>
          </p:nvPr>
        </p:nvSpPr>
        <p:spPr>
          <a:xfrm>
            <a:off x="430213" y="1053621"/>
            <a:ext cx="11331575" cy="5432400"/>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p:cNvSpPr>
            <a:spLocks noGrp="1"/>
          </p:cNvSpPr>
          <p:nvPr>
            <p:ph type="dt" sz="half" idx="2"/>
          </p:nvPr>
        </p:nvSpPr>
        <p:spPr>
          <a:xfrm>
            <a:off x="190800" y="6552000"/>
            <a:ext cx="957600" cy="108000"/>
          </a:xfrm>
          <a:prstGeom prst="rect">
            <a:avLst/>
          </a:prstGeom>
        </p:spPr>
        <p:txBody>
          <a:bodyPr vert="horz" lIns="0" tIns="0" rIns="0" bIns="0" rtlCol="0" anchor="ctr"/>
          <a:lstStyle>
            <a:lvl1pPr>
              <a:defRPr kumimoji="1" lang="ja-JP" altLang="en-US" sz="500" spc="300">
                <a:solidFill>
                  <a:srgbClr val="666666"/>
                </a:solidFill>
                <a:latin typeface="Meiryo UI" panose="020B0604030504040204" pitchFamily="34" charset="-128"/>
                <a:ea typeface="Meiryo UI" panose="020B0604030504040204" pitchFamily="34" charset="-128"/>
              </a:defRPr>
            </a:lvl1pPr>
          </a:lstStyle>
          <a:p>
            <a:pPr defTabSz="914400">
              <a:lnSpc>
                <a:spcPct val="130000"/>
              </a:lnSpc>
            </a:pPr>
            <a:endParaRPr lang="en-JP" dirty="0"/>
          </a:p>
        </p:txBody>
      </p:sp>
      <p:sp>
        <p:nvSpPr>
          <p:cNvPr id="5" name="Footer Placeholder"/>
          <p:cNvSpPr>
            <a:spLocks noGrp="1"/>
          </p:cNvSpPr>
          <p:nvPr>
            <p:ph type="ftr" sz="quarter" idx="3"/>
          </p:nvPr>
        </p:nvSpPr>
        <p:spPr>
          <a:xfrm>
            <a:off x="1814400" y="6541200"/>
            <a:ext cx="3445200" cy="266400"/>
          </a:xfrm>
          <a:prstGeom prst="rect">
            <a:avLst/>
          </a:prstGeom>
        </p:spPr>
        <p:txBody>
          <a:bodyPr vert="horz" lIns="0" tIns="0" rIns="0" bIns="0" rtlCol="0" anchor="ctr"/>
          <a:lstStyle>
            <a:lvl1pPr>
              <a:defRPr kumimoji="1" lang="ja-JP" altLang="en-US" sz="1000" spc="300">
                <a:solidFill>
                  <a:srgbClr val="666666"/>
                </a:solidFill>
                <a:latin typeface="Meiryo UI" panose="020B0604030504040204" pitchFamily="34" charset="-128"/>
                <a:ea typeface="Meiryo UI" panose="020B0604030504040204" pitchFamily="34" charset="-128"/>
              </a:defRPr>
            </a:lvl1pPr>
          </a:lstStyle>
          <a:p>
            <a:pPr defTabSz="914400">
              <a:lnSpc>
                <a:spcPct val="130000"/>
              </a:lnSpc>
            </a:pPr>
            <a:endParaRPr lang="en-JP" dirty="0"/>
          </a:p>
        </p:txBody>
      </p:sp>
      <p:sp>
        <p:nvSpPr>
          <p:cNvPr id="3" name="Slide Number Placeholder">
            <a:extLst>
              <a:ext uri="{FF2B5EF4-FFF2-40B4-BE49-F238E27FC236}">
                <a16:creationId xmlns:a16="http://schemas.microsoft.com/office/drawing/2014/main" id="{F0678125-9F55-4830-AD5C-202141A5030F}"/>
              </a:ext>
            </a:extLst>
          </p:cNvPr>
          <p:cNvSpPr>
            <a:spLocks noGrp="1"/>
          </p:cNvSpPr>
          <p:nvPr>
            <p:ph type="sldNum" sz="quarter" idx="4"/>
          </p:nvPr>
        </p:nvSpPr>
        <p:spPr>
          <a:xfrm>
            <a:off x="11613362" y="6541736"/>
            <a:ext cx="414000" cy="266400"/>
          </a:xfrm>
          <a:prstGeom prst="rect">
            <a:avLst/>
          </a:prstGeom>
        </p:spPr>
        <p:txBody>
          <a:bodyPr vert="horz" lIns="0" tIns="0" rIns="0" bIns="0" rtlCol="0" anchor="ctr"/>
          <a:lstStyle>
            <a:lvl1pPr algn="r">
              <a:defRPr kumimoji="1" lang="en-US" altLang="ja-JP" sz="1000" b="0" spc="100" baseline="0" smtClean="0">
                <a:solidFill>
                  <a:srgbClr val="666666"/>
                </a:solidFill>
                <a:latin typeface="Meiryo UI" panose="020B0604030504040204" pitchFamily="34" charset="-128"/>
                <a:ea typeface="Meiryo UI" panose="020B0604030504040204" pitchFamily="34" charset="-128"/>
              </a:defRPr>
            </a:lvl1pPr>
          </a:lstStyle>
          <a:p>
            <a:pPr defTabSz="914400"/>
            <a:fld id="{FE1C4BCE-2E77-4226-B375-D90E70797D62}" type="slidenum">
              <a:rPr lang="en-JP" smtClean="0"/>
              <a:pPr defTabSz="914400"/>
              <a:t>‹#›</a:t>
            </a:fld>
            <a:endParaRPr lang="en-JP" dirty="0"/>
          </a:p>
        </p:txBody>
      </p:sp>
      <p:pic>
        <p:nvPicPr>
          <p:cNvPr id="2" name="Picture 1">
            <a:extLst>
              <a:ext uri="{FF2B5EF4-FFF2-40B4-BE49-F238E27FC236}">
                <a16:creationId xmlns:a16="http://schemas.microsoft.com/office/drawing/2014/main" id="{A490EB54-FC75-1B90-3BE8-BE9237DCE45D}"/>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9174538" y="95250"/>
            <a:ext cx="2826962" cy="481371"/>
          </a:xfrm>
          <a:prstGeom prst="rect">
            <a:avLst/>
          </a:prstGeom>
        </p:spPr>
      </p:pic>
      <p:grpSp>
        <p:nvGrpSpPr>
          <p:cNvPr id="237" name="グループ化 236">
            <a:extLst>
              <a:ext uri="{FF2B5EF4-FFF2-40B4-BE49-F238E27FC236}">
                <a16:creationId xmlns:a16="http://schemas.microsoft.com/office/drawing/2014/main" id="{49DB7A1E-AE24-26DE-6FE9-ED34E0E01685}"/>
              </a:ext>
            </a:extLst>
          </p:cNvPr>
          <p:cNvGrpSpPr/>
          <p:nvPr userDrawn="1"/>
        </p:nvGrpSpPr>
        <p:grpSpPr>
          <a:xfrm>
            <a:off x="-1548680" y="-1145"/>
            <a:ext cx="1392414" cy="6858000"/>
            <a:chOff x="-1548680" y="-1145"/>
            <a:chExt cx="1392414" cy="6858000"/>
          </a:xfrm>
        </p:grpSpPr>
        <p:sp>
          <p:nvSpPr>
            <p:cNvPr id="238" name="Rectangle 6">
              <a:extLst>
                <a:ext uri="{FF2B5EF4-FFF2-40B4-BE49-F238E27FC236}">
                  <a16:creationId xmlns:a16="http://schemas.microsoft.com/office/drawing/2014/main" id="{43D2AEAF-28A4-0D59-F46F-50590D38812B}"/>
                </a:ext>
              </a:extLst>
            </p:cNvPr>
            <p:cNvSpPr/>
            <p:nvPr userDrawn="1"/>
          </p:nvSpPr>
          <p:spPr>
            <a:xfrm>
              <a:off x="-1548641" y="-1145"/>
              <a:ext cx="13923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39" name="TextBox 7">
              <a:extLst>
                <a:ext uri="{FF2B5EF4-FFF2-40B4-BE49-F238E27FC236}">
                  <a16:creationId xmlns:a16="http://schemas.microsoft.com/office/drawing/2014/main" id="{C74FCF3E-6591-99EF-61B6-E270423250FF}"/>
                </a:ext>
              </a:extLst>
            </p:cNvPr>
            <p:cNvSpPr txBox="1"/>
            <p:nvPr userDrawn="1"/>
          </p:nvSpPr>
          <p:spPr>
            <a:xfrm>
              <a:off x="-1548680" y="100360"/>
              <a:ext cx="1386866" cy="800219"/>
            </a:xfrm>
            <a:prstGeom prst="rect">
              <a:avLst/>
            </a:prstGeom>
            <a:noFill/>
          </p:spPr>
          <p:txBody>
            <a:bodyPr wrap="square" rtlCol="0">
              <a:spAutoFit/>
            </a:bodyPr>
            <a:lstStyle/>
            <a:p>
              <a:r>
                <a:rPr kumimoji="1" lang="ja-JP" altLang="en-US" sz="700" b="1">
                  <a:latin typeface="Noto Sans JP Bold" panose="020B0500000000000000" pitchFamily="34" charset="-128"/>
                  <a:ea typeface="Noto Sans JP Bold" panose="020B0500000000000000" pitchFamily="34" charset="-128"/>
                  <a:cs typeface="Arial" panose="020B0604020202020204" pitchFamily="34" charset="0"/>
                </a:rPr>
                <a:t>カラーパレットの推奨事項</a:t>
              </a:r>
              <a:br>
                <a:rPr kumimoji="1" lang="en-US" altLang="ja-JP" dirty="0">
                  <a:latin typeface="Noto Sans JP Regular" panose="020B0500000000000000" pitchFamily="34" charset="-128"/>
                  <a:ea typeface="Noto Sans JP Regular" panose="020B0500000000000000" pitchFamily="34" charset="-128"/>
                  <a:cs typeface="Arial" panose="020B0604020202020204" pitchFamily="34" charset="0"/>
                </a:rPr>
              </a:br>
              <a:endParaRPr kumimoji="1" lang="en-US" altLang="ja-JP" sz="400" dirty="0">
                <a:latin typeface="Noto Sans JP Regular" panose="020B0500000000000000" pitchFamily="34" charset="-128"/>
                <a:ea typeface="Noto Sans JP Regular" panose="020B0500000000000000" pitchFamily="34" charset="-128"/>
                <a:cs typeface="Arial" panose="020B0604020202020204" pitchFamily="34" charset="0"/>
              </a:endParaRPr>
            </a:p>
            <a:p>
              <a:r>
                <a:rPr lang="ja-JP" altLang="en-US" sz="700">
                  <a:latin typeface="Noto Sans JP Regular" panose="020B0500000000000000" pitchFamily="34" charset="-128"/>
                  <a:ea typeface="Noto Sans JP Regular" panose="020B0500000000000000" pitchFamily="34" charset="-128"/>
                </a:rPr>
                <a:t>使用する色はできるだけ少なくし、伝わりやすいプレゼンテーションにするため、全体を通して、同じ配色にすることを推奨します。</a:t>
              </a:r>
              <a:endParaRPr lang="en-US" altLang="ja-JP" sz="700" dirty="0">
                <a:latin typeface="Noto Sans JP Regular" panose="020B0500000000000000" pitchFamily="34" charset="-128"/>
                <a:ea typeface="Noto Sans JP Regular" panose="020B0500000000000000" pitchFamily="34" charset="-128"/>
              </a:endParaRPr>
            </a:p>
          </p:txBody>
        </p:sp>
        <p:sp>
          <p:nvSpPr>
            <p:cNvPr id="240" name="TextBox 11">
              <a:extLst>
                <a:ext uri="{FF2B5EF4-FFF2-40B4-BE49-F238E27FC236}">
                  <a16:creationId xmlns:a16="http://schemas.microsoft.com/office/drawing/2014/main" id="{72ED313D-6BA3-6F05-D1FB-211AFAC67CC4}"/>
                </a:ext>
              </a:extLst>
            </p:cNvPr>
            <p:cNvSpPr txBox="1"/>
            <p:nvPr userDrawn="1"/>
          </p:nvSpPr>
          <p:spPr>
            <a:xfrm>
              <a:off x="-1548680" y="941462"/>
              <a:ext cx="810802"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 </a:t>
              </a:r>
            </a:p>
          </p:txBody>
        </p:sp>
        <p:sp>
          <p:nvSpPr>
            <p:cNvPr id="241" name="TextBox 13">
              <a:extLst>
                <a:ext uri="{FF2B5EF4-FFF2-40B4-BE49-F238E27FC236}">
                  <a16:creationId xmlns:a16="http://schemas.microsoft.com/office/drawing/2014/main" id="{C72D6813-2A15-8469-A02A-AC4735FBBAC1}"/>
                </a:ext>
              </a:extLst>
            </p:cNvPr>
            <p:cNvSpPr txBox="1"/>
            <p:nvPr userDrawn="1"/>
          </p:nvSpPr>
          <p:spPr>
            <a:xfrm>
              <a:off x="-1548680" y="1665421"/>
              <a:ext cx="810802" cy="200055"/>
            </a:xfrm>
            <a:prstGeom prst="rect">
              <a:avLst/>
            </a:prstGeom>
            <a:noFill/>
          </p:spPr>
          <p:txBody>
            <a:bodyPr wrap="square" rtlCol="0">
              <a:spAutoFit/>
            </a:bodyPr>
            <a:lstStyle/>
            <a:p>
              <a:r>
                <a:rPr kumimoji="1" lang="ja-JP" altLang="en-US" sz="700" b="0">
                  <a:latin typeface="Noto Sans JP Regular" panose="020B0500000000000000" pitchFamily="34" charset="-128"/>
                  <a:ea typeface="Noto Sans JP Regular" panose="020B0500000000000000" pitchFamily="34" charset="-128"/>
                  <a:cs typeface="Arial" panose="020B0604020202020204" pitchFamily="34" charset="0"/>
                </a:rPr>
                <a:t>本文</a:t>
              </a:r>
              <a:r>
                <a:rPr kumimoji="1" lang="en-US" altLang="ja-JP" sz="700" b="0" dirty="0">
                  <a:latin typeface="Noto Sans JP Regular" panose="020B0500000000000000" pitchFamily="34" charset="-128"/>
                  <a:ea typeface="Noto Sans JP Regular" panose="020B0500000000000000" pitchFamily="34" charset="-128"/>
                  <a:cs typeface="Arial" panose="020B0604020202020204" pitchFamily="34" charset="0"/>
                </a:rPr>
                <a:t>:</a:t>
              </a:r>
            </a:p>
          </p:txBody>
        </p:sp>
        <p:sp>
          <p:nvSpPr>
            <p:cNvPr id="242" name="TextBox 14">
              <a:extLst>
                <a:ext uri="{FF2B5EF4-FFF2-40B4-BE49-F238E27FC236}">
                  <a16:creationId xmlns:a16="http://schemas.microsoft.com/office/drawing/2014/main" id="{1E42BDEB-7ADE-37A5-2954-7E4D1883462C}"/>
                </a:ext>
              </a:extLst>
            </p:cNvPr>
            <p:cNvSpPr txBox="1"/>
            <p:nvPr userDrawn="1"/>
          </p:nvSpPr>
          <p:spPr>
            <a:xfrm>
              <a:off x="-1548680" y="2365180"/>
              <a:ext cx="1386865"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キーワード・</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Call to Action:   </a:t>
              </a:r>
            </a:p>
          </p:txBody>
        </p:sp>
        <p:sp>
          <p:nvSpPr>
            <p:cNvPr id="243" name="TextBox 15">
              <a:extLst>
                <a:ext uri="{FF2B5EF4-FFF2-40B4-BE49-F238E27FC236}">
                  <a16:creationId xmlns:a16="http://schemas.microsoft.com/office/drawing/2014/main" id="{AAA09D5E-595C-CA63-136A-7546A8FDB844}"/>
                </a:ext>
              </a:extLst>
            </p:cNvPr>
            <p:cNvSpPr txBox="1"/>
            <p:nvPr userDrawn="1"/>
          </p:nvSpPr>
          <p:spPr>
            <a:xfrm>
              <a:off x="-1548680" y="3717032"/>
              <a:ext cx="1386865" cy="200055"/>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キーフレーズ・重要な情報</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a:t>
              </a:r>
              <a:endParaRPr kumimoji="1" lang="ja-JP" altLang="en-US" sz="700" dirty="0">
                <a:latin typeface="Noto Sans JP Regular" panose="020B0500000000000000" pitchFamily="34" charset="-128"/>
                <a:ea typeface="Noto Sans JP Regular" panose="020B0500000000000000" pitchFamily="34" charset="-128"/>
                <a:cs typeface="Arial" panose="020B0604020202020204" pitchFamily="34" charset="0"/>
              </a:endParaRPr>
            </a:p>
          </p:txBody>
        </p:sp>
        <p:sp>
          <p:nvSpPr>
            <p:cNvPr id="244" name="Rectangle 16">
              <a:extLst>
                <a:ext uri="{FF2B5EF4-FFF2-40B4-BE49-F238E27FC236}">
                  <a16:creationId xmlns:a16="http://schemas.microsoft.com/office/drawing/2014/main" id="{43DD7914-CE30-6BA8-4250-95EC4215D951}"/>
                </a:ext>
              </a:extLst>
            </p:cNvPr>
            <p:cNvSpPr/>
            <p:nvPr userDrawn="1"/>
          </p:nvSpPr>
          <p:spPr>
            <a:xfrm>
              <a:off x="-1456231" y="1128960"/>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45" name="Rectangle 17">
              <a:extLst>
                <a:ext uri="{FF2B5EF4-FFF2-40B4-BE49-F238E27FC236}">
                  <a16:creationId xmlns:a16="http://schemas.microsoft.com/office/drawing/2014/main" id="{9F353ED6-86DF-9547-329F-9FE4554827FD}"/>
                </a:ext>
              </a:extLst>
            </p:cNvPr>
            <p:cNvSpPr/>
            <p:nvPr userDrawn="1"/>
          </p:nvSpPr>
          <p:spPr>
            <a:xfrm>
              <a:off x="-1217599" y="1128960"/>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46" name="Rectangle 115">
              <a:extLst>
                <a:ext uri="{FF2B5EF4-FFF2-40B4-BE49-F238E27FC236}">
                  <a16:creationId xmlns:a16="http://schemas.microsoft.com/office/drawing/2014/main" id="{46E30E3B-620B-1B6C-1AFF-D98938896A68}"/>
                </a:ext>
              </a:extLst>
            </p:cNvPr>
            <p:cNvSpPr/>
            <p:nvPr userDrawn="1"/>
          </p:nvSpPr>
          <p:spPr>
            <a:xfrm>
              <a:off x="-1456231" y="2580699"/>
              <a:ext cx="216000" cy="216000"/>
            </a:xfrm>
            <a:prstGeom prst="rect">
              <a:avLst/>
            </a:prstGeom>
            <a:solidFill>
              <a:srgbClr val="C8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47" name="Rectangle 116">
              <a:extLst>
                <a:ext uri="{FF2B5EF4-FFF2-40B4-BE49-F238E27FC236}">
                  <a16:creationId xmlns:a16="http://schemas.microsoft.com/office/drawing/2014/main" id="{AC340885-F09F-4BA3-C82A-2016790E6C3A}"/>
                </a:ext>
              </a:extLst>
            </p:cNvPr>
            <p:cNvSpPr/>
            <p:nvPr userDrawn="1"/>
          </p:nvSpPr>
          <p:spPr>
            <a:xfrm>
              <a:off x="-974281" y="1844848"/>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48" name="Rectangle 117">
              <a:extLst>
                <a:ext uri="{FF2B5EF4-FFF2-40B4-BE49-F238E27FC236}">
                  <a16:creationId xmlns:a16="http://schemas.microsoft.com/office/drawing/2014/main" id="{9C31A5F9-0419-E1C3-B0FD-BD183B942D52}"/>
                </a:ext>
              </a:extLst>
            </p:cNvPr>
            <p:cNvSpPr/>
            <p:nvPr userDrawn="1"/>
          </p:nvSpPr>
          <p:spPr>
            <a:xfrm>
              <a:off x="-1456231" y="1844848"/>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49" name="Rectangle 118">
              <a:extLst>
                <a:ext uri="{FF2B5EF4-FFF2-40B4-BE49-F238E27FC236}">
                  <a16:creationId xmlns:a16="http://schemas.microsoft.com/office/drawing/2014/main" id="{F98FEA65-5CEE-96DD-64BB-D49E7A23EE24}"/>
                </a:ext>
              </a:extLst>
            </p:cNvPr>
            <p:cNvSpPr/>
            <p:nvPr userDrawn="1"/>
          </p:nvSpPr>
          <p:spPr>
            <a:xfrm>
              <a:off x="-1217599" y="1844848"/>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0" name="TextBox 119">
              <a:extLst>
                <a:ext uri="{FF2B5EF4-FFF2-40B4-BE49-F238E27FC236}">
                  <a16:creationId xmlns:a16="http://schemas.microsoft.com/office/drawing/2014/main" id="{39A2D169-64B1-1AF4-F928-217E84D8FB94}"/>
                </a:ext>
              </a:extLst>
            </p:cNvPr>
            <p:cNvSpPr txBox="1"/>
            <p:nvPr userDrawn="1"/>
          </p:nvSpPr>
          <p:spPr>
            <a:xfrm>
              <a:off x="-1548680" y="2801223"/>
              <a:ext cx="1386866" cy="738664"/>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太字を多用せず、強調する場合はアクセントカラーとして</a:t>
              </a:r>
              <a:r>
                <a:rPr lang="ja-JP" altLang="en-US" sz="700">
                  <a:solidFill>
                    <a:srgbClr val="FF0000"/>
                  </a:solidFill>
                  <a:latin typeface="Noto Sans JP Regular" panose="020B0500000000000000" pitchFamily="34" charset="-128"/>
                  <a:ea typeface="Noto Sans JP Regular" panose="020B0500000000000000" pitchFamily="34" charset="-128"/>
                </a:rPr>
                <a:t>赤色</a:t>
              </a:r>
              <a:r>
                <a:rPr lang="ja-JP" altLang="en-US" sz="700">
                  <a:latin typeface="Noto Sans JP Regular" panose="020B0500000000000000" pitchFamily="34" charset="-128"/>
                  <a:ea typeface="Noto Sans JP Regular" panose="020B0500000000000000" pitchFamily="34" charset="-128"/>
                </a:rPr>
                <a:t>を使用してください。ただし、赤色も、強調する場合に限定し、多用しないように注意してください。</a:t>
              </a:r>
              <a:endParaRPr lang="en-US" altLang="ja-JP" sz="700" dirty="0">
                <a:latin typeface="Noto Sans JP Regular" panose="020B0500000000000000" pitchFamily="34" charset="-128"/>
                <a:ea typeface="Noto Sans JP Regular" panose="020B0500000000000000" pitchFamily="34" charset="-128"/>
              </a:endParaRPr>
            </a:p>
          </p:txBody>
        </p:sp>
        <p:sp>
          <p:nvSpPr>
            <p:cNvPr id="251" name="Rectangle 120">
              <a:extLst>
                <a:ext uri="{FF2B5EF4-FFF2-40B4-BE49-F238E27FC236}">
                  <a16:creationId xmlns:a16="http://schemas.microsoft.com/office/drawing/2014/main" id="{51B5AE8E-D648-703E-AEF6-3D3A3B8F1738}"/>
                </a:ext>
              </a:extLst>
            </p:cNvPr>
            <p:cNvSpPr/>
            <p:nvPr userDrawn="1"/>
          </p:nvSpPr>
          <p:spPr>
            <a:xfrm>
              <a:off x="-1456231" y="3979858"/>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2" name="Rectangle 121">
              <a:extLst>
                <a:ext uri="{FF2B5EF4-FFF2-40B4-BE49-F238E27FC236}">
                  <a16:creationId xmlns:a16="http://schemas.microsoft.com/office/drawing/2014/main" id="{0EEC6EDC-73D1-3176-A9A1-870D0261A7B0}"/>
                </a:ext>
              </a:extLst>
            </p:cNvPr>
            <p:cNvSpPr/>
            <p:nvPr userDrawn="1"/>
          </p:nvSpPr>
          <p:spPr>
            <a:xfrm>
              <a:off x="-1217599" y="3979858"/>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3" name="TextBox 122">
              <a:extLst>
                <a:ext uri="{FF2B5EF4-FFF2-40B4-BE49-F238E27FC236}">
                  <a16:creationId xmlns:a16="http://schemas.microsoft.com/office/drawing/2014/main" id="{50267EE1-0B4F-33E6-545D-D85A95E9B45D}"/>
                </a:ext>
              </a:extLst>
            </p:cNvPr>
            <p:cNvSpPr txBox="1"/>
            <p:nvPr userDrawn="1"/>
          </p:nvSpPr>
          <p:spPr>
            <a:xfrm>
              <a:off x="-1458579" y="4272803"/>
              <a:ext cx="1237447" cy="523220"/>
            </a:xfrm>
            <a:prstGeom prst="rect">
              <a:avLst/>
            </a:prstGeom>
            <a:solidFill>
              <a:srgbClr val="A0B5CF"/>
            </a:solid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重要なポイントが目立つように、背景に色をひいてください。</a:t>
              </a:r>
              <a:r>
                <a:rPr lang="ja-JP" altLang="en-US" sz="700">
                  <a:solidFill>
                    <a:schemeClr val="bg1"/>
                  </a:solidFill>
                  <a:latin typeface="Noto Sans JP Regular" panose="020B0500000000000000" pitchFamily="34" charset="-128"/>
                  <a:ea typeface="Noto Sans JP Regular" panose="020B0500000000000000" pitchFamily="34" charset="-128"/>
                </a:rPr>
                <a:t>白抜き</a:t>
              </a:r>
              <a:r>
                <a:rPr lang="ja-JP" altLang="en-US" sz="700">
                  <a:latin typeface="Noto Sans JP Regular" panose="020B0500000000000000" pitchFamily="34" charset="-128"/>
                  <a:ea typeface="Noto Sans JP Regular" panose="020B0500000000000000" pitchFamily="34" charset="-128"/>
                </a:rPr>
                <a:t>文字が効果的です。</a:t>
              </a:r>
              <a:endParaRPr lang="ja-JP" altLang="en-US" sz="700" dirty="0">
                <a:latin typeface="Noto Sans JP Regular" panose="020B0500000000000000" pitchFamily="34" charset="-128"/>
                <a:ea typeface="Noto Sans JP Regular" panose="020B0500000000000000" pitchFamily="34" charset="-128"/>
              </a:endParaRPr>
            </a:p>
          </p:txBody>
        </p:sp>
        <p:sp>
          <p:nvSpPr>
            <p:cNvPr id="254" name="Rectangle 123">
              <a:extLst>
                <a:ext uri="{FF2B5EF4-FFF2-40B4-BE49-F238E27FC236}">
                  <a16:creationId xmlns:a16="http://schemas.microsoft.com/office/drawing/2014/main" id="{18317B77-6FCD-384C-D128-2141698EA5D9}"/>
                </a:ext>
              </a:extLst>
            </p:cNvPr>
            <p:cNvSpPr/>
            <p:nvPr userDrawn="1"/>
          </p:nvSpPr>
          <p:spPr>
            <a:xfrm>
              <a:off x="-974281" y="1128960"/>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5" name="TextBox 124">
              <a:extLst>
                <a:ext uri="{FF2B5EF4-FFF2-40B4-BE49-F238E27FC236}">
                  <a16:creationId xmlns:a16="http://schemas.microsoft.com/office/drawing/2014/main" id="{A47DC5FE-2618-1678-3E97-9E54BD408DB2}"/>
                </a:ext>
              </a:extLst>
            </p:cNvPr>
            <p:cNvSpPr txBox="1"/>
            <p:nvPr userDrawn="1"/>
          </p:nvSpPr>
          <p:spPr>
            <a:xfrm>
              <a:off x="-1548680" y="5013176"/>
              <a:ext cx="810802" cy="200055"/>
            </a:xfrm>
            <a:prstGeom prst="rect">
              <a:avLst/>
            </a:prstGeom>
            <a:noFill/>
          </p:spPr>
          <p:txBody>
            <a:bodyPr wrap="square" rtlCol="0">
              <a:spAutoFit/>
            </a:bodyPr>
            <a:lstStyle/>
            <a:p>
              <a:r>
                <a:rPr kumimoji="1" lang="ja-JP" altLang="en-US" sz="700">
                  <a:latin typeface="Noto Sans JP Regular" panose="020B0500000000000000" pitchFamily="34" charset="-128"/>
                  <a:ea typeface="Noto Sans JP Regular" panose="020B0500000000000000" pitchFamily="34" charset="-128"/>
                  <a:cs typeface="Arial" panose="020B0604020202020204" pitchFamily="34" charset="0"/>
                </a:rPr>
                <a:t>テーマ</a:t>
              </a:r>
              <a:r>
                <a:rPr kumimoji="1" lang="en-US" altLang="ja-JP" sz="700" dirty="0">
                  <a:latin typeface="Noto Sans JP Regular" panose="020B0500000000000000" pitchFamily="34" charset="-128"/>
                  <a:ea typeface="Noto Sans JP Regular" panose="020B0500000000000000" pitchFamily="34" charset="-128"/>
                  <a:cs typeface="Arial" panose="020B0604020202020204" pitchFamily="34" charset="0"/>
                </a:rPr>
                <a:t>:</a:t>
              </a:r>
            </a:p>
          </p:txBody>
        </p:sp>
        <p:sp>
          <p:nvSpPr>
            <p:cNvPr id="256" name="Rectangle 125">
              <a:extLst>
                <a:ext uri="{FF2B5EF4-FFF2-40B4-BE49-F238E27FC236}">
                  <a16:creationId xmlns:a16="http://schemas.microsoft.com/office/drawing/2014/main" id="{62D62166-B25B-4BCD-D565-9C66BFF7A037}"/>
                </a:ext>
              </a:extLst>
            </p:cNvPr>
            <p:cNvSpPr/>
            <p:nvPr userDrawn="1"/>
          </p:nvSpPr>
          <p:spPr>
            <a:xfrm rot="5400000">
              <a:off x="-974281" y="5229105"/>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7" name="Rectangle 126">
              <a:extLst>
                <a:ext uri="{FF2B5EF4-FFF2-40B4-BE49-F238E27FC236}">
                  <a16:creationId xmlns:a16="http://schemas.microsoft.com/office/drawing/2014/main" id="{D6AF1F24-F9DD-D44E-FC69-4EEEE6972142}"/>
                </a:ext>
              </a:extLst>
            </p:cNvPr>
            <p:cNvSpPr/>
            <p:nvPr userDrawn="1"/>
          </p:nvSpPr>
          <p:spPr>
            <a:xfrm rot="5400000">
              <a:off x="-974281" y="546773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8" name="Rectangle 127">
              <a:extLst>
                <a:ext uri="{FF2B5EF4-FFF2-40B4-BE49-F238E27FC236}">
                  <a16:creationId xmlns:a16="http://schemas.microsoft.com/office/drawing/2014/main" id="{A545653E-9294-552F-BF5D-985E386314FE}"/>
                </a:ext>
              </a:extLst>
            </p:cNvPr>
            <p:cNvSpPr/>
            <p:nvPr userDrawn="1"/>
          </p:nvSpPr>
          <p:spPr>
            <a:xfrm rot="5400000">
              <a:off x="-1217599" y="522910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59" name="Rectangle 128">
              <a:extLst>
                <a:ext uri="{FF2B5EF4-FFF2-40B4-BE49-F238E27FC236}">
                  <a16:creationId xmlns:a16="http://schemas.microsoft.com/office/drawing/2014/main" id="{99CD2B0A-BA85-EF18-952E-B7C720EDAC46}"/>
                </a:ext>
              </a:extLst>
            </p:cNvPr>
            <p:cNvSpPr/>
            <p:nvPr userDrawn="1"/>
          </p:nvSpPr>
          <p:spPr>
            <a:xfrm rot="5400000">
              <a:off x="-1456231" y="5229105"/>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60" name="Rectangle 129">
              <a:extLst>
                <a:ext uri="{FF2B5EF4-FFF2-40B4-BE49-F238E27FC236}">
                  <a16:creationId xmlns:a16="http://schemas.microsoft.com/office/drawing/2014/main" id="{7119C8DF-4BAE-6020-C82E-54DB70E54757}"/>
                </a:ext>
              </a:extLst>
            </p:cNvPr>
            <p:cNvSpPr/>
            <p:nvPr userDrawn="1"/>
          </p:nvSpPr>
          <p:spPr>
            <a:xfrm rot="5400000">
              <a:off x="-1217599" y="5467737"/>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61" name="Rectangle 130">
              <a:extLst>
                <a:ext uri="{FF2B5EF4-FFF2-40B4-BE49-F238E27FC236}">
                  <a16:creationId xmlns:a16="http://schemas.microsoft.com/office/drawing/2014/main" id="{DB833A1D-590A-B525-2518-CDAE38E28C57}"/>
                </a:ext>
              </a:extLst>
            </p:cNvPr>
            <p:cNvSpPr/>
            <p:nvPr userDrawn="1"/>
          </p:nvSpPr>
          <p:spPr>
            <a:xfrm rot="5400000">
              <a:off x="-1456231" y="5467737"/>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latin typeface="Noto Sans JP Regular" panose="020B0500000000000000" pitchFamily="34" charset="-128"/>
                <a:ea typeface="Noto Sans JP Regular" panose="020B0500000000000000" pitchFamily="34" charset="-128"/>
              </a:endParaRPr>
            </a:p>
          </p:txBody>
        </p:sp>
        <p:sp>
          <p:nvSpPr>
            <p:cNvPr id="262" name="TextBox 131">
              <a:extLst>
                <a:ext uri="{FF2B5EF4-FFF2-40B4-BE49-F238E27FC236}">
                  <a16:creationId xmlns:a16="http://schemas.microsoft.com/office/drawing/2014/main" id="{F80CAB30-A06A-BFF6-A9DF-19CBD62B51E9}"/>
                </a:ext>
              </a:extLst>
            </p:cNvPr>
            <p:cNvSpPr txBox="1"/>
            <p:nvPr userDrawn="1"/>
          </p:nvSpPr>
          <p:spPr>
            <a:xfrm>
              <a:off x="-1548679" y="5714092"/>
              <a:ext cx="1386864" cy="523220"/>
            </a:xfrm>
            <a:prstGeom prst="rect">
              <a:avLst/>
            </a:prstGeom>
            <a:noFill/>
          </p:spPr>
          <p:txBody>
            <a:bodyPr wrap="square" rtlCol="0">
              <a:spAutoFit/>
            </a:bodyPr>
            <a:lstStyle/>
            <a:p>
              <a:r>
                <a:rPr lang="ja-JP" altLang="en-US" sz="700">
                  <a:latin typeface="Noto Sans JP Regular" panose="020B0500000000000000" pitchFamily="34" charset="-128"/>
                  <a:ea typeface="Noto Sans JP Regular" panose="020B0500000000000000" pitchFamily="34" charset="-128"/>
                </a:rPr>
                <a:t>サステナビリティに関するテーマの</a:t>
              </a:r>
              <a:r>
                <a:rPr lang="en-US" altLang="ja-JP" sz="700" dirty="0">
                  <a:latin typeface="Noto Sans JP Regular" panose="020B0500000000000000" pitchFamily="34" charset="-128"/>
                  <a:ea typeface="Noto Sans JP Regular" panose="020B0500000000000000" pitchFamily="34" charset="-128"/>
                </a:rPr>
                <a:t>PR</a:t>
              </a:r>
              <a:r>
                <a:rPr lang="ja-JP" altLang="en-US" sz="700">
                  <a:latin typeface="Noto Sans JP Regular" panose="020B0500000000000000" pitchFamily="34" charset="-128"/>
                  <a:ea typeface="Noto Sans JP Regular" panose="020B0500000000000000" pitchFamily="34" charset="-128"/>
                </a:rPr>
                <a:t>素材を作成する場合は、上にあるカラーパレット色が効果的です。</a:t>
              </a:r>
              <a:endParaRPr lang="en-US" altLang="ja-JP" sz="700" dirty="0">
                <a:latin typeface="Noto Sans JP Regular" panose="020B0500000000000000" pitchFamily="34" charset="-128"/>
                <a:ea typeface="Noto Sans JP Regular" panose="020B0500000000000000" pitchFamily="34" charset="-128"/>
              </a:endParaRPr>
            </a:p>
          </p:txBody>
        </p:sp>
        <p:sp>
          <p:nvSpPr>
            <p:cNvPr id="263" name="TextBox 132">
              <a:extLst>
                <a:ext uri="{FF2B5EF4-FFF2-40B4-BE49-F238E27FC236}">
                  <a16:creationId xmlns:a16="http://schemas.microsoft.com/office/drawing/2014/main" id="{829D27C9-13C2-EC27-87D3-6BAD087C1F67}"/>
                </a:ext>
              </a:extLst>
            </p:cNvPr>
            <p:cNvSpPr txBox="1"/>
            <p:nvPr userDrawn="1"/>
          </p:nvSpPr>
          <p:spPr>
            <a:xfrm>
              <a:off x="-972616" y="1344960"/>
              <a:ext cx="810802" cy="276999"/>
            </a:xfrm>
            <a:prstGeom prst="rect">
              <a:avLst/>
            </a:prstGeom>
            <a:noFill/>
          </p:spPr>
          <p:txBody>
            <a:bodyPr wrap="square" rtlCol="0">
              <a:spAutoFit/>
            </a:bodyPr>
            <a:lstStyle/>
            <a:p>
              <a:r>
                <a:rPr kumimoji="1" lang="ja-JP" altLang="en-US" sz="600">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600" dirty="0">
                  <a:latin typeface="Noto Sans JP Regular" panose="020B0500000000000000" pitchFamily="34" charset="-128"/>
                  <a:ea typeface="Noto Sans JP Regular" panose="020B0500000000000000" pitchFamily="34" charset="-128"/>
                  <a:cs typeface="Arial" panose="020B0604020202020204" pitchFamily="34" charset="0"/>
                </a:rPr>
                <a:t> 1</a:t>
              </a:r>
              <a:br>
                <a:rPr kumimoji="1" lang="en-US" altLang="ja-JP" sz="600" dirty="0">
                  <a:latin typeface="Noto Sans JP Regular" panose="020B0500000000000000" pitchFamily="34" charset="-128"/>
                  <a:ea typeface="Noto Sans JP Regular" panose="020B0500000000000000" pitchFamily="34" charset="-128"/>
                  <a:cs typeface="Arial" panose="020B0604020202020204" pitchFamily="34" charset="0"/>
                </a:rPr>
              </a:br>
              <a:r>
                <a:rPr kumimoji="1" lang="ja-JP" altLang="en-US" sz="600">
                  <a:solidFill>
                    <a:srgbClr val="666666"/>
                  </a:solidFill>
                  <a:latin typeface="Noto Sans JP Regular" panose="020B0500000000000000" pitchFamily="34" charset="-128"/>
                  <a:ea typeface="Noto Sans JP Regular" panose="020B0500000000000000" pitchFamily="34" charset="-128"/>
                  <a:cs typeface="Arial" panose="020B0604020202020204" pitchFamily="34" charset="0"/>
                </a:rPr>
                <a:t>ヘッドライン</a:t>
              </a:r>
              <a:r>
                <a:rPr kumimoji="1" lang="en-US" altLang="ja-JP" sz="600" dirty="0">
                  <a:solidFill>
                    <a:srgbClr val="666666"/>
                  </a:solidFill>
                  <a:latin typeface="Noto Sans JP Regular" panose="020B0500000000000000" pitchFamily="34" charset="-128"/>
                  <a:ea typeface="Noto Sans JP Regular" panose="020B0500000000000000" pitchFamily="34" charset="-128"/>
                  <a:cs typeface="Arial" panose="020B0604020202020204" pitchFamily="34" charset="0"/>
                </a:rPr>
                <a:t> 2</a:t>
              </a:r>
            </a:p>
          </p:txBody>
        </p:sp>
      </p:grpSp>
      <p:grpSp>
        <p:nvGrpSpPr>
          <p:cNvPr id="264" name="グループ化 263">
            <a:extLst>
              <a:ext uri="{FF2B5EF4-FFF2-40B4-BE49-F238E27FC236}">
                <a16:creationId xmlns:a16="http://schemas.microsoft.com/office/drawing/2014/main" id="{B107A1B2-E631-05F4-79D5-F22A4DCCDFC4}"/>
              </a:ext>
            </a:extLst>
          </p:cNvPr>
          <p:cNvGrpSpPr/>
          <p:nvPr userDrawn="1"/>
        </p:nvGrpSpPr>
        <p:grpSpPr>
          <a:xfrm>
            <a:off x="12419305" y="1762750"/>
            <a:ext cx="2101631" cy="4834602"/>
            <a:chOff x="9504778" y="1778667"/>
            <a:chExt cx="2101631" cy="4834602"/>
          </a:xfrm>
        </p:grpSpPr>
        <p:sp>
          <p:nvSpPr>
            <p:cNvPr id="265" name="Rectangle 19">
              <a:extLst>
                <a:ext uri="{FF2B5EF4-FFF2-40B4-BE49-F238E27FC236}">
                  <a16:creationId xmlns:a16="http://schemas.microsoft.com/office/drawing/2014/main" id="{5A120193-6B8D-B391-FE26-9C5DE11B5440}"/>
                </a:ext>
              </a:extLst>
            </p:cNvPr>
            <p:cNvSpPr/>
            <p:nvPr userDrawn="1"/>
          </p:nvSpPr>
          <p:spPr>
            <a:xfrm>
              <a:off x="10395134" y="3084127"/>
              <a:ext cx="216000" cy="216000"/>
            </a:xfrm>
            <a:prstGeom prst="rect">
              <a:avLst/>
            </a:prstGeom>
            <a:solidFill>
              <a:srgbClr val="32543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6" name="Rectangle 20">
              <a:extLst>
                <a:ext uri="{FF2B5EF4-FFF2-40B4-BE49-F238E27FC236}">
                  <a16:creationId xmlns:a16="http://schemas.microsoft.com/office/drawing/2014/main" id="{5E652902-99AD-F58E-2C04-5408D0FC4C06}"/>
                </a:ext>
              </a:extLst>
            </p:cNvPr>
            <p:cNvSpPr/>
            <p:nvPr userDrawn="1"/>
          </p:nvSpPr>
          <p:spPr>
            <a:xfrm>
              <a:off x="10633766" y="3084127"/>
              <a:ext cx="216000" cy="216000"/>
            </a:xfrm>
            <a:prstGeom prst="rect">
              <a:avLst/>
            </a:prstGeom>
            <a:solidFill>
              <a:srgbClr val="4D6B5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7" name="Rectangle 21">
              <a:extLst>
                <a:ext uri="{FF2B5EF4-FFF2-40B4-BE49-F238E27FC236}">
                  <a16:creationId xmlns:a16="http://schemas.microsoft.com/office/drawing/2014/main" id="{5D799F1D-85AD-30DD-3F67-566B7B6A5D0C}"/>
                </a:ext>
              </a:extLst>
            </p:cNvPr>
            <p:cNvSpPr/>
            <p:nvPr userDrawn="1"/>
          </p:nvSpPr>
          <p:spPr>
            <a:xfrm>
              <a:off x="10872398" y="3084127"/>
              <a:ext cx="216000" cy="216000"/>
            </a:xfrm>
            <a:prstGeom prst="rect">
              <a:avLst/>
            </a:prstGeom>
            <a:solidFill>
              <a:srgbClr val="7E938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8" name="Rectangle 22">
              <a:extLst>
                <a:ext uri="{FF2B5EF4-FFF2-40B4-BE49-F238E27FC236}">
                  <a16:creationId xmlns:a16="http://schemas.microsoft.com/office/drawing/2014/main" id="{0406E5BB-EB64-D649-72AE-879AAF914A33}"/>
                </a:ext>
              </a:extLst>
            </p:cNvPr>
            <p:cNvSpPr/>
            <p:nvPr userDrawn="1"/>
          </p:nvSpPr>
          <p:spPr>
            <a:xfrm>
              <a:off x="11111030" y="3084127"/>
              <a:ext cx="216000" cy="216000"/>
            </a:xfrm>
            <a:prstGeom prst="rect">
              <a:avLst/>
            </a:prstGeom>
            <a:solidFill>
              <a:srgbClr val="B0BEB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69" name="Rectangle 23">
              <a:extLst>
                <a:ext uri="{FF2B5EF4-FFF2-40B4-BE49-F238E27FC236}">
                  <a16:creationId xmlns:a16="http://schemas.microsoft.com/office/drawing/2014/main" id="{D0A30BFA-F627-6F1F-6DBD-A0D30F052FA0}"/>
                </a:ext>
              </a:extLst>
            </p:cNvPr>
            <p:cNvSpPr/>
            <p:nvPr userDrawn="1"/>
          </p:nvSpPr>
          <p:spPr>
            <a:xfrm>
              <a:off x="11349660" y="3084127"/>
              <a:ext cx="216000" cy="216000"/>
            </a:xfrm>
            <a:prstGeom prst="rect">
              <a:avLst/>
            </a:prstGeom>
            <a:solidFill>
              <a:srgbClr val="DCE2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0" name="TextBox 24">
              <a:extLst>
                <a:ext uri="{FF2B5EF4-FFF2-40B4-BE49-F238E27FC236}">
                  <a16:creationId xmlns:a16="http://schemas.microsoft.com/office/drawing/2014/main" id="{2AF4F43D-7CE5-153E-9F96-FA17B8269B5C}"/>
                </a:ext>
              </a:extLst>
            </p:cNvPr>
            <p:cNvSpPr txBox="1"/>
            <p:nvPr userDrawn="1"/>
          </p:nvSpPr>
          <p:spPr>
            <a:xfrm>
              <a:off x="9504778" y="2708766"/>
              <a:ext cx="1007360" cy="215444"/>
            </a:xfrm>
            <a:prstGeom prst="rect">
              <a:avLst/>
            </a:prstGeom>
            <a:noFill/>
          </p:spPr>
          <p:txBody>
            <a:bodyPr wrap="square" rtlCol="0">
              <a:spAutoFit/>
            </a:bodyPr>
            <a:lstStyle/>
            <a:p>
              <a:r>
                <a:rPr kumimoji="1" lang="ja-JP" altLang="en-US" sz="800" u="sng">
                  <a:latin typeface="Noto Sans JP Regular" panose="020B0500000000000000" pitchFamily="34" charset="-128"/>
                  <a:ea typeface="Noto Sans JP Regular" panose="020B0500000000000000" pitchFamily="34" charset="-128"/>
                </a:rPr>
                <a:t>アクセントカラー</a:t>
              </a:r>
              <a:endParaRPr kumimoji="1" lang="ja-JP" altLang="en-US" sz="800" u="sng" dirty="0">
                <a:latin typeface="Noto Sans JP Regular" panose="020B0500000000000000" pitchFamily="34" charset="-128"/>
                <a:ea typeface="Noto Sans JP Regular" panose="020B0500000000000000" pitchFamily="34" charset="-128"/>
              </a:endParaRPr>
            </a:p>
          </p:txBody>
        </p:sp>
        <p:sp>
          <p:nvSpPr>
            <p:cNvPr id="271" name="TextBox 25">
              <a:extLst>
                <a:ext uri="{FF2B5EF4-FFF2-40B4-BE49-F238E27FC236}">
                  <a16:creationId xmlns:a16="http://schemas.microsoft.com/office/drawing/2014/main" id="{DFFB5F44-3AB9-8B19-2CE4-6BE9F597EC2E}"/>
                </a:ext>
              </a:extLst>
            </p:cNvPr>
            <p:cNvSpPr txBox="1"/>
            <p:nvPr userDrawn="1"/>
          </p:nvSpPr>
          <p:spPr>
            <a:xfrm>
              <a:off x="9647178" y="308412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age</a:t>
              </a:r>
              <a:endParaRPr kumimoji="1" lang="ja-JP" altLang="en-US" sz="800" b="1" dirty="0">
                <a:latin typeface="Arial" panose="020B0604020202020204" pitchFamily="34" charset="0"/>
                <a:cs typeface="Arial" panose="020B0604020202020204" pitchFamily="34" charset="0"/>
              </a:endParaRPr>
            </a:p>
          </p:txBody>
        </p:sp>
        <p:sp>
          <p:nvSpPr>
            <p:cNvPr id="272" name="TextBox 26">
              <a:extLst>
                <a:ext uri="{FF2B5EF4-FFF2-40B4-BE49-F238E27FC236}">
                  <a16:creationId xmlns:a16="http://schemas.microsoft.com/office/drawing/2014/main" id="{F76B44CA-E8D6-5567-F722-B6DF4E0245E1}"/>
                </a:ext>
              </a:extLst>
            </p:cNvPr>
            <p:cNvSpPr txBox="1"/>
            <p:nvPr userDrawn="1"/>
          </p:nvSpPr>
          <p:spPr>
            <a:xfrm>
              <a:off x="10321637" y="2914850"/>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273" name="TextBox 27">
              <a:extLst>
                <a:ext uri="{FF2B5EF4-FFF2-40B4-BE49-F238E27FC236}">
                  <a16:creationId xmlns:a16="http://schemas.microsoft.com/office/drawing/2014/main" id="{B55EF5AC-F08C-9DE8-D5E7-60736D76DF3C}"/>
                </a:ext>
              </a:extLst>
            </p:cNvPr>
            <p:cNvSpPr txBox="1"/>
            <p:nvPr userDrawn="1"/>
          </p:nvSpPr>
          <p:spPr>
            <a:xfrm>
              <a:off x="10566016"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5%</a:t>
              </a:r>
              <a:endParaRPr kumimoji="1" lang="ja-JP" altLang="en-US" sz="500" dirty="0">
                <a:latin typeface="Arial" panose="020B0604020202020204" pitchFamily="34" charset="0"/>
                <a:cs typeface="Arial" panose="020B0604020202020204" pitchFamily="34" charset="0"/>
              </a:endParaRPr>
            </a:p>
          </p:txBody>
        </p:sp>
        <p:sp>
          <p:nvSpPr>
            <p:cNvPr id="274" name="TextBox 28">
              <a:extLst>
                <a:ext uri="{FF2B5EF4-FFF2-40B4-BE49-F238E27FC236}">
                  <a16:creationId xmlns:a16="http://schemas.microsoft.com/office/drawing/2014/main" id="{36D9524D-5A2A-1B3F-841E-387832BDC887}"/>
                </a:ext>
              </a:extLst>
            </p:cNvPr>
            <p:cNvSpPr txBox="1"/>
            <p:nvPr userDrawn="1"/>
          </p:nvSpPr>
          <p:spPr>
            <a:xfrm>
              <a:off x="10786804"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5%</a:t>
              </a:r>
              <a:endParaRPr kumimoji="1" lang="ja-JP" altLang="en-US" sz="500" dirty="0">
                <a:latin typeface="Arial" panose="020B0604020202020204" pitchFamily="34" charset="0"/>
                <a:cs typeface="Arial" panose="020B0604020202020204" pitchFamily="34" charset="0"/>
              </a:endParaRPr>
            </a:p>
          </p:txBody>
        </p:sp>
        <p:sp>
          <p:nvSpPr>
            <p:cNvPr id="275" name="TextBox 29">
              <a:extLst>
                <a:ext uri="{FF2B5EF4-FFF2-40B4-BE49-F238E27FC236}">
                  <a16:creationId xmlns:a16="http://schemas.microsoft.com/office/drawing/2014/main" id="{0E92E5E0-8D7D-7112-F507-CF6647540034}"/>
                </a:ext>
              </a:extLst>
            </p:cNvPr>
            <p:cNvSpPr txBox="1"/>
            <p:nvPr userDrawn="1"/>
          </p:nvSpPr>
          <p:spPr>
            <a:xfrm>
              <a:off x="11012883"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5%</a:t>
              </a:r>
              <a:endParaRPr kumimoji="1" lang="ja-JP" altLang="en-US" sz="500" dirty="0">
                <a:latin typeface="Arial" panose="020B0604020202020204" pitchFamily="34" charset="0"/>
                <a:cs typeface="Arial" panose="020B0604020202020204" pitchFamily="34" charset="0"/>
              </a:endParaRPr>
            </a:p>
          </p:txBody>
        </p:sp>
        <p:sp>
          <p:nvSpPr>
            <p:cNvPr id="276" name="TextBox 30">
              <a:extLst>
                <a:ext uri="{FF2B5EF4-FFF2-40B4-BE49-F238E27FC236}">
                  <a16:creationId xmlns:a16="http://schemas.microsoft.com/office/drawing/2014/main" id="{48D8A996-1D19-3064-13E2-B23213E013AC}"/>
                </a:ext>
              </a:extLst>
            </p:cNvPr>
            <p:cNvSpPr txBox="1"/>
            <p:nvPr userDrawn="1"/>
          </p:nvSpPr>
          <p:spPr>
            <a:xfrm>
              <a:off x="11235251" y="2914850"/>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277" name="Rectangle 31">
              <a:extLst>
                <a:ext uri="{FF2B5EF4-FFF2-40B4-BE49-F238E27FC236}">
                  <a16:creationId xmlns:a16="http://schemas.microsoft.com/office/drawing/2014/main" id="{21CE28F2-6256-6EC7-64BE-184105CBB916}"/>
                </a:ext>
              </a:extLst>
            </p:cNvPr>
            <p:cNvSpPr/>
            <p:nvPr userDrawn="1"/>
          </p:nvSpPr>
          <p:spPr>
            <a:xfrm>
              <a:off x="10395134" y="3340155"/>
              <a:ext cx="216000" cy="216000"/>
            </a:xfrm>
            <a:prstGeom prst="rect">
              <a:avLst/>
            </a:prstGeom>
            <a:solidFill>
              <a:srgbClr val="72933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8" name="Rectangle 32">
              <a:extLst>
                <a:ext uri="{FF2B5EF4-FFF2-40B4-BE49-F238E27FC236}">
                  <a16:creationId xmlns:a16="http://schemas.microsoft.com/office/drawing/2014/main" id="{13846D9A-CF4F-04B4-75ED-B17F54B69131}"/>
                </a:ext>
              </a:extLst>
            </p:cNvPr>
            <p:cNvSpPr/>
            <p:nvPr userDrawn="1"/>
          </p:nvSpPr>
          <p:spPr>
            <a:xfrm>
              <a:off x="10391043" y="3596183"/>
              <a:ext cx="216000" cy="216000"/>
            </a:xfrm>
            <a:prstGeom prst="rect">
              <a:avLst/>
            </a:prstGeom>
            <a:solidFill>
              <a:srgbClr val="00487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79" name="Rectangle 33">
              <a:extLst>
                <a:ext uri="{FF2B5EF4-FFF2-40B4-BE49-F238E27FC236}">
                  <a16:creationId xmlns:a16="http://schemas.microsoft.com/office/drawing/2014/main" id="{30DC4746-BE56-7FFB-5430-F67937BFACD9}"/>
                </a:ext>
              </a:extLst>
            </p:cNvPr>
            <p:cNvSpPr/>
            <p:nvPr userDrawn="1"/>
          </p:nvSpPr>
          <p:spPr>
            <a:xfrm>
              <a:off x="10391043" y="3852211"/>
              <a:ext cx="216000" cy="216000"/>
            </a:xfrm>
            <a:prstGeom prst="rect">
              <a:avLst/>
            </a:prstGeom>
            <a:solidFill>
              <a:srgbClr val="00A0C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0" name="Rectangle 34">
              <a:extLst>
                <a:ext uri="{FF2B5EF4-FFF2-40B4-BE49-F238E27FC236}">
                  <a16:creationId xmlns:a16="http://schemas.microsoft.com/office/drawing/2014/main" id="{8F9F3B47-B7AC-557B-76BB-5C6F61B1B19E}"/>
                </a:ext>
              </a:extLst>
            </p:cNvPr>
            <p:cNvSpPr/>
            <p:nvPr userDrawn="1"/>
          </p:nvSpPr>
          <p:spPr>
            <a:xfrm>
              <a:off x="10391043" y="4108239"/>
              <a:ext cx="216000" cy="216000"/>
            </a:xfrm>
            <a:prstGeom prst="rect">
              <a:avLst/>
            </a:prstGeom>
            <a:solidFill>
              <a:srgbClr val="44276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1" name="Rectangle 35">
              <a:extLst>
                <a:ext uri="{FF2B5EF4-FFF2-40B4-BE49-F238E27FC236}">
                  <a16:creationId xmlns:a16="http://schemas.microsoft.com/office/drawing/2014/main" id="{5CE0C006-E8C4-A658-4355-B14F9404F0C5}"/>
                </a:ext>
              </a:extLst>
            </p:cNvPr>
            <p:cNvSpPr/>
            <p:nvPr userDrawn="1"/>
          </p:nvSpPr>
          <p:spPr>
            <a:xfrm>
              <a:off x="10391043" y="4364267"/>
              <a:ext cx="216000" cy="216000"/>
            </a:xfrm>
            <a:prstGeom prst="rect">
              <a:avLst/>
            </a:prstGeom>
            <a:solidFill>
              <a:srgbClr val="735A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2" name="Rectangle 36">
              <a:extLst>
                <a:ext uri="{FF2B5EF4-FFF2-40B4-BE49-F238E27FC236}">
                  <a16:creationId xmlns:a16="http://schemas.microsoft.com/office/drawing/2014/main" id="{FD59CCCB-7510-E7A2-C3F6-2E4B09FA16E1}"/>
                </a:ext>
              </a:extLst>
            </p:cNvPr>
            <p:cNvSpPr/>
            <p:nvPr userDrawn="1"/>
          </p:nvSpPr>
          <p:spPr>
            <a:xfrm>
              <a:off x="10391043" y="4620295"/>
              <a:ext cx="216000" cy="216000"/>
            </a:xfrm>
            <a:prstGeom prst="rect">
              <a:avLst/>
            </a:prstGeom>
            <a:solidFill>
              <a:srgbClr val="8A1D4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3" name="Rectangle 37">
              <a:extLst>
                <a:ext uri="{FF2B5EF4-FFF2-40B4-BE49-F238E27FC236}">
                  <a16:creationId xmlns:a16="http://schemas.microsoft.com/office/drawing/2014/main" id="{21F8CBA5-B14C-8088-2205-2335EA016120}"/>
                </a:ext>
              </a:extLst>
            </p:cNvPr>
            <p:cNvSpPr/>
            <p:nvPr userDrawn="1"/>
          </p:nvSpPr>
          <p:spPr>
            <a:xfrm>
              <a:off x="10386952" y="4876323"/>
              <a:ext cx="216000" cy="216000"/>
            </a:xfrm>
            <a:prstGeom prst="rect">
              <a:avLst/>
            </a:prstGeom>
            <a:solidFill>
              <a:srgbClr val="C3558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4" name="Rectangle 38">
              <a:extLst>
                <a:ext uri="{FF2B5EF4-FFF2-40B4-BE49-F238E27FC236}">
                  <a16:creationId xmlns:a16="http://schemas.microsoft.com/office/drawing/2014/main" id="{2FE6F6CB-E579-4CCE-B378-59CEF3EC2B54}"/>
                </a:ext>
              </a:extLst>
            </p:cNvPr>
            <p:cNvSpPr/>
            <p:nvPr userDrawn="1"/>
          </p:nvSpPr>
          <p:spPr>
            <a:xfrm>
              <a:off x="10386952" y="5132351"/>
              <a:ext cx="216000" cy="216000"/>
            </a:xfrm>
            <a:prstGeom prst="rect">
              <a:avLst/>
            </a:prstGeom>
            <a:solidFill>
              <a:srgbClr val="9E532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5" name="Rectangle 39">
              <a:extLst>
                <a:ext uri="{FF2B5EF4-FFF2-40B4-BE49-F238E27FC236}">
                  <a16:creationId xmlns:a16="http://schemas.microsoft.com/office/drawing/2014/main" id="{C5F81DAB-98E2-A9CC-2845-B7972BD3D77A}"/>
                </a:ext>
              </a:extLst>
            </p:cNvPr>
            <p:cNvSpPr/>
            <p:nvPr userDrawn="1"/>
          </p:nvSpPr>
          <p:spPr>
            <a:xfrm>
              <a:off x="10386952" y="5388383"/>
              <a:ext cx="216000" cy="216000"/>
            </a:xfrm>
            <a:prstGeom prst="rect">
              <a:avLst/>
            </a:prstGeom>
            <a:solidFill>
              <a:srgbClr val="DC6F0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6" name="Rectangle 40">
              <a:extLst>
                <a:ext uri="{FF2B5EF4-FFF2-40B4-BE49-F238E27FC236}">
                  <a16:creationId xmlns:a16="http://schemas.microsoft.com/office/drawing/2014/main" id="{2D306D44-DB59-3C78-5A01-7FF114D03E31}"/>
                </a:ext>
              </a:extLst>
            </p:cNvPr>
            <p:cNvSpPr/>
            <p:nvPr userDrawn="1"/>
          </p:nvSpPr>
          <p:spPr>
            <a:xfrm>
              <a:off x="10386952" y="6037229"/>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7" name="Rectangle 41">
              <a:extLst>
                <a:ext uri="{FF2B5EF4-FFF2-40B4-BE49-F238E27FC236}">
                  <a16:creationId xmlns:a16="http://schemas.microsoft.com/office/drawing/2014/main" id="{A0670E9E-A364-5C5B-BF9D-A52195CB0DA8}"/>
                </a:ext>
              </a:extLst>
            </p:cNvPr>
            <p:cNvSpPr/>
            <p:nvPr userDrawn="1"/>
          </p:nvSpPr>
          <p:spPr>
            <a:xfrm>
              <a:off x="10633766" y="6037229"/>
              <a:ext cx="216000" cy="216000"/>
            </a:xfrm>
            <a:prstGeom prst="rect">
              <a:avLst/>
            </a:prstGeom>
            <a:solidFill>
              <a:srgbClr val="22222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8" name="Rectangle 42">
              <a:extLst>
                <a:ext uri="{FF2B5EF4-FFF2-40B4-BE49-F238E27FC236}">
                  <a16:creationId xmlns:a16="http://schemas.microsoft.com/office/drawing/2014/main" id="{771B6440-0689-0A2C-9A12-815BFB05E5F0}"/>
                </a:ext>
              </a:extLst>
            </p:cNvPr>
            <p:cNvSpPr/>
            <p:nvPr userDrawn="1"/>
          </p:nvSpPr>
          <p:spPr>
            <a:xfrm>
              <a:off x="10872398" y="6037229"/>
              <a:ext cx="216000" cy="216000"/>
            </a:xfrm>
            <a:prstGeom prst="rect">
              <a:avLst/>
            </a:prstGeom>
            <a:solidFill>
              <a:srgbClr val="44444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89" name="Rectangle 43">
              <a:extLst>
                <a:ext uri="{FF2B5EF4-FFF2-40B4-BE49-F238E27FC236}">
                  <a16:creationId xmlns:a16="http://schemas.microsoft.com/office/drawing/2014/main" id="{E3A4DEB2-1F00-3791-6024-EE083465E713}"/>
                </a:ext>
              </a:extLst>
            </p:cNvPr>
            <p:cNvSpPr/>
            <p:nvPr userDrawn="1"/>
          </p:nvSpPr>
          <p:spPr>
            <a:xfrm>
              <a:off x="11111030" y="6037229"/>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0" name="Rectangle 44">
              <a:extLst>
                <a:ext uri="{FF2B5EF4-FFF2-40B4-BE49-F238E27FC236}">
                  <a16:creationId xmlns:a16="http://schemas.microsoft.com/office/drawing/2014/main" id="{539ED3F6-E7EB-057A-CA23-3A12274412D2}"/>
                </a:ext>
              </a:extLst>
            </p:cNvPr>
            <p:cNvSpPr/>
            <p:nvPr userDrawn="1"/>
          </p:nvSpPr>
          <p:spPr>
            <a:xfrm>
              <a:off x="11349660" y="6037229"/>
              <a:ext cx="216000" cy="216000"/>
            </a:xfrm>
            <a:prstGeom prst="rect">
              <a:avLst/>
            </a:prstGeom>
            <a:solidFill>
              <a:srgbClr val="70707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1" name="TextBox 45">
              <a:extLst>
                <a:ext uri="{FF2B5EF4-FFF2-40B4-BE49-F238E27FC236}">
                  <a16:creationId xmlns:a16="http://schemas.microsoft.com/office/drawing/2014/main" id="{99FA0801-A7EB-B6AC-2E52-629F1B8D58E9}"/>
                </a:ext>
              </a:extLst>
            </p:cNvPr>
            <p:cNvSpPr txBox="1"/>
            <p:nvPr userDrawn="1"/>
          </p:nvSpPr>
          <p:spPr>
            <a:xfrm>
              <a:off x="9515094" y="5748399"/>
              <a:ext cx="882502" cy="215444"/>
            </a:xfrm>
            <a:prstGeom prst="rect">
              <a:avLst/>
            </a:prstGeom>
            <a:noFill/>
          </p:spPr>
          <p:txBody>
            <a:bodyPr wrap="square" rtlCol="0">
              <a:spAutoFit/>
            </a:bodyPr>
            <a:lstStyle/>
            <a:p>
              <a:r>
                <a:rPr kumimoji="1" lang="ja-JP" altLang="en-US" sz="800" b="0" u="sng">
                  <a:latin typeface="Noto Sans JP Regular" panose="020B0500000000000000" pitchFamily="34" charset="-128"/>
                  <a:ea typeface="Noto Sans JP Regular" panose="020B0500000000000000" pitchFamily="34" charset="-128"/>
                </a:rPr>
                <a:t>モノクローム</a:t>
              </a:r>
              <a:endParaRPr kumimoji="1" lang="ja-JP" altLang="en-US" sz="800" b="0" u="sng" dirty="0">
                <a:latin typeface="Noto Sans JP Regular" panose="020B0500000000000000" pitchFamily="34" charset="-128"/>
                <a:ea typeface="Noto Sans JP Regular" panose="020B0500000000000000" pitchFamily="34" charset="-128"/>
              </a:endParaRPr>
            </a:p>
          </p:txBody>
        </p:sp>
        <p:sp>
          <p:nvSpPr>
            <p:cNvPr id="292" name="TextBox 46">
              <a:extLst>
                <a:ext uri="{FF2B5EF4-FFF2-40B4-BE49-F238E27FC236}">
                  <a16:creationId xmlns:a16="http://schemas.microsoft.com/office/drawing/2014/main" id="{7174A116-2145-4747-24CE-C73A11425937}"/>
                </a:ext>
              </a:extLst>
            </p:cNvPr>
            <p:cNvSpPr txBox="1"/>
            <p:nvPr userDrawn="1"/>
          </p:nvSpPr>
          <p:spPr>
            <a:xfrm>
              <a:off x="9647178" y="6037229"/>
              <a:ext cx="694346" cy="215444"/>
            </a:xfrm>
            <a:prstGeom prst="rect">
              <a:avLst/>
            </a:prstGeom>
            <a:noFill/>
          </p:spPr>
          <p:txBody>
            <a:bodyPr wrap="square" rtlCol="0">
              <a:spAutoFit/>
            </a:bodyPr>
            <a:lstStyle/>
            <a:p>
              <a:pPr algn="r"/>
              <a:r>
                <a:rPr kumimoji="1" lang="ja-JP" altLang="en-US" sz="800" b="1">
                  <a:latin typeface="Noto Sans JP Bold" panose="020B0500000000000000" pitchFamily="34" charset="-128"/>
                  <a:ea typeface="Noto Sans JP Bold" panose="020B0500000000000000" pitchFamily="34" charset="-128"/>
                  <a:cs typeface="Arial" panose="020B0604020202020204" pitchFamily="34" charset="0"/>
                </a:rPr>
                <a:t>ダーク</a:t>
              </a:r>
              <a:endParaRPr kumimoji="1" lang="ja-JP" altLang="en-US" sz="800" b="1" dirty="0">
                <a:latin typeface="Noto Sans JP Bold" panose="020B0500000000000000" pitchFamily="34" charset="-128"/>
                <a:ea typeface="Noto Sans JP Bold" panose="020B0500000000000000" pitchFamily="34" charset="-128"/>
                <a:cs typeface="Arial" panose="020B0604020202020204" pitchFamily="34" charset="0"/>
              </a:endParaRPr>
            </a:p>
          </p:txBody>
        </p:sp>
        <p:sp>
          <p:nvSpPr>
            <p:cNvPr id="293" name="TextBox 47">
              <a:extLst>
                <a:ext uri="{FF2B5EF4-FFF2-40B4-BE49-F238E27FC236}">
                  <a16:creationId xmlns:a16="http://schemas.microsoft.com/office/drawing/2014/main" id="{5AEC63FA-C759-AD9F-F872-88EA2365460B}"/>
                </a:ext>
              </a:extLst>
            </p:cNvPr>
            <p:cNvSpPr txBox="1"/>
            <p:nvPr userDrawn="1"/>
          </p:nvSpPr>
          <p:spPr>
            <a:xfrm>
              <a:off x="10321637" y="5893352"/>
              <a:ext cx="348172"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00%</a:t>
              </a:r>
              <a:endParaRPr kumimoji="1" lang="ja-JP" altLang="en-US" sz="500" dirty="0">
                <a:latin typeface="Arial" panose="020B0604020202020204" pitchFamily="34" charset="0"/>
                <a:cs typeface="Arial" panose="020B0604020202020204" pitchFamily="34" charset="0"/>
              </a:endParaRPr>
            </a:p>
          </p:txBody>
        </p:sp>
        <p:sp>
          <p:nvSpPr>
            <p:cNvPr id="294" name="TextBox 48">
              <a:extLst>
                <a:ext uri="{FF2B5EF4-FFF2-40B4-BE49-F238E27FC236}">
                  <a16:creationId xmlns:a16="http://schemas.microsoft.com/office/drawing/2014/main" id="{B10A1F2F-5096-7197-5EC1-8552AE3DA156}"/>
                </a:ext>
              </a:extLst>
            </p:cNvPr>
            <p:cNvSpPr txBox="1"/>
            <p:nvPr userDrawn="1"/>
          </p:nvSpPr>
          <p:spPr>
            <a:xfrm>
              <a:off x="10588807"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90%</a:t>
              </a:r>
              <a:endParaRPr kumimoji="1" lang="ja-JP" altLang="en-US" sz="500" dirty="0">
                <a:latin typeface="Arial" panose="020B0604020202020204" pitchFamily="34" charset="0"/>
                <a:cs typeface="Arial" panose="020B0604020202020204" pitchFamily="34" charset="0"/>
              </a:endParaRPr>
            </a:p>
          </p:txBody>
        </p:sp>
        <p:sp>
          <p:nvSpPr>
            <p:cNvPr id="295" name="TextBox 49">
              <a:extLst>
                <a:ext uri="{FF2B5EF4-FFF2-40B4-BE49-F238E27FC236}">
                  <a16:creationId xmlns:a16="http://schemas.microsoft.com/office/drawing/2014/main" id="{D3B3B608-26BF-7A13-6C21-15B90B168C57}"/>
                </a:ext>
              </a:extLst>
            </p:cNvPr>
            <p:cNvSpPr txBox="1"/>
            <p:nvPr userDrawn="1"/>
          </p:nvSpPr>
          <p:spPr>
            <a:xfrm>
              <a:off x="10821729"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80%</a:t>
              </a:r>
              <a:endParaRPr kumimoji="1" lang="ja-JP" altLang="en-US" sz="500" dirty="0">
                <a:latin typeface="Arial" panose="020B0604020202020204" pitchFamily="34" charset="0"/>
                <a:cs typeface="Arial" panose="020B0604020202020204" pitchFamily="34" charset="0"/>
              </a:endParaRPr>
            </a:p>
          </p:txBody>
        </p:sp>
        <p:sp>
          <p:nvSpPr>
            <p:cNvPr id="296" name="TextBox 50">
              <a:extLst>
                <a:ext uri="{FF2B5EF4-FFF2-40B4-BE49-F238E27FC236}">
                  <a16:creationId xmlns:a16="http://schemas.microsoft.com/office/drawing/2014/main" id="{30F34EF2-E9DB-954D-18E3-A1CFB8AF2E04}"/>
                </a:ext>
              </a:extLst>
            </p:cNvPr>
            <p:cNvSpPr txBox="1"/>
            <p:nvPr userDrawn="1"/>
          </p:nvSpPr>
          <p:spPr>
            <a:xfrm>
              <a:off x="11057333"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70%</a:t>
              </a:r>
              <a:endParaRPr kumimoji="1" lang="ja-JP" altLang="en-US" sz="500" dirty="0">
                <a:latin typeface="Arial" panose="020B0604020202020204" pitchFamily="34" charset="0"/>
                <a:cs typeface="Arial" panose="020B0604020202020204" pitchFamily="34" charset="0"/>
              </a:endParaRPr>
            </a:p>
          </p:txBody>
        </p:sp>
        <p:sp>
          <p:nvSpPr>
            <p:cNvPr id="297" name="TextBox 51">
              <a:extLst>
                <a:ext uri="{FF2B5EF4-FFF2-40B4-BE49-F238E27FC236}">
                  <a16:creationId xmlns:a16="http://schemas.microsoft.com/office/drawing/2014/main" id="{CE9D59A8-9D4C-8B5A-67D1-A07E135EED57}"/>
                </a:ext>
              </a:extLst>
            </p:cNvPr>
            <p:cNvSpPr txBox="1"/>
            <p:nvPr userDrawn="1"/>
          </p:nvSpPr>
          <p:spPr>
            <a:xfrm>
              <a:off x="11293503" y="5893352"/>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60%</a:t>
              </a:r>
              <a:endParaRPr kumimoji="1" lang="ja-JP" altLang="en-US" sz="500" dirty="0">
                <a:latin typeface="Arial" panose="020B0604020202020204" pitchFamily="34" charset="0"/>
                <a:cs typeface="Arial" panose="020B0604020202020204" pitchFamily="34" charset="0"/>
              </a:endParaRPr>
            </a:p>
          </p:txBody>
        </p:sp>
        <p:sp>
          <p:nvSpPr>
            <p:cNvPr id="298" name="Rectangle 52">
              <a:extLst>
                <a:ext uri="{FF2B5EF4-FFF2-40B4-BE49-F238E27FC236}">
                  <a16:creationId xmlns:a16="http://schemas.microsoft.com/office/drawing/2014/main" id="{FE488FFC-CAFC-48D4-B072-88FE3123C904}"/>
                </a:ext>
              </a:extLst>
            </p:cNvPr>
            <p:cNvSpPr/>
            <p:nvPr userDrawn="1"/>
          </p:nvSpPr>
          <p:spPr>
            <a:xfrm>
              <a:off x="10386952" y="6397269"/>
              <a:ext cx="216000" cy="216000"/>
            </a:xfrm>
            <a:prstGeom prst="rect">
              <a:avLst/>
            </a:prstGeom>
            <a:solidFill>
              <a:srgbClr val="80808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299" name="Rectangle 53">
              <a:extLst>
                <a:ext uri="{FF2B5EF4-FFF2-40B4-BE49-F238E27FC236}">
                  <a16:creationId xmlns:a16="http://schemas.microsoft.com/office/drawing/2014/main" id="{57D09487-44A3-01ED-EC21-33BD475D7F43}"/>
                </a:ext>
              </a:extLst>
            </p:cNvPr>
            <p:cNvSpPr/>
            <p:nvPr userDrawn="1"/>
          </p:nvSpPr>
          <p:spPr>
            <a:xfrm>
              <a:off x="10633766" y="6397269"/>
              <a:ext cx="216000" cy="216000"/>
            </a:xfrm>
            <a:prstGeom prst="rect">
              <a:avLst/>
            </a:prstGeom>
            <a:solidFill>
              <a:srgbClr val="99999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0" name="Rectangle 54">
              <a:extLst>
                <a:ext uri="{FF2B5EF4-FFF2-40B4-BE49-F238E27FC236}">
                  <a16:creationId xmlns:a16="http://schemas.microsoft.com/office/drawing/2014/main" id="{091E5069-269B-A571-DB4B-23FFBF935EB0}"/>
                </a:ext>
              </a:extLst>
            </p:cNvPr>
            <p:cNvSpPr/>
            <p:nvPr userDrawn="1"/>
          </p:nvSpPr>
          <p:spPr>
            <a:xfrm>
              <a:off x="10872398" y="6397269"/>
              <a:ext cx="216000" cy="216000"/>
            </a:xfrm>
            <a:prstGeom prst="rect">
              <a:avLst/>
            </a:prstGeom>
            <a:solidFill>
              <a:srgbClr val="B2B2B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1" name="Rectangle 55">
              <a:extLst>
                <a:ext uri="{FF2B5EF4-FFF2-40B4-BE49-F238E27FC236}">
                  <a16:creationId xmlns:a16="http://schemas.microsoft.com/office/drawing/2014/main" id="{95227746-A04F-9F76-CD50-B119CF6A1F1E}"/>
                </a:ext>
              </a:extLst>
            </p:cNvPr>
            <p:cNvSpPr/>
            <p:nvPr userDrawn="1"/>
          </p:nvSpPr>
          <p:spPr>
            <a:xfrm>
              <a:off x="11111030" y="6397269"/>
              <a:ext cx="216000" cy="216000"/>
            </a:xfrm>
            <a:prstGeom prst="rect">
              <a:avLst/>
            </a:prstGeom>
            <a:solidFill>
              <a:srgbClr val="D9D9D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2" name="Rectangle 56">
              <a:extLst>
                <a:ext uri="{FF2B5EF4-FFF2-40B4-BE49-F238E27FC236}">
                  <a16:creationId xmlns:a16="http://schemas.microsoft.com/office/drawing/2014/main" id="{77EEC082-BEB3-0F45-90DF-66103FB73502}"/>
                </a:ext>
              </a:extLst>
            </p:cNvPr>
            <p:cNvSpPr/>
            <p:nvPr userDrawn="1"/>
          </p:nvSpPr>
          <p:spPr>
            <a:xfrm>
              <a:off x="11349660" y="6397269"/>
              <a:ext cx="216000" cy="216000"/>
            </a:xfrm>
            <a:prstGeom prst="rect">
              <a:avLst/>
            </a:prstGeom>
            <a:solidFill>
              <a:srgbClr val="F2F2F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03" name="TextBox 57">
              <a:extLst>
                <a:ext uri="{FF2B5EF4-FFF2-40B4-BE49-F238E27FC236}">
                  <a16:creationId xmlns:a16="http://schemas.microsoft.com/office/drawing/2014/main" id="{5BB6510B-6E4C-AE49-6645-1CB36A71D4B3}"/>
                </a:ext>
              </a:extLst>
            </p:cNvPr>
            <p:cNvSpPr txBox="1"/>
            <p:nvPr userDrawn="1"/>
          </p:nvSpPr>
          <p:spPr>
            <a:xfrm>
              <a:off x="9647178" y="6397269"/>
              <a:ext cx="694346" cy="215444"/>
            </a:xfrm>
            <a:prstGeom prst="rect">
              <a:avLst/>
            </a:prstGeom>
            <a:noFill/>
          </p:spPr>
          <p:txBody>
            <a:bodyPr wrap="square" rtlCol="0">
              <a:spAutoFit/>
            </a:bodyPr>
            <a:lstStyle/>
            <a:p>
              <a:pPr algn="r"/>
              <a:r>
                <a:rPr kumimoji="1" lang="ja-JP" altLang="en-US" sz="800" b="1">
                  <a:latin typeface="Noto Sans JP Bold" panose="020B0500000000000000" pitchFamily="34" charset="-128"/>
                  <a:ea typeface="Noto Sans JP Bold" panose="020B0500000000000000" pitchFamily="34" charset="-128"/>
                  <a:cs typeface="Arial" panose="020B0604020202020204" pitchFamily="34" charset="0"/>
                </a:rPr>
                <a:t>ライト</a:t>
              </a:r>
              <a:endParaRPr kumimoji="1" lang="ja-JP" altLang="en-US" sz="800" b="1" dirty="0">
                <a:latin typeface="Noto Sans JP Bold" panose="020B0500000000000000" pitchFamily="34" charset="-128"/>
                <a:ea typeface="Noto Sans JP Bold" panose="020B0500000000000000" pitchFamily="34" charset="-128"/>
                <a:cs typeface="Arial" panose="020B0604020202020204" pitchFamily="34" charset="0"/>
              </a:endParaRPr>
            </a:p>
          </p:txBody>
        </p:sp>
        <p:sp>
          <p:nvSpPr>
            <p:cNvPr id="304" name="TextBox 58">
              <a:extLst>
                <a:ext uri="{FF2B5EF4-FFF2-40B4-BE49-F238E27FC236}">
                  <a16:creationId xmlns:a16="http://schemas.microsoft.com/office/drawing/2014/main" id="{FA5361B5-9652-ECCB-6F97-B83D61831D3F}"/>
                </a:ext>
              </a:extLst>
            </p:cNvPr>
            <p:cNvSpPr txBox="1"/>
            <p:nvPr userDrawn="1"/>
          </p:nvSpPr>
          <p:spPr>
            <a:xfrm>
              <a:off x="10345757"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0%</a:t>
              </a:r>
              <a:endParaRPr kumimoji="1" lang="ja-JP" altLang="en-US" sz="500" dirty="0">
                <a:latin typeface="Arial" panose="020B0604020202020204" pitchFamily="34" charset="0"/>
                <a:cs typeface="Arial" panose="020B0604020202020204" pitchFamily="34" charset="0"/>
              </a:endParaRPr>
            </a:p>
          </p:txBody>
        </p:sp>
        <p:sp>
          <p:nvSpPr>
            <p:cNvPr id="305" name="TextBox 59">
              <a:extLst>
                <a:ext uri="{FF2B5EF4-FFF2-40B4-BE49-F238E27FC236}">
                  <a16:creationId xmlns:a16="http://schemas.microsoft.com/office/drawing/2014/main" id="{30C75AD2-9CB5-70EB-6905-887FDBAA09A7}"/>
                </a:ext>
              </a:extLst>
            </p:cNvPr>
            <p:cNvSpPr txBox="1"/>
            <p:nvPr userDrawn="1"/>
          </p:nvSpPr>
          <p:spPr>
            <a:xfrm>
              <a:off x="10588807"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40%</a:t>
              </a:r>
              <a:endParaRPr kumimoji="1" lang="ja-JP" altLang="en-US" sz="500" dirty="0">
                <a:latin typeface="Arial" panose="020B0604020202020204" pitchFamily="34" charset="0"/>
                <a:cs typeface="Arial" panose="020B0604020202020204" pitchFamily="34" charset="0"/>
              </a:endParaRPr>
            </a:p>
          </p:txBody>
        </p:sp>
        <p:sp>
          <p:nvSpPr>
            <p:cNvPr id="306" name="TextBox 60">
              <a:extLst>
                <a:ext uri="{FF2B5EF4-FFF2-40B4-BE49-F238E27FC236}">
                  <a16:creationId xmlns:a16="http://schemas.microsoft.com/office/drawing/2014/main" id="{0C47C259-8705-E357-8B5B-EB648DA9EBC3}"/>
                </a:ext>
              </a:extLst>
            </p:cNvPr>
            <p:cNvSpPr txBox="1"/>
            <p:nvPr userDrawn="1"/>
          </p:nvSpPr>
          <p:spPr>
            <a:xfrm>
              <a:off x="10821729"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30%</a:t>
              </a:r>
              <a:endParaRPr kumimoji="1" lang="ja-JP" altLang="en-US" sz="500" dirty="0">
                <a:latin typeface="Arial" panose="020B0604020202020204" pitchFamily="34" charset="0"/>
                <a:cs typeface="Arial" panose="020B0604020202020204" pitchFamily="34" charset="0"/>
              </a:endParaRPr>
            </a:p>
          </p:txBody>
        </p:sp>
        <p:sp>
          <p:nvSpPr>
            <p:cNvPr id="307" name="TextBox 61">
              <a:extLst>
                <a:ext uri="{FF2B5EF4-FFF2-40B4-BE49-F238E27FC236}">
                  <a16:creationId xmlns:a16="http://schemas.microsoft.com/office/drawing/2014/main" id="{B347016D-A988-760A-2243-0DD1622BFA6F}"/>
                </a:ext>
              </a:extLst>
            </p:cNvPr>
            <p:cNvSpPr txBox="1"/>
            <p:nvPr userDrawn="1"/>
          </p:nvSpPr>
          <p:spPr>
            <a:xfrm>
              <a:off x="11057333" y="6274739"/>
              <a:ext cx="312906"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15%</a:t>
              </a:r>
              <a:endParaRPr kumimoji="1" lang="ja-JP" altLang="en-US" sz="500" dirty="0">
                <a:latin typeface="Arial" panose="020B0604020202020204" pitchFamily="34" charset="0"/>
                <a:cs typeface="Arial" panose="020B0604020202020204" pitchFamily="34" charset="0"/>
              </a:endParaRPr>
            </a:p>
          </p:txBody>
        </p:sp>
        <p:sp>
          <p:nvSpPr>
            <p:cNvPr id="308" name="TextBox 62">
              <a:extLst>
                <a:ext uri="{FF2B5EF4-FFF2-40B4-BE49-F238E27FC236}">
                  <a16:creationId xmlns:a16="http://schemas.microsoft.com/office/drawing/2014/main" id="{BEF3F8F2-6D9D-5F69-C6F9-D32E93FEA61F}"/>
                </a:ext>
              </a:extLst>
            </p:cNvPr>
            <p:cNvSpPr txBox="1"/>
            <p:nvPr userDrawn="1"/>
          </p:nvSpPr>
          <p:spPr>
            <a:xfrm>
              <a:off x="11328769" y="6274739"/>
              <a:ext cx="277640" cy="169277"/>
            </a:xfrm>
            <a:prstGeom prst="rect">
              <a:avLst/>
            </a:prstGeom>
            <a:noFill/>
          </p:spPr>
          <p:txBody>
            <a:bodyPr wrap="none" rtlCol="0">
              <a:spAutoFit/>
            </a:bodyPr>
            <a:lstStyle/>
            <a:p>
              <a:r>
                <a:rPr kumimoji="1" lang="en-US" altLang="ja-JP" sz="500" dirty="0">
                  <a:latin typeface="Arial" panose="020B0604020202020204" pitchFamily="34" charset="0"/>
                  <a:cs typeface="Arial" panose="020B0604020202020204" pitchFamily="34" charset="0"/>
                </a:rPr>
                <a:t>5%</a:t>
              </a:r>
              <a:endParaRPr kumimoji="1" lang="ja-JP" altLang="en-US" sz="500" dirty="0">
                <a:latin typeface="Arial" panose="020B0604020202020204" pitchFamily="34" charset="0"/>
                <a:cs typeface="Arial" panose="020B0604020202020204" pitchFamily="34" charset="0"/>
              </a:endParaRPr>
            </a:p>
          </p:txBody>
        </p:sp>
        <p:sp>
          <p:nvSpPr>
            <p:cNvPr id="309" name="TextBox 63">
              <a:extLst>
                <a:ext uri="{FF2B5EF4-FFF2-40B4-BE49-F238E27FC236}">
                  <a16:creationId xmlns:a16="http://schemas.microsoft.com/office/drawing/2014/main" id="{DB7200A8-BC37-A5B4-8FCF-210CF8AF4C6D}"/>
                </a:ext>
              </a:extLst>
            </p:cNvPr>
            <p:cNvSpPr txBox="1"/>
            <p:nvPr userDrawn="1"/>
          </p:nvSpPr>
          <p:spPr>
            <a:xfrm>
              <a:off x="9647178" y="538838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Honey</a:t>
              </a:r>
              <a:endParaRPr kumimoji="1" lang="ja-JP" altLang="en-US" sz="800" b="1" dirty="0">
                <a:latin typeface="Arial" panose="020B0604020202020204" pitchFamily="34" charset="0"/>
                <a:cs typeface="Arial" panose="020B0604020202020204" pitchFamily="34" charset="0"/>
              </a:endParaRPr>
            </a:p>
          </p:txBody>
        </p:sp>
        <p:sp>
          <p:nvSpPr>
            <p:cNvPr id="310" name="TextBox 64">
              <a:extLst>
                <a:ext uri="{FF2B5EF4-FFF2-40B4-BE49-F238E27FC236}">
                  <a16:creationId xmlns:a16="http://schemas.microsoft.com/office/drawing/2014/main" id="{723D4B10-A79E-731F-AA06-3E3395551956}"/>
                </a:ext>
              </a:extLst>
            </p:cNvPr>
            <p:cNvSpPr txBox="1"/>
            <p:nvPr userDrawn="1"/>
          </p:nvSpPr>
          <p:spPr>
            <a:xfrm>
              <a:off x="9647178" y="334015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Lime</a:t>
              </a:r>
              <a:endParaRPr kumimoji="1" lang="ja-JP" altLang="en-US" sz="800" b="1" dirty="0">
                <a:latin typeface="Arial" panose="020B0604020202020204" pitchFamily="34" charset="0"/>
                <a:cs typeface="Arial" panose="020B0604020202020204" pitchFamily="34" charset="0"/>
              </a:endParaRPr>
            </a:p>
          </p:txBody>
        </p:sp>
        <p:sp>
          <p:nvSpPr>
            <p:cNvPr id="311" name="TextBox 65">
              <a:extLst>
                <a:ext uri="{FF2B5EF4-FFF2-40B4-BE49-F238E27FC236}">
                  <a16:creationId xmlns:a16="http://schemas.microsoft.com/office/drawing/2014/main" id="{4725DB4A-3404-AFB8-5D94-0E2B5C069E3C}"/>
                </a:ext>
              </a:extLst>
            </p:cNvPr>
            <p:cNvSpPr txBox="1"/>
            <p:nvPr userDrawn="1"/>
          </p:nvSpPr>
          <p:spPr>
            <a:xfrm>
              <a:off x="9647178" y="359618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eel</a:t>
              </a:r>
              <a:endParaRPr kumimoji="1" lang="ja-JP" altLang="en-US" sz="800" b="1" dirty="0">
                <a:latin typeface="Arial" panose="020B0604020202020204" pitchFamily="34" charset="0"/>
                <a:cs typeface="Arial" panose="020B0604020202020204" pitchFamily="34" charset="0"/>
              </a:endParaRPr>
            </a:p>
          </p:txBody>
        </p:sp>
        <p:sp>
          <p:nvSpPr>
            <p:cNvPr id="312" name="TextBox 66">
              <a:extLst>
                <a:ext uri="{FF2B5EF4-FFF2-40B4-BE49-F238E27FC236}">
                  <a16:creationId xmlns:a16="http://schemas.microsoft.com/office/drawing/2014/main" id="{D5969CFD-A796-CDDB-0F21-1D3BB3F41F91}"/>
                </a:ext>
              </a:extLst>
            </p:cNvPr>
            <p:cNvSpPr txBox="1"/>
            <p:nvPr userDrawn="1"/>
          </p:nvSpPr>
          <p:spPr>
            <a:xfrm>
              <a:off x="9647178" y="385221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Aqua</a:t>
              </a:r>
              <a:endParaRPr kumimoji="1" lang="ja-JP" altLang="en-US" sz="800" b="1" dirty="0">
                <a:latin typeface="Arial" panose="020B0604020202020204" pitchFamily="34" charset="0"/>
                <a:cs typeface="Arial" panose="020B0604020202020204" pitchFamily="34" charset="0"/>
              </a:endParaRPr>
            </a:p>
          </p:txBody>
        </p:sp>
        <p:sp>
          <p:nvSpPr>
            <p:cNvPr id="313" name="TextBox 67">
              <a:extLst>
                <a:ext uri="{FF2B5EF4-FFF2-40B4-BE49-F238E27FC236}">
                  <a16:creationId xmlns:a16="http://schemas.microsoft.com/office/drawing/2014/main" id="{1A467885-C1F5-DFA0-6CC7-0750AAA7932F}"/>
                </a:ext>
              </a:extLst>
            </p:cNvPr>
            <p:cNvSpPr txBox="1"/>
            <p:nvPr userDrawn="1"/>
          </p:nvSpPr>
          <p:spPr>
            <a:xfrm>
              <a:off x="9647178" y="4108239"/>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lum</a:t>
              </a:r>
              <a:endParaRPr kumimoji="1" lang="ja-JP" altLang="en-US" sz="800" b="1" dirty="0">
                <a:latin typeface="Arial" panose="020B0604020202020204" pitchFamily="34" charset="0"/>
                <a:cs typeface="Arial" panose="020B0604020202020204" pitchFamily="34" charset="0"/>
              </a:endParaRPr>
            </a:p>
          </p:txBody>
        </p:sp>
        <p:sp>
          <p:nvSpPr>
            <p:cNvPr id="314" name="TextBox 68">
              <a:extLst>
                <a:ext uri="{FF2B5EF4-FFF2-40B4-BE49-F238E27FC236}">
                  <a16:creationId xmlns:a16="http://schemas.microsoft.com/office/drawing/2014/main" id="{0649FF0E-430B-16E1-D45F-7F61DDB78F2D}"/>
                </a:ext>
              </a:extLst>
            </p:cNvPr>
            <p:cNvSpPr txBox="1"/>
            <p:nvPr userDrawn="1"/>
          </p:nvSpPr>
          <p:spPr>
            <a:xfrm>
              <a:off x="9647178" y="4364267"/>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Grape</a:t>
              </a:r>
              <a:endParaRPr kumimoji="1" lang="ja-JP" altLang="en-US" sz="800" b="1" dirty="0">
                <a:latin typeface="Arial" panose="020B0604020202020204" pitchFamily="34" charset="0"/>
                <a:cs typeface="Arial" panose="020B0604020202020204" pitchFamily="34" charset="0"/>
              </a:endParaRPr>
            </a:p>
          </p:txBody>
        </p:sp>
        <p:sp>
          <p:nvSpPr>
            <p:cNvPr id="315" name="TextBox 69">
              <a:extLst>
                <a:ext uri="{FF2B5EF4-FFF2-40B4-BE49-F238E27FC236}">
                  <a16:creationId xmlns:a16="http://schemas.microsoft.com/office/drawing/2014/main" id="{FEB17C4C-7EB6-827D-CE3F-D6C9F79A692C}"/>
                </a:ext>
              </a:extLst>
            </p:cNvPr>
            <p:cNvSpPr txBox="1"/>
            <p:nvPr userDrawn="1"/>
          </p:nvSpPr>
          <p:spPr>
            <a:xfrm>
              <a:off x="9647178" y="4876323"/>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Rose</a:t>
              </a:r>
              <a:endParaRPr kumimoji="1" lang="ja-JP" altLang="en-US" sz="800" b="1" dirty="0">
                <a:latin typeface="Arial" panose="020B0604020202020204" pitchFamily="34" charset="0"/>
                <a:cs typeface="Arial" panose="020B0604020202020204" pitchFamily="34" charset="0"/>
              </a:endParaRPr>
            </a:p>
          </p:txBody>
        </p:sp>
        <p:sp>
          <p:nvSpPr>
            <p:cNvPr id="316" name="TextBox 70">
              <a:extLst>
                <a:ext uri="{FF2B5EF4-FFF2-40B4-BE49-F238E27FC236}">
                  <a16:creationId xmlns:a16="http://schemas.microsoft.com/office/drawing/2014/main" id="{D0164234-4BE1-BC38-3A1D-552C947EBF76}"/>
                </a:ext>
              </a:extLst>
            </p:cNvPr>
            <p:cNvSpPr txBox="1"/>
            <p:nvPr userDrawn="1"/>
          </p:nvSpPr>
          <p:spPr>
            <a:xfrm>
              <a:off x="9647178" y="5132351"/>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Stone</a:t>
              </a:r>
              <a:endParaRPr kumimoji="1" lang="ja-JP" altLang="en-US" sz="800" b="1" dirty="0">
                <a:latin typeface="Arial" panose="020B0604020202020204" pitchFamily="34" charset="0"/>
                <a:cs typeface="Arial" panose="020B0604020202020204" pitchFamily="34" charset="0"/>
              </a:endParaRPr>
            </a:p>
          </p:txBody>
        </p:sp>
        <p:sp>
          <p:nvSpPr>
            <p:cNvPr id="317" name="TextBox 71">
              <a:extLst>
                <a:ext uri="{FF2B5EF4-FFF2-40B4-BE49-F238E27FC236}">
                  <a16:creationId xmlns:a16="http://schemas.microsoft.com/office/drawing/2014/main" id="{343D7C23-AD05-2126-6CE3-580D68651F68}"/>
                </a:ext>
              </a:extLst>
            </p:cNvPr>
            <p:cNvSpPr txBox="1"/>
            <p:nvPr userDrawn="1"/>
          </p:nvSpPr>
          <p:spPr>
            <a:xfrm>
              <a:off x="9647178" y="4620295"/>
              <a:ext cx="694346" cy="21544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Burgundy</a:t>
              </a:r>
              <a:endParaRPr kumimoji="1" lang="ja-JP" altLang="en-US" sz="800" b="1" dirty="0">
                <a:latin typeface="Arial" panose="020B0604020202020204" pitchFamily="34" charset="0"/>
                <a:cs typeface="Arial" panose="020B0604020202020204" pitchFamily="34" charset="0"/>
              </a:endParaRPr>
            </a:p>
          </p:txBody>
        </p:sp>
        <p:sp>
          <p:nvSpPr>
            <p:cNvPr id="318" name="Rectangle 72">
              <a:extLst>
                <a:ext uri="{FF2B5EF4-FFF2-40B4-BE49-F238E27FC236}">
                  <a16:creationId xmlns:a16="http://schemas.microsoft.com/office/drawing/2014/main" id="{4E93158F-78DC-E486-9C65-F6893A47735C}"/>
                </a:ext>
              </a:extLst>
            </p:cNvPr>
            <p:cNvSpPr/>
            <p:nvPr userDrawn="1"/>
          </p:nvSpPr>
          <p:spPr>
            <a:xfrm>
              <a:off x="10633766" y="5388383"/>
              <a:ext cx="216000" cy="216000"/>
            </a:xfrm>
            <a:prstGeom prst="rect">
              <a:avLst/>
            </a:prstGeom>
            <a:solidFill>
              <a:srgbClr val="E58334"/>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19" name="Rectangle 73">
              <a:extLst>
                <a:ext uri="{FF2B5EF4-FFF2-40B4-BE49-F238E27FC236}">
                  <a16:creationId xmlns:a16="http://schemas.microsoft.com/office/drawing/2014/main" id="{BC435A51-03AF-5CA6-F007-351074474B29}"/>
                </a:ext>
              </a:extLst>
            </p:cNvPr>
            <p:cNvSpPr/>
            <p:nvPr userDrawn="1"/>
          </p:nvSpPr>
          <p:spPr>
            <a:xfrm>
              <a:off x="10872398" y="5388383"/>
              <a:ext cx="216000" cy="216000"/>
            </a:xfrm>
            <a:prstGeom prst="rect">
              <a:avLst/>
            </a:prstGeom>
            <a:solidFill>
              <a:srgbClr val="F1A56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0" name="Rectangle 74">
              <a:extLst>
                <a:ext uri="{FF2B5EF4-FFF2-40B4-BE49-F238E27FC236}">
                  <a16:creationId xmlns:a16="http://schemas.microsoft.com/office/drawing/2014/main" id="{7B09CD73-506A-06B2-9C68-A0861A34E64B}"/>
                </a:ext>
              </a:extLst>
            </p:cNvPr>
            <p:cNvSpPr/>
            <p:nvPr userDrawn="1"/>
          </p:nvSpPr>
          <p:spPr>
            <a:xfrm>
              <a:off x="11111030" y="5388383"/>
              <a:ext cx="216000" cy="216000"/>
            </a:xfrm>
            <a:prstGeom prst="rect">
              <a:avLst/>
            </a:prstGeom>
            <a:solidFill>
              <a:srgbClr val="F8C9A7"/>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1" name="Rectangle 75">
              <a:extLst>
                <a:ext uri="{FF2B5EF4-FFF2-40B4-BE49-F238E27FC236}">
                  <a16:creationId xmlns:a16="http://schemas.microsoft.com/office/drawing/2014/main" id="{164E62B6-7DA2-8A69-2A76-BC15D8327318}"/>
                </a:ext>
              </a:extLst>
            </p:cNvPr>
            <p:cNvSpPr/>
            <p:nvPr userDrawn="1"/>
          </p:nvSpPr>
          <p:spPr>
            <a:xfrm>
              <a:off x="11349660" y="5388383"/>
              <a:ext cx="216000" cy="216000"/>
            </a:xfrm>
            <a:prstGeom prst="rect">
              <a:avLst/>
            </a:prstGeom>
            <a:solidFill>
              <a:srgbClr val="FCE6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2" name="Rectangle 76">
              <a:extLst>
                <a:ext uri="{FF2B5EF4-FFF2-40B4-BE49-F238E27FC236}">
                  <a16:creationId xmlns:a16="http://schemas.microsoft.com/office/drawing/2014/main" id="{63D81228-7EA1-5407-7A38-8C1725B3C669}"/>
                </a:ext>
              </a:extLst>
            </p:cNvPr>
            <p:cNvSpPr/>
            <p:nvPr userDrawn="1"/>
          </p:nvSpPr>
          <p:spPr>
            <a:xfrm>
              <a:off x="10633766" y="3340155"/>
              <a:ext cx="216000" cy="216000"/>
            </a:xfrm>
            <a:prstGeom prst="rect">
              <a:avLst/>
            </a:prstGeom>
            <a:solidFill>
              <a:srgbClr val="85A03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3" name="Rectangle 77">
              <a:extLst>
                <a:ext uri="{FF2B5EF4-FFF2-40B4-BE49-F238E27FC236}">
                  <a16:creationId xmlns:a16="http://schemas.microsoft.com/office/drawing/2014/main" id="{E9FF9AF2-8F67-A72B-A7DE-FEE6EC788594}"/>
                </a:ext>
              </a:extLst>
            </p:cNvPr>
            <p:cNvSpPr/>
            <p:nvPr userDrawn="1"/>
          </p:nvSpPr>
          <p:spPr>
            <a:xfrm>
              <a:off x="10872398" y="3340155"/>
              <a:ext cx="216000" cy="216000"/>
            </a:xfrm>
            <a:prstGeom prst="rect">
              <a:avLst/>
            </a:prstGeom>
            <a:solidFill>
              <a:srgbClr val="A8BA72"/>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4" name="Rectangle 78">
              <a:extLst>
                <a:ext uri="{FF2B5EF4-FFF2-40B4-BE49-F238E27FC236}">
                  <a16:creationId xmlns:a16="http://schemas.microsoft.com/office/drawing/2014/main" id="{4F2F8D00-D1D4-299A-632B-E95D57D506CD}"/>
                </a:ext>
              </a:extLst>
            </p:cNvPr>
            <p:cNvSpPr/>
            <p:nvPr userDrawn="1"/>
          </p:nvSpPr>
          <p:spPr>
            <a:xfrm>
              <a:off x="11111030" y="3340155"/>
              <a:ext cx="216000" cy="216000"/>
            </a:xfrm>
            <a:prstGeom prst="rect">
              <a:avLst/>
            </a:prstGeom>
            <a:solidFill>
              <a:srgbClr val="CBD5A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5" name="Rectangle 79">
              <a:extLst>
                <a:ext uri="{FF2B5EF4-FFF2-40B4-BE49-F238E27FC236}">
                  <a16:creationId xmlns:a16="http://schemas.microsoft.com/office/drawing/2014/main" id="{8F8B0140-B50D-92EE-0DDD-A154F30EF1DC}"/>
                </a:ext>
              </a:extLst>
            </p:cNvPr>
            <p:cNvSpPr/>
            <p:nvPr userDrawn="1"/>
          </p:nvSpPr>
          <p:spPr>
            <a:xfrm>
              <a:off x="11349660" y="3340155"/>
              <a:ext cx="216000" cy="216000"/>
            </a:xfrm>
            <a:prstGeom prst="rect">
              <a:avLst/>
            </a:prstGeom>
            <a:solidFill>
              <a:srgbClr val="E7EC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6" name="Rectangle 80">
              <a:extLst>
                <a:ext uri="{FF2B5EF4-FFF2-40B4-BE49-F238E27FC236}">
                  <a16:creationId xmlns:a16="http://schemas.microsoft.com/office/drawing/2014/main" id="{5BACA7ED-A132-B52A-4812-D9A7A7DE8069}"/>
                </a:ext>
              </a:extLst>
            </p:cNvPr>
            <p:cNvSpPr/>
            <p:nvPr userDrawn="1"/>
          </p:nvSpPr>
          <p:spPr>
            <a:xfrm>
              <a:off x="10633766" y="3596183"/>
              <a:ext cx="216000" cy="216000"/>
            </a:xfrm>
            <a:prstGeom prst="rect">
              <a:avLst/>
            </a:prstGeom>
            <a:solidFill>
              <a:srgbClr val="005B9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7" name="Rectangle 81">
              <a:extLst>
                <a:ext uri="{FF2B5EF4-FFF2-40B4-BE49-F238E27FC236}">
                  <a16:creationId xmlns:a16="http://schemas.microsoft.com/office/drawing/2014/main" id="{95AF781B-5120-4DED-ED30-80AFF53BA06E}"/>
                </a:ext>
              </a:extLst>
            </p:cNvPr>
            <p:cNvSpPr/>
            <p:nvPr userDrawn="1"/>
          </p:nvSpPr>
          <p:spPr>
            <a:xfrm>
              <a:off x="10872398" y="3596183"/>
              <a:ext cx="216000" cy="216000"/>
            </a:xfrm>
            <a:prstGeom prst="rect">
              <a:avLst/>
            </a:prstGeom>
            <a:solidFill>
              <a:srgbClr val="6085A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8" name="Rectangle 82">
              <a:extLst>
                <a:ext uri="{FF2B5EF4-FFF2-40B4-BE49-F238E27FC236}">
                  <a16:creationId xmlns:a16="http://schemas.microsoft.com/office/drawing/2014/main" id="{873EA9AC-2070-F3B0-AD9C-B7AE7C01051E}"/>
                </a:ext>
              </a:extLst>
            </p:cNvPr>
            <p:cNvSpPr/>
            <p:nvPr userDrawn="1"/>
          </p:nvSpPr>
          <p:spPr>
            <a:xfrm>
              <a:off x="11111030" y="3596183"/>
              <a:ext cx="216000" cy="216000"/>
            </a:xfrm>
            <a:prstGeom prst="rect">
              <a:avLst/>
            </a:prstGeom>
            <a:solidFill>
              <a:srgbClr val="A0B5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29" name="Rectangle 83">
              <a:extLst>
                <a:ext uri="{FF2B5EF4-FFF2-40B4-BE49-F238E27FC236}">
                  <a16:creationId xmlns:a16="http://schemas.microsoft.com/office/drawing/2014/main" id="{B62BEEF6-3D61-D50F-33CC-AE9330C66C51}"/>
                </a:ext>
              </a:extLst>
            </p:cNvPr>
            <p:cNvSpPr/>
            <p:nvPr userDrawn="1"/>
          </p:nvSpPr>
          <p:spPr>
            <a:xfrm>
              <a:off x="11349660" y="3596183"/>
              <a:ext cx="216000" cy="216000"/>
            </a:xfrm>
            <a:prstGeom prst="rect">
              <a:avLst/>
            </a:prstGeom>
            <a:solidFill>
              <a:srgbClr val="D6DE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0" name="Rectangle 84">
              <a:extLst>
                <a:ext uri="{FF2B5EF4-FFF2-40B4-BE49-F238E27FC236}">
                  <a16:creationId xmlns:a16="http://schemas.microsoft.com/office/drawing/2014/main" id="{2DF74815-811E-88A8-D473-6DE3281CA8ED}"/>
                </a:ext>
              </a:extLst>
            </p:cNvPr>
            <p:cNvSpPr/>
            <p:nvPr userDrawn="1"/>
          </p:nvSpPr>
          <p:spPr>
            <a:xfrm>
              <a:off x="10633766" y="3852211"/>
              <a:ext cx="216000" cy="216000"/>
            </a:xfrm>
            <a:prstGeom prst="rect">
              <a:avLst/>
            </a:prstGeom>
            <a:solidFill>
              <a:srgbClr val="28AC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1" name="Rectangle 85">
              <a:extLst>
                <a:ext uri="{FF2B5EF4-FFF2-40B4-BE49-F238E27FC236}">
                  <a16:creationId xmlns:a16="http://schemas.microsoft.com/office/drawing/2014/main" id="{CF5BF173-5C60-FC85-EE8B-EAA67746C52B}"/>
                </a:ext>
              </a:extLst>
            </p:cNvPr>
            <p:cNvSpPr/>
            <p:nvPr userDrawn="1"/>
          </p:nvSpPr>
          <p:spPr>
            <a:xfrm>
              <a:off x="10872398" y="3852211"/>
              <a:ext cx="216000" cy="216000"/>
            </a:xfrm>
            <a:prstGeom prst="rect">
              <a:avLst/>
            </a:prstGeom>
            <a:solidFill>
              <a:srgbClr val="7CC4DC"/>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2" name="Rectangle 86">
              <a:extLst>
                <a:ext uri="{FF2B5EF4-FFF2-40B4-BE49-F238E27FC236}">
                  <a16:creationId xmlns:a16="http://schemas.microsoft.com/office/drawing/2014/main" id="{F1BF3449-B75E-14C7-7FFE-F3E14DA64759}"/>
                </a:ext>
              </a:extLst>
            </p:cNvPr>
            <p:cNvSpPr/>
            <p:nvPr userDrawn="1"/>
          </p:nvSpPr>
          <p:spPr>
            <a:xfrm>
              <a:off x="11111030" y="3852211"/>
              <a:ext cx="216000" cy="216000"/>
            </a:xfrm>
            <a:prstGeom prst="rect">
              <a:avLst/>
            </a:prstGeom>
            <a:solidFill>
              <a:srgbClr val="B3DC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3" name="Rectangle 87">
              <a:extLst>
                <a:ext uri="{FF2B5EF4-FFF2-40B4-BE49-F238E27FC236}">
                  <a16:creationId xmlns:a16="http://schemas.microsoft.com/office/drawing/2014/main" id="{CCA500B3-8CCE-250B-6A07-57A9D0DE9E56}"/>
                </a:ext>
              </a:extLst>
            </p:cNvPr>
            <p:cNvSpPr/>
            <p:nvPr userDrawn="1"/>
          </p:nvSpPr>
          <p:spPr>
            <a:xfrm>
              <a:off x="11349660" y="3852211"/>
              <a:ext cx="216000" cy="216000"/>
            </a:xfrm>
            <a:prstGeom prst="rect">
              <a:avLst/>
            </a:prstGeom>
            <a:solidFill>
              <a:srgbClr val="DDEFF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4" name="Rectangle 88">
              <a:extLst>
                <a:ext uri="{FF2B5EF4-FFF2-40B4-BE49-F238E27FC236}">
                  <a16:creationId xmlns:a16="http://schemas.microsoft.com/office/drawing/2014/main" id="{CC595056-6602-9F3E-61D3-C2B2F0F00CE1}"/>
                </a:ext>
              </a:extLst>
            </p:cNvPr>
            <p:cNvSpPr/>
            <p:nvPr userDrawn="1"/>
          </p:nvSpPr>
          <p:spPr>
            <a:xfrm>
              <a:off x="10633766" y="4108239"/>
              <a:ext cx="216000" cy="216000"/>
            </a:xfrm>
            <a:prstGeom prst="rect">
              <a:avLst/>
            </a:prstGeom>
            <a:solidFill>
              <a:srgbClr val="64338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5" name="Rectangle 89">
              <a:extLst>
                <a:ext uri="{FF2B5EF4-FFF2-40B4-BE49-F238E27FC236}">
                  <a16:creationId xmlns:a16="http://schemas.microsoft.com/office/drawing/2014/main" id="{F2A9F79A-1895-D97D-1DB1-BF2C3B575C9B}"/>
                </a:ext>
              </a:extLst>
            </p:cNvPr>
            <p:cNvSpPr/>
            <p:nvPr userDrawn="1"/>
          </p:nvSpPr>
          <p:spPr>
            <a:xfrm>
              <a:off x="10872398" y="4108239"/>
              <a:ext cx="216000" cy="216000"/>
            </a:xfrm>
            <a:prstGeom prst="rect">
              <a:avLst/>
            </a:prstGeom>
            <a:solidFill>
              <a:srgbClr val="8E69A3"/>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6" name="Rectangle 90">
              <a:extLst>
                <a:ext uri="{FF2B5EF4-FFF2-40B4-BE49-F238E27FC236}">
                  <a16:creationId xmlns:a16="http://schemas.microsoft.com/office/drawing/2014/main" id="{5C0379B9-3837-C88A-0CAA-C3B0D3551B56}"/>
                </a:ext>
              </a:extLst>
            </p:cNvPr>
            <p:cNvSpPr/>
            <p:nvPr userDrawn="1"/>
          </p:nvSpPr>
          <p:spPr>
            <a:xfrm>
              <a:off x="11111030" y="4108239"/>
              <a:ext cx="216000" cy="216000"/>
            </a:xfrm>
            <a:prstGeom prst="rect">
              <a:avLst/>
            </a:prstGeom>
            <a:solidFill>
              <a:srgbClr val="BCA4C9"/>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7" name="Rectangle 91">
              <a:extLst>
                <a:ext uri="{FF2B5EF4-FFF2-40B4-BE49-F238E27FC236}">
                  <a16:creationId xmlns:a16="http://schemas.microsoft.com/office/drawing/2014/main" id="{F296F4EE-33BC-F913-7099-AF36CDCD365E}"/>
                </a:ext>
              </a:extLst>
            </p:cNvPr>
            <p:cNvSpPr/>
            <p:nvPr userDrawn="1"/>
          </p:nvSpPr>
          <p:spPr>
            <a:xfrm>
              <a:off x="11349660" y="4108239"/>
              <a:ext cx="216000" cy="216000"/>
            </a:xfrm>
            <a:prstGeom prst="rect">
              <a:avLst/>
            </a:prstGeom>
            <a:solidFill>
              <a:srgbClr val="E1D6E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8" name="Rectangle 92">
              <a:extLst>
                <a:ext uri="{FF2B5EF4-FFF2-40B4-BE49-F238E27FC236}">
                  <a16:creationId xmlns:a16="http://schemas.microsoft.com/office/drawing/2014/main" id="{8FA08983-F025-070D-970B-B59434C4DEA2}"/>
                </a:ext>
              </a:extLst>
            </p:cNvPr>
            <p:cNvSpPr/>
            <p:nvPr userDrawn="1"/>
          </p:nvSpPr>
          <p:spPr>
            <a:xfrm>
              <a:off x="10633766" y="4364267"/>
              <a:ext cx="216000" cy="216000"/>
            </a:xfrm>
            <a:prstGeom prst="rect">
              <a:avLst/>
            </a:prstGeom>
            <a:solidFill>
              <a:srgbClr val="8971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39" name="Rectangle 93">
              <a:extLst>
                <a:ext uri="{FF2B5EF4-FFF2-40B4-BE49-F238E27FC236}">
                  <a16:creationId xmlns:a16="http://schemas.microsoft.com/office/drawing/2014/main" id="{77E0B338-34BA-49D9-34B1-62A00B3E466A}"/>
                </a:ext>
              </a:extLst>
            </p:cNvPr>
            <p:cNvSpPr/>
            <p:nvPr userDrawn="1"/>
          </p:nvSpPr>
          <p:spPr>
            <a:xfrm>
              <a:off x="10872398" y="4364267"/>
              <a:ext cx="216000" cy="216000"/>
            </a:xfrm>
            <a:prstGeom prst="rect">
              <a:avLst/>
            </a:prstGeom>
            <a:solidFill>
              <a:srgbClr val="AC96C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0" name="Rectangle 94">
              <a:extLst>
                <a:ext uri="{FF2B5EF4-FFF2-40B4-BE49-F238E27FC236}">
                  <a16:creationId xmlns:a16="http://schemas.microsoft.com/office/drawing/2014/main" id="{036134A5-1218-6B02-1D0B-3BFA2ECDA161}"/>
                </a:ext>
              </a:extLst>
            </p:cNvPr>
            <p:cNvSpPr/>
            <p:nvPr userDrawn="1"/>
          </p:nvSpPr>
          <p:spPr>
            <a:xfrm>
              <a:off x="11111030" y="4364267"/>
              <a:ext cx="216000" cy="216000"/>
            </a:xfrm>
            <a:prstGeom prst="rect">
              <a:avLst/>
            </a:prstGeom>
            <a:solidFill>
              <a:srgbClr val="CEBFD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1" name="Rectangle 95">
              <a:extLst>
                <a:ext uri="{FF2B5EF4-FFF2-40B4-BE49-F238E27FC236}">
                  <a16:creationId xmlns:a16="http://schemas.microsoft.com/office/drawing/2014/main" id="{D08DF4F3-B3AA-FE6A-D2F8-8DC857C93D58}"/>
                </a:ext>
              </a:extLst>
            </p:cNvPr>
            <p:cNvSpPr/>
            <p:nvPr userDrawn="1"/>
          </p:nvSpPr>
          <p:spPr>
            <a:xfrm>
              <a:off x="11349660" y="4364267"/>
              <a:ext cx="216000" cy="216000"/>
            </a:xfrm>
            <a:prstGeom prst="rect">
              <a:avLst/>
            </a:prstGeom>
            <a:solidFill>
              <a:srgbClr val="DFE2E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2" name="Rectangle 96">
              <a:extLst>
                <a:ext uri="{FF2B5EF4-FFF2-40B4-BE49-F238E27FC236}">
                  <a16:creationId xmlns:a16="http://schemas.microsoft.com/office/drawing/2014/main" id="{A4DB0429-335F-6C07-E6D7-3CE6992F2F3E}"/>
                </a:ext>
              </a:extLst>
            </p:cNvPr>
            <p:cNvSpPr/>
            <p:nvPr userDrawn="1"/>
          </p:nvSpPr>
          <p:spPr>
            <a:xfrm>
              <a:off x="10633766" y="4620295"/>
              <a:ext cx="216000" cy="216000"/>
            </a:xfrm>
            <a:prstGeom prst="rect">
              <a:avLst/>
            </a:prstGeom>
            <a:solidFill>
              <a:srgbClr val="9F395B"/>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3" name="Rectangle 97">
              <a:extLst>
                <a:ext uri="{FF2B5EF4-FFF2-40B4-BE49-F238E27FC236}">
                  <a16:creationId xmlns:a16="http://schemas.microsoft.com/office/drawing/2014/main" id="{261E71DC-6DEE-F55A-B6CD-446B7C6A18C0}"/>
                </a:ext>
              </a:extLst>
            </p:cNvPr>
            <p:cNvSpPr/>
            <p:nvPr userDrawn="1"/>
          </p:nvSpPr>
          <p:spPr>
            <a:xfrm>
              <a:off x="10872398" y="4620295"/>
              <a:ext cx="216000" cy="216000"/>
            </a:xfrm>
            <a:prstGeom prst="rect">
              <a:avLst/>
            </a:prstGeom>
            <a:solidFill>
              <a:srgbClr val="BB728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4" name="Rectangle 98">
              <a:extLst>
                <a:ext uri="{FF2B5EF4-FFF2-40B4-BE49-F238E27FC236}">
                  <a16:creationId xmlns:a16="http://schemas.microsoft.com/office/drawing/2014/main" id="{43DC4546-3BA9-C24A-3A41-56F17665451C}"/>
                </a:ext>
              </a:extLst>
            </p:cNvPr>
            <p:cNvSpPr/>
            <p:nvPr userDrawn="1"/>
          </p:nvSpPr>
          <p:spPr>
            <a:xfrm>
              <a:off x="11111030" y="4620295"/>
              <a:ext cx="216000" cy="216000"/>
            </a:xfrm>
            <a:prstGeom prst="rect">
              <a:avLst/>
            </a:prstGeom>
            <a:solidFill>
              <a:srgbClr val="D9AAB5"/>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5" name="Rectangle 99">
              <a:extLst>
                <a:ext uri="{FF2B5EF4-FFF2-40B4-BE49-F238E27FC236}">
                  <a16:creationId xmlns:a16="http://schemas.microsoft.com/office/drawing/2014/main" id="{B4F69585-16BC-69C1-72BC-7C24E4153D82}"/>
                </a:ext>
              </a:extLst>
            </p:cNvPr>
            <p:cNvSpPr/>
            <p:nvPr userDrawn="1"/>
          </p:nvSpPr>
          <p:spPr>
            <a:xfrm>
              <a:off x="11349660" y="4620295"/>
              <a:ext cx="216000" cy="216000"/>
            </a:xfrm>
            <a:prstGeom prst="rect">
              <a:avLst/>
            </a:prstGeom>
            <a:solidFill>
              <a:srgbClr val="EFDADE"/>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6" name="Rectangle 100">
              <a:extLst>
                <a:ext uri="{FF2B5EF4-FFF2-40B4-BE49-F238E27FC236}">
                  <a16:creationId xmlns:a16="http://schemas.microsoft.com/office/drawing/2014/main" id="{D3C17C1A-3E6F-0A78-95DB-399A15EF53DB}"/>
                </a:ext>
              </a:extLst>
            </p:cNvPr>
            <p:cNvSpPr/>
            <p:nvPr userDrawn="1"/>
          </p:nvSpPr>
          <p:spPr>
            <a:xfrm>
              <a:off x="10633766" y="4876323"/>
              <a:ext cx="216000" cy="216000"/>
            </a:xfrm>
            <a:prstGeom prst="rect">
              <a:avLst/>
            </a:prstGeom>
            <a:solidFill>
              <a:srgbClr val="CD6E9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7" name="Rectangle 101">
              <a:extLst>
                <a:ext uri="{FF2B5EF4-FFF2-40B4-BE49-F238E27FC236}">
                  <a16:creationId xmlns:a16="http://schemas.microsoft.com/office/drawing/2014/main" id="{9338994D-C86C-3720-BE3B-2A42FA681354}"/>
                </a:ext>
              </a:extLst>
            </p:cNvPr>
            <p:cNvSpPr/>
            <p:nvPr userDrawn="1"/>
          </p:nvSpPr>
          <p:spPr>
            <a:xfrm>
              <a:off x="10872398" y="4876323"/>
              <a:ext cx="216000" cy="216000"/>
            </a:xfrm>
            <a:prstGeom prst="rect">
              <a:avLst/>
            </a:prstGeom>
            <a:solidFill>
              <a:srgbClr val="DE98B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8" name="Rectangle 102">
              <a:extLst>
                <a:ext uri="{FF2B5EF4-FFF2-40B4-BE49-F238E27FC236}">
                  <a16:creationId xmlns:a16="http://schemas.microsoft.com/office/drawing/2014/main" id="{514C3146-3890-532F-281E-A665308BC054}"/>
                </a:ext>
              </a:extLst>
            </p:cNvPr>
            <p:cNvSpPr/>
            <p:nvPr userDrawn="1"/>
          </p:nvSpPr>
          <p:spPr>
            <a:xfrm>
              <a:off x="11111030" y="4876323"/>
              <a:ext cx="216000" cy="216000"/>
            </a:xfrm>
            <a:prstGeom prst="rect">
              <a:avLst/>
            </a:prstGeom>
            <a:solidFill>
              <a:srgbClr val="EDC1C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49" name="Rectangle 103">
              <a:extLst>
                <a:ext uri="{FF2B5EF4-FFF2-40B4-BE49-F238E27FC236}">
                  <a16:creationId xmlns:a16="http://schemas.microsoft.com/office/drawing/2014/main" id="{9C49D9E0-05AF-94C5-FE39-804DAC129E63}"/>
                </a:ext>
              </a:extLst>
            </p:cNvPr>
            <p:cNvSpPr/>
            <p:nvPr userDrawn="1"/>
          </p:nvSpPr>
          <p:spPr>
            <a:xfrm>
              <a:off x="11349660" y="4876323"/>
              <a:ext cx="216000" cy="216000"/>
            </a:xfrm>
            <a:prstGeom prst="rect">
              <a:avLst/>
            </a:prstGeom>
            <a:solidFill>
              <a:srgbClr val="F8E4EA"/>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0" name="Rectangle 104">
              <a:extLst>
                <a:ext uri="{FF2B5EF4-FFF2-40B4-BE49-F238E27FC236}">
                  <a16:creationId xmlns:a16="http://schemas.microsoft.com/office/drawing/2014/main" id="{550BCF77-CEAD-E9BD-D1CC-71888C4252E2}"/>
                </a:ext>
              </a:extLst>
            </p:cNvPr>
            <p:cNvSpPr/>
            <p:nvPr userDrawn="1"/>
          </p:nvSpPr>
          <p:spPr>
            <a:xfrm>
              <a:off x="10633766" y="5132351"/>
              <a:ext cx="216000" cy="216000"/>
            </a:xfrm>
            <a:prstGeom prst="rect">
              <a:avLst/>
            </a:prstGeom>
            <a:solidFill>
              <a:srgbClr val="AF6B3D"/>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1" name="Rectangle 105">
              <a:extLst>
                <a:ext uri="{FF2B5EF4-FFF2-40B4-BE49-F238E27FC236}">
                  <a16:creationId xmlns:a16="http://schemas.microsoft.com/office/drawing/2014/main" id="{3594E674-57D3-757A-DCE7-5F7E2D16A725}"/>
                </a:ext>
              </a:extLst>
            </p:cNvPr>
            <p:cNvSpPr/>
            <p:nvPr userDrawn="1"/>
          </p:nvSpPr>
          <p:spPr>
            <a:xfrm>
              <a:off x="10872398" y="5132351"/>
              <a:ext cx="216000" cy="216000"/>
            </a:xfrm>
            <a:prstGeom prst="rect">
              <a:avLst/>
            </a:prstGeom>
            <a:solidFill>
              <a:srgbClr val="C89271"/>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2" name="Rectangle 106">
              <a:extLst>
                <a:ext uri="{FF2B5EF4-FFF2-40B4-BE49-F238E27FC236}">
                  <a16:creationId xmlns:a16="http://schemas.microsoft.com/office/drawing/2014/main" id="{EAA4B112-3B06-F694-ECCF-2066AAC782C0}"/>
                </a:ext>
              </a:extLst>
            </p:cNvPr>
            <p:cNvSpPr/>
            <p:nvPr userDrawn="1"/>
          </p:nvSpPr>
          <p:spPr>
            <a:xfrm>
              <a:off x="11111030" y="5132351"/>
              <a:ext cx="216000" cy="216000"/>
            </a:xfrm>
            <a:prstGeom prst="rect">
              <a:avLst/>
            </a:prstGeom>
            <a:solidFill>
              <a:srgbClr val="E0BDA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3" name="Rectangle 107">
              <a:extLst>
                <a:ext uri="{FF2B5EF4-FFF2-40B4-BE49-F238E27FC236}">
                  <a16:creationId xmlns:a16="http://schemas.microsoft.com/office/drawing/2014/main" id="{9BFDEA8F-6343-2794-8B0D-96722FBFA5E6}"/>
                </a:ext>
              </a:extLst>
            </p:cNvPr>
            <p:cNvSpPr/>
            <p:nvPr userDrawn="1"/>
          </p:nvSpPr>
          <p:spPr>
            <a:xfrm>
              <a:off x="11349660" y="5132351"/>
              <a:ext cx="216000" cy="216000"/>
            </a:xfrm>
            <a:prstGeom prst="rect">
              <a:avLst/>
            </a:prstGeom>
            <a:solidFill>
              <a:srgbClr val="F2E2D8"/>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4" name="Rectangle 108">
              <a:extLst>
                <a:ext uri="{FF2B5EF4-FFF2-40B4-BE49-F238E27FC236}">
                  <a16:creationId xmlns:a16="http://schemas.microsoft.com/office/drawing/2014/main" id="{F095FE62-9632-60D7-FD04-844C8D8A0F9E}"/>
                </a:ext>
              </a:extLst>
            </p:cNvPr>
            <p:cNvSpPr/>
            <p:nvPr userDrawn="1"/>
          </p:nvSpPr>
          <p:spPr>
            <a:xfrm>
              <a:off x="10395134" y="2359593"/>
              <a:ext cx="216000" cy="216000"/>
            </a:xfrm>
            <a:prstGeom prst="rect">
              <a:avLst/>
            </a:prstGeom>
            <a:solidFill>
              <a:srgbClr val="00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5" name="Rectangle 109">
              <a:extLst>
                <a:ext uri="{FF2B5EF4-FFF2-40B4-BE49-F238E27FC236}">
                  <a16:creationId xmlns:a16="http://schemas.microsoft.com/office/drawing/2014/main" id="{6B9D6A08-9A49-09DC-0C67-A407713F7C00}"/>
                </a:ext>
              </a:extLst>
            </p:cNvPr>
            <p:cNvSpPr/>
            <p:nvPr userDrawn="1"/>
          </p:nvSpPr>
          <p:spPr>
            <a:xfrm>
              <a:off x="10633766" y="2359593"/>
              <a:ext cx="216000" cy="216000"/>
            </a:xfrm>
            <a:prstGeom prst="rect">
              <a:avLst/>
            </a:prstGeom>
            <a:solidFill>
              <a:srgbClr val="666666"/>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6" name="Rectangle 110">
              <a:extLst>
                <a:ext uri="{FF2B5EF4-FFF2-40B4-BE49-F238E27FC236}">
                  <a16:creationId xmlns:a16="http://schemas.microsoft.com/office/drawing/2014/main" id="{8FCD1D76-B189-C0A8-0EE1-8D21E483878B}"/>
                </a:ext>
              </a:extLst>
            </p:cNvPr>
            <p:cNvSpPr/>
            <p:nvPr userDrawn="1"/>
          </p:nvSpPr>
          <p:spPr>
            <a:xfrm>
              <a:off x="10872398" y="2359593"/>
              <a:ext cx="216000" cy="216000"/>
            </a:xfrm>
            <a:prstGeom prst="rect">
              <a:avLst/>
            </a:prstGeom>
            <a:solidFill>
              <a:srgbClr val="FFFFFF"/>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7" name="Rectangle 111">
              <a:extLst>
                <a:ext uri="{FF2B5EF4-FFF2-40B4-BE49-F238E27FC236}">
                  <a16:creationId xmlns:a16="http://schemas.microsoft.com/office/drawing/2014/main" id="{B89C0C31-4D30-91FA-884A-C8033DBBCA9B}"/>
                </a:ext>
              </a:extLst>
            </p:cNvPr>
            <p:cNvSpPr/>
            <p:nvPr userDrawn="1"/>
          </p:nvSpPr>
          <p:spPr>
            <a:xfrm>
              <a:off x="11111030" y="2359593"/>
              <a:ext cx="216000" cy="216000"/>
            </a:xfrm>
            <a:prstGeom prst="rect">
              <a:avLst/>
            </a:prstGeom>
            <a:solidFill>
              <a:srgbClr val="FF0000"/>
            </a:solidFill>
            <a:ln w="3175">
              <a:solidFill>
                <a:schemeClr val="tx1">
                  <a:lumMod val="95000"/>
                  <a:lumOff val="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solidFill>
                  <a:schemeClr val="tx1"/>
                </a:solidFill>
              </a:endParaRPr>
            </a:p>
          </p:txBody>
        </p:sp>
        <p:sp>
          <p:nvSpPr>
            <p:cNvPr id="358" name="TextBox 112">
              <a:extLst>
                <a:ext uri="{FF2B5EF4-FFF2-40B4-BE49-F238E27FC236}">
                  <a16:creationId xmlns:a16="http://schemas.microsoft.com/office/drawing/2014/main" id="{41108DB8-331C-D726-AB02-C7AA85BD948C}"/>
                </a:ext>
              </a:extLst>
            </p:cNvPr>
            <p:cNvSpPr txBox="1"/>
            <p:nvPr userDrawn="1"/>
          </p:nvSpPr>
          <p:spPr>
            <a:xfrm>
              <a:off x="9515094" y="2107002"/>
              <a:ext cx="1107996" cy="215444"/>
            </a:xfrm>
            <a:prstGeom prst="rect">
              <a:avLst/>
            </a:prstGeom>
            <a:noFill/>
          </p:spPr>
          <p:txBody>
            <a:bodyPr wrap="none" rtlCol="0">
              <a:spAutoFit/>
            </a:bodyPr>
            <a:lstStyle/>
            <a:p>
              <a:r>
                <a:rPr kumimoji="1" lang="ja-JP" altLang="en-US" sz="800" b="0" u="sng">
                  <a:latin typeface="Noto Sans JP Regular" panose="020B0500000000000000" pitchFamily="34" charset="-128"/>
                  <a:ea typeface="Noto Sans JP Regular" panose="020B0500000000000000" pitchFamily="34" charset="-128"/>
                </a:rPr>
                <a:t>プライマリーカラー</a:t>
              </a:r>
              <a:endParaRPr kumimoji="1" lang="ja-JP" altLang="en-US" sz="800" b="0" u="sng" dirty="0">
                <a:latin typeface="Noto Sans JP Regular" panose="020B0500000000000000" pitchFamily="34" charset="-128"/>
                <a:ea typeface="Noto Sans JP Regular" panose="020B0500000000000000" pitchFamily="34" charset="-128"/>
              </a:endParaRPr>
            </a:p>
          </p:txBody>
        </p:sp>
        <p:sp>
          <p:nvSpPr>
            <p:cNvPr id="359" name="TextBox 113">
              <a:extLst>
                <a:ext uri="{FF2B5EF4-FFF2-40B4-BE49-F238E27FC236}">
                  <a16:creationId xmlns:a16="http://schemas.microsoft.com/office/drawing/2014/main" id="{BBFB9425-48E5-95B9-CE90-C8D55C34E722}"/>
                </a:ext>
              </a:extLst>
            </p:cNvPr>
            <p:cNvSpPr txBox="1"/>
            <p:nvPr userDrawn="1"/>
          </p:nvSpPr>
          <p:spPr>
            <a:xfrm>
              <a:off x="9515094" y="2297626"/>
              <a:ext cx="834789" cy="338554"/>
            </a:xfrm>
            <a:prstGeom prst="rect">
              <a:avLst/>
            </a:prstGeom>
            <a:noFill/>
          </p:spPr>
          <p:txBody>
            <a:bodyPr wrap="square" rtlCol="0">
              <a:spAutoFit/>
            </a:bodyPr>
            <a:lstStyle/>
            <a:p>
              <a:pPr algn="r"/>
              <a:r>
                <a:rPr kumimoji="1" lang="en-US" altLang="ja-JP" sz="800" b="1" dirty="0">
                  <a:latin typeface="Arial" panose="020B0604020202020204" pitchFamily="34" charset="0"/>
                  <a:cs typeface="Arial" panose="020B0604020202020204" pitchFamily="34" charset="0"/>
                </a:rPr>
                <a:t>Primary </a:t>
              </a:r>
            </a:p>
            <a:p>
              <a:pPr algn="r"/>
              <a:r>
                <a:rPr kumimoji="1" lang="en-US" altLang="ja-JP" sz="800" b="1" dirty="0">
                  <a:latin typeface="Arial" panose="020B0604020202020204" pitchFamily="34" charset="0"/>
                  <a:cs typeface="Arial" panose="020B0604020202020204" pitchFamily="34" charset="0"/>
                </a:rPr>
                <a:t>Colors</a:t>
              </a:r>
              <a:endParaRPr kumimoji="1" lang="ja-JP" altLang="en-US" sz="800" b="1" dirty="0">
                <a:latin typeface="Arial" panose="020B0604020202020204" pitchFamily="34" charset="0"/>
                <a:cs typeface="Arial" panose="020B0604020202020204" pitchFamily="34" charset="0"/>
              </a:endParaRPr>
            </a:p>
          </p:txBody>
        </p:sp>
        <p:sp>
          <p:nvSpPr>
            <p:cNvPr id="360" name="TextBox 114">
              <a:extLst>
                <a:ext uri="{FF2B5EF4-FFF2-40B4-BE49-F238E27FC236}">
                  <a16:creationId xmlns:a16="http://schemas.microsoft.com/office/drawing/2014/main" id="{6A8C3CAA-FD83-8FAD-D4DF-8096C5AAF5A7}"/>
                </a:ext>
              </a:extLst>
            </p:cNvPr>
            <p:cNvSpPr txBox="1"/>
            <p:nvPr userDrawn="1"/>
          </p:nvSpPr>
          <p:spPr>
            <a:xfrm>
              <a:off x="9515094" y="1778667"/>
              <a:ext cx="1836664" cy="230832"/>
            </a:xfrm>
            <a:prstGeom prst="rect">
              <a:avLst/>
            </a:prstGeom>
            <a:noFill/>
          </p:spPr>
          <p:txBody>
            <a:bodyPr wrap="square" rtlCol="0">
              <a:spAutoFit/>
            </a:bodyPr>
            <a:lstStyle/>
            <a:p>
              <a:r>
                <a:rPr lang="ja-JP" altLang="en-US" sz="900" b="1">
                  <a:latin typeface="Noto Sans JP Bold" panose="020B0500000000000000" pitchFamily="34" charset="-128"/>
                  <a:ea typeface="Noto Sans JP Bold" panose="020B0500000000000000" pitchFamily="34" charset="-128"/>
                </a:rPr>
                <a:t>三菱電機</a:t>
              </a:r>
              <a:r>
                <a:rPr lang="en-US" altLang="ja-JP" sz="900" b="1" dirty="0">
                  <a:latin typeface="Noto Sans JP Bold" panose="020B0500000000000000" pitchFamily="34" charset="-128"/>
                  <a:ea typeface="Noto Sans JP Bold" panose="020B0500000000000000" pitchFamily="34" charset="-128"/>
                </a:rPr>
                <a:t>FA </a:t>
              </a:r>
              <a:r>
                <a:rPr lang="ja-JP" altLang="en-US" sz="900" b="1">
                  <a:latin typeface="Noto Sans JP Bold" panose="020B0500000000000000" pitchFamily="34" charset="-128"/>
                  <a:ea typeface="Noto Sans JP Bold" panose="020B0500000000000000" pitchFamily="34" charset="-128"/>
                </a:rPr>
                <a:t>公式カラーパレット</a:t>
              </a:r>
              <a:endParaRPr lang="ja-JP" altLang="en-US" sz="900" b="1" dirty="0">
                <a:latin typeface="Noto Sans JP Bold" panose="020B0500000000000000" pitchFamily="34" charset="-128"/>
                <a:ea typeface="Noto Sans JP Bold" panose="020B0500000000000000" pitchFamily="34" charset="-128"/>
              </a:endParaRPr>
            </a:p>
          </p:txBody>
        </p:sp>
      </p:grpSp>
    </p:spTree>
    <p:extLst>
      <p:ext uri="{BB962C8B-B14F-4D97-AF65-F5344CB8AC3E}">
        <p14:creationId xmlns:p14="http://schemas.microsoft.com/office/powerpoint/2010/main" val="2530348228"/>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2" r:id="rId3"/>
    <p:sldLayoutId id="2147483782" r:id="rId4"/>
    <p:sldLayoutId id="2147483773" r:id="rId5"/>
    <p:sldLayoutId id="2147483774" r:id="rId6"/>
    <p:sldLayoutId id="2147483775" r:id="rId7"/>
    <p:sldLayoutId id="2147483777" r:id="rId8"/>
    <p:sldLayoutId id="2147483780" r:id="rId9"/>
    <p:sldLayoutId id="2147483784" r:id="rId10"/>
    <p:sldLayoutId id="2147483805" r:id="rId11"/>
    <p:sldLayoutId id="2147483786" r:id="rId12"/>
    <p:sldLayoutId id="2147483772" r:id="rId13"/>
    <p:sldLayoutId id="2147483804" r:id="rId14"/>
    <p:sldLayoutId id="2147483801" r:id="rId15"/>
    <p:sldLayoutId id="2147483806" r:id="rId16"/>
    <p:sldLayoutId id="2147483807" r:id="rId17"/>
    <p:sldLayoutId id="2147483808" r:id="rId18"/>
    <p:sldLayoutId id="2147483809" r:id="rId19"/>
    <p:sldLayoutId id="2147483811" r:id="rId20"/>
    <p:sldLayoutId id="2147483812" r:id="rId21"/>
    <p:sldLayoutId id="2147483813" r:id="rId22"/>
    <p:sldLayoutId id="2147483819" r:id="rId23"/>
    <p:sldLayoutId id="2147483820" r:id="rId24"/>
  </p:sldLayoutIdLst>
  <p:hf hdr="0" ftr="0" dt="0"/>
  <p:txStyles>
    <p:titleStyle>
      <a:lvl1pPr algn="l" defTabSz="914400" rtl="0" eaLnBrk="1" latinLnBrk="0" hangingPunct="1">
        <a:lnSpc>
          <a:spcPct val="130000"/>
        </a:lnSpc>
        <a:spcBef>
          <a:spcPct val="0"/>
        </a:spcBef>
        <a:buNone/>
        <a:defRPr kumimoji="1" lang="en-US" altLang="en-US" sz="1800" b="1" kern="1200" spc="300" dirty="0">
          <a:solidFill>
            <a:schemeClr val="tx1"/>
          </a:solidFill>
          <a:latin typeface="Meiryo UI" panose="020B0604030504040204" pitchFamily="34" charset="-128"/>
          <a:ea typeface="Meiryo UI" panose="020B0604030504040204" pitchFamily="34" charset="-128"/>
          <a:cs typeface="+mj-cs"/>
        </a:defRPr>
      </a:lvl1pPr>
    </p:titleStyle>
    <p:bodyStyle>
      <a:lvl1pPr marL="228600" indent="-228600" algn="l" defTabSz="914400" rtl="0" eaLnBrk="1" latinLnBrk="0" hangingPunct="1">
        <a:lnSpc>
          <a:spcPct val="130000"/>
        </a:lnSpc>
        <a:spcBef>
          <a:spcPts val="1000"/>
        </a:spcBef>
        <a:buFont typeface="Arial" panose="020B0604020202020204" pitchFamily="34" charset="0"/>
        <a:buChar char="•"/>
        <a:defRPr kumimoji="1" lang="ja-JP" altLang="en-US" sz="1600" kern="1200" dirty="0">
          <a:solidFill>
            <a:schemeClr val="tx1"/>
          </a:solidFill>
          <a:latin typeface="Meiryo UI" panose="020B0604030504040204" pitchFamily="34" charset="-128"/>
          <a:ea typeface="Meiryo UI" panose="020B0604030504040204" pitchFamily="34" charset="-128"/>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kumimoji="1" lang="ja-JP" altLang="en-US" sz="1400" kern="1200" dirty="0">
          <a:solidFill>
            <a:schemeClr val="tx1"/>
          </a:solidFill>
          <a:latin typeface="Meiryo UI" panose="020B0604030504040204" pitchFamily="34" charset="-128"/>
          <a:ea typeface="Meiryo UI" panose="020B0604030504040204" pitchFamily="34" charset="-128"/>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kumimoji="1" lang="ja-JP" altLang="en-US" sz="1200" kern="1200" dirty="0">
          <a:solidFill>
            <a:schemeClr val="tx1"/>
          </a:solidFill>
          <a:latin typeface="Meiryo UI" panose="020B0604030504040204" pitchFamily="34" charset="-128"/>
          <a:ea typeface="Meiryo UI" panose="020B0604030504040204" pitchFamily="34" charset="-128"/>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kumimoji="1" lang="ja-JP" altLang="en-US" sz="1100" kern="1200" dirty="0">
          <a:solidFill>
            <a:schemeClr val="tx1"/>
          </a:solidFill>
          <a:latin typeface="Meiryo UI" panose="020B0604030504040204" pitchFamily="34" charset="-128"/>
          <a:ea typeface="Meiryo UI" panose="020B0604030504040204" pitchFamily="34"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userDrawn="1">
          <p15:clr>
            <a:srgbClr val="F26B43"/>
          </p15:clr>
        </p15:guide>
        <p15:guide id="2" pos="271" userDrawn="1">
          <p15:clr>
            <a:srgbClr val="F26B43"/>
          </p15:clr>
        </p15:guide>
        <p15:guide id="3" orient="horz" pos="4088" userDrawn="1">
          <p15:clr>
            <a:srgbClr val="F26B43"/>
          </p15:clr>
        </p15:guide>
        <p15:guide id="4" pos="740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9.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10.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24.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2.xml"/><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3.xml"/><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bin"/><Relationship Id="rId9" Type="http://schemas.openxmlformats.org/officeDocument/2006/relationships/image" Target="../media/image9.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18.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notesSlide" Target="../notesSlides/notesSlide5.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slideLayout" Target="../slideLayouts/slideLayout19.xml"/><Relationship Id="rId1" Type="http://schemas.openxmlformats.org/officeDocument/2006/relationships/tags" Target="../tags/tag7.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5.emf"/><Relationship Id="rId10" Type="http://schemas.openxmlformats.org/officeDocument/2006/relationships/image" Target="../media/image16.png"/><Relationship Id="rId4" Type="http://schemas.openxmlformats.org/officeDocument/2006/relationships/oleObject" Target="../embeddings/oleObject2.bin"/><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74E30BA3-CADC-1D7A-3DE1-E1F44A188DE1}"/>
              </a:ext>
            </a:extLst>
          </p:cNvPr>
          <p:cNvSpPr>
            <a:spLocks noGrp="1"/>
          </p:cNvSpPr>
          <p:nvPr>
            <p:ph type="ctrTitle"/>
          </p:nvPr>
        </p:nvSpPr>
        <p:spPr>
          <a:xfrm>
            <a:off x="1702501" y="1754982"/>
            <a:ext cx="8789545" cy="1762371"/>
          </a:xfrm>
        </p:spPr>
        <p:txBody>
          <a:bodyPr>
            <a:normAutofit/>
          </a:bodyPr>
          <a:lstStyle/>
          <a:p>
            <a:r>
              <a:rPr lang="en-US" altLang="ja-JP" dirty="0"/>
              <a:t>FA</a:t>
            </a:r>
            <a:r>
              <a:rPr lang="ja-JP" altLang="en-US" dirty="0"/>
              <a:t>サイト</a:t>
            </a:r>
            <a:r>
              <a:rPr lang="en-US" altLang="ja-JP" dirty="0"/>
              <a:t>_</a:t>
            </a:r>
            <a:r>
              <a:rPr lang="ja-JP" altLang="en-US" dirty="0"/>
              <a:t>保守運用に関する</a:t>
            </a:r>
            <a:br>
              <a:rPr lang="en-US" altLang="ja-JP" dirty="0"/>
            </a:br>
            <a:r>
              <a:rPr lang="ja-JP" altLang="en-US" dirty="0"/>
              <a:t>提案依頼書</a:t>
            </a:r>
            <a:endParaRPr lang="en-US" dirty="0"/>
          </a:p>
        </p:txBody>
      </p:sp>
      <p:sp>
        <p:nvSpPr>
          <p:cNvPr id="29" name="Subtitle 28">
            <a:extLst>
              <a:ext uri="{FF2B5EF4-FFF2-40B4-BE49-F238E27FC236}">
                <a16:creationId xmlns:a16="http://schemas.microsoft.com/office/drawing/2014/main" id="{F5937B65-9B15-EE8E-0698-8D9FE37565C7}"/>
              </a:ext>
            </a:extLst>
          </p:cNvPr>
          <p:cNvSpPr>
            <a:spLocks noGrp="1"/>
          </p:cNvSpPr>
          <p:nvPr>
            <p:ph type="subTitle" idx="1"/>
          </p:nvPr>
        </p:nvSpPr>
        <p:spPr>
          <a:xfrm>
            <a:off x="2462972" y="5213897"/>
            <a:ext cx="7266057" cy="1134948"/>
          </a:xfrm>
        </p:spPr>
        <p:txBody>
          <a:bodyPr/>
          <a:lstStyle/>
          <a:p>
            <a:pPr>
              <a:lnSpc>
                <a:spcPts val="1500"/>
              </a:lnSpc>
            </a:pPr>
            <a:r>
              <a:rPr lang="en-US" altLang="ja-JP" sz="1800" b="0" dirty="0"/>
              <a:t>FA</a:t>
            </a:r>
            <a:r>
              <a:rPr lang="ja-JP" altLang="en-US" sz="1800" b="0" dirty="0"/>
              <a:t>本 </a:t>
            </a:r>
            <a:r>
              <a:rPr lang="en-US" altLang="ja-JP" sz="1800" b="0" dirty="0"/>
              <a:t>FA</a:t>
            </a:r>
            <a:r>
              <a:rPr lang="ja-JP" altLang="en-US" sz="1800" b="0" dirty="0"/>
              <a:t>事推プロ デジタルマーケティング</a:t>
            </a:r>
            <a:r>
              <a:rPr lang="en-US" altLang="ja-JP" sz="1800" b="0" dirty="0"/>
              <a:t>G</a:t>
            </a:r>
            <a:r>
              <a:rPr lang="ja-JP" altLang="en-US" sz="1800" b="0" dirty="0"/>
              <a:t> </a:t>
            </a:r>
            <a:endParaRPr lang="en-US" altLang="ja-JP" sz="1800" b="0" dirty="0"/>
          </a:p>
          <a:p>
            <a:pPr>
              <a:lnSpc>
                <a:spcPts val="1500"/>
              </a:lnSpc>
            </a:pPr>
            <a:r>
              <a:rPr lang="en-US" altLang="ja-JP" sz="1800" b="0" dirty="0"/>
              <a:t>2025</a:t>
            </a:r>
            <a:r>
              <a:rPr lang="ja-JP" altLang="en-US" sz="1800" b="0" dirty="0"/>
              <a:t>年</a:t>
            </a:r>
            <a:r>
              <a:rPr lang="en-US" altLang="ja-JP" sz="1800" b="0" dirty="0"/>
              <a:t> 4</a:t>
            </a:r>
            <a:r>
              <a:rPr lang="ja-JP" altLang="en-US" sz="1800" b="0" dirty="0"/>
              <a:t>月</a:t>
            </a:r>
            <a:r>
              <a:rPr lang="en-US" altLang="ja-JP" sz="1800" b="0" dirty="0"/>
              <a:t> 15</a:t>
            </a:r>
            <a:r>
              <a:rPr lang="ja-JP" altLang="en-US" sz="1800" b="0" dirty="0"/>
              <a:t>日</a:t>
            </a:r>
            <a:endParaRPr lang="en-US" sz="1800" b="0" dirty="0"/>
          </a:p>
        </p:txBody>
      </p:sp>
    </p:spTree>
    <p:extLst>
      <p:ext uri="{BB962C8B-B14F-4D97-AF65-F5344CB8AC3E}">
        <p14:creationId xmlns:p14="http://schemas.microsoft.com/office/powerpoint/2010/main" val="1362209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F2C39E-82E4-58C4-5A76-55E6EF83DE65}"/>
              </a:ext>
            </a:extLst>
          </p:cNvPr>
          <p:cNvSpPr>
            <a:spLocks noGrp="1"/>
          </p:cNvSpPr>
          <p:nvPr>
            <p:ph type="sldNum" sz="quarter" idx="18"/>
          </p:nvPr>
        </p:nvSpPr>
        <p:spPr/>
        <p:txBody>
          <a:bodyPr/>
          <a:lstStyle/>
          <a:p>
            <a:fld id="{8E309D18-5CEC-4165-B971-DC4DA761F26D}" type="slidenum">
              <a:rPr lang="ja-JP" altLang="en-US" smtClean="0"/>
              <a:pPr/>
              <a:t>10</a:t>
            </a:fld>
            <a:endParaRPr lang="ja-JP" altLang="en-US" dirty="0"/>
          </a:p>
        </p:txBody>
      </p:sp>
      <p:graphicFrame>
        <p:nvGraphicFramePr>
          <p:cNvPr id="10" name="表 9">
            <a:extLst>
              <a:ext uri="{FF2B5EF4-FFF2-40B4-BE49-F238E27FC236}">
                <a16:creationId xmlns:a16="http://schemas.microsoft.com/office/drawing/2014/main" id="{BFB0784F-7379-0169-8922-65737519BD2D}"/>
              </a:ext>
            </a:extLst>
          </p:cNvPr>
          <p:cNvGraphicFramePr>
            <a:graphicFrameLocks noGrp="1"/>
          </p:cNvGraphicFramePr>
          <p:nvPr>
            <p:extLst>
              <p:ext uri="{D42A27DB-BD31-4B8C-83A1-F6EECF244321}">
                <p14:modId xmlns:p14="http://schemas.microsoft.com/office/powerpoint/2010/main" val="3563874706"/>
              </p:ext>
            </p:extLst>
          </p:nvPr>
        </p:nvGraphicFramePr>
        <p:xfrm>
          <a:off x="1479885" y="744192"/>
          <a:ext cx="9338537" cy="5941616"/>
        </p:xfrm>
        <a:graphic>
          <a:graphicData uri="http://schemas.openxmlformats.org/drawingml/2006/table">
            <a:tbl>
              <a:tblPr>
                <a:tableStyleId>{2A488322-F2BA-4B5B-9748-0D474271808F}</a:tableStyleId>
              </a:tblPr>
              <a:tblGrid>
                <a:gridCol w="513622">
                  <a:extLst>
                    <a:ext uri="{9D8B030D-6E8A-4147-A177-3AD203B41FA5}">
                      <a16:colId xmlns:a16="http://schemas.microsoft.com/office/drawing/2014/main" val="1815760693"/>
                    </a:ext>
                  </a:extLst>
                </a:gridCol>
                <a:gridCol w="758757">
                  <a:extLst>
                    <a:ext uri="{9D8B030D-6E8A-4147-A177-3AD203B41FA5}">
                      <a16:colId xmlns:a16="http://schemas.microsoft.com/office/drawing/2014/main" val="921192123"/>
                    </a:ext>
                  </a:extLst>
                </a:gridCol>
                <a:gridCol w="2182882">
                  <a:extLst>
                    <a:ext uri="{9D8B030D-6E8A-4147-A177-3AD203B41FA5}">
                      <a16:colId xmlns:a16="http://schemas.microsoft.com/office/drawing/2014/main" val="1026100335"/>
                    </a:ext>
                  </a:extLst>
                </a:gridCol>
                <a:gridCol w="326849">
                  <a:extLst>
                    <a:ext uri="{9D8B030D-6E8A-4147-A177-3AD203B41FA5}">
                      <a16:colId xmlns:a16="http://schemas.microsoft.com/office/drawing/2014/main" val="2922748915"/>
                    </a:ext>
                  </a:extLst>
                </a:gridCol>
                <a:gridCol w="3295217">
                  <a:extLst>
                    <a:ext uri="{9D8B030D-6E8A-4147-A177-3AD203B41FA5}">
                      <a16:colId xmlns:a16="http://schemas.microsoft.com/office/drawing/2014/main" val="3724434257"/>
                    </a:ext>
                  </a:extLst>
                </a:gridCol>
                <a:gridCol w="2261210">
                  <a:extLst>
                    <a:ext uri="{9D8B030D-6E8A-4147-A177-3AD203B41FA5}">
                      <a16:colId xmlns:a16="http://schemas.microsoft.com/office/drawing/2014/main" val="2996626776"/>
                    </a:ext>
                  </a:extLst>
                </a:gridCol>
              </a:tblGrid>
              <a:tr h="212147">
                <a:tc>
                  <a:txBody>
                    <a:bodyPr/>
                    <a:lstStyle/>
                    <a:p>
                      <a:pPr algn="ctr" fontAlgn="ctr"/>
                      <a:r>
                        <a:rPr lang="ja-JP" altLang="en-US" sz="800" u="none" strike="noStrike" dirty="0">
                          <a:effectLst/>
                        </a:rPr>
                        <a:t>区分</a:t>
                      </a:r>
                      <a:endParaRPr lang="ja-JP" alt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R w="12700" cap="flat" cmpd="sng" algn="ctr">
                      <a:solidFill>
                        <a:schemeClr val="bg1"/>
                      </a:solidFill>
                      <a:prstDash val="solid"/>
                      <a:round/>
                      <a:headEnd type="none" w="med" len="med"/>
                      <a:tailEnd type="none" w="med" len="med"/>
                    </a:lnR>
                    <a:solidFill>
                      <a:schemeClr val="bg2"/>
                    </a:solidFill>
                  </a:tcPr>
                </a:tc>
                <a:tc>
                  <a:txBody>
                    <a:bodyPr/>
                    <a:lstStyle/>
                    <a:p>
                      <a:pPr algn="ctr" fontAlgn="ctr"/>
                      <a:r>
                        <a:rPr lang="ja-JP" altLang="en-US" sz="800" u="none" strike="noStrike" dirty="0">
                          <a:effectLst/>
                        </a:rPr>
                        <a:t>種別</a:t>
                      </a:r>
                      <a:endParaRPr lang="ja-JP" alt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solidFill>
                  </a:tcPr>
                </a:tc>
                <a:tc>
                  <a:txBody>
                    <a:bodyPr/>
                    <a:lstStyle/>
                    <a:p>
                      <a:pPr algn="ctr" fontAlgn="ctr"/>
                      <a:r>
                        <a:rPr lang="ja-JP" altLang="en-US" sz="800" u="none" strike="noStrike" dirty="0">
                          <a:effectLst/>
                        </a:rPr>
                        <a:t>業務名</a:t>
                      </a:r>
                      <a:endParaRPr lang="ja-JP" alt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solidFill>
                  </a:tcPr>
                </a:tc>
                <a:tc>
                  <a:txBody>
                    <a:bodyPr/>
                    <a:lstStyle/>
                    <a:p>
                      <a:pPr algn="ctr" fontAlgn="ctr"/>
                      <a:r>
                        <a:rPr lang="en-US" sz="800" u="none" strike="noStrike" dirty="0">
                          <a:effectLst/>
                        </a:rPr>
                        <a:t>No.</a:t>
                      </a:r>
                      <a:endParaRPr 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solidFill>
                  </a:tcPr>
                </a:tc>
                <a:tc>
                  <a:txBody>
                    <a:bodyPr/>
                    <a:lstStyle/>
                    <a:p>
                      <a:pPr algn="ctr" fontAlgn="ctr"/>
                      <a:r>
                        <a:rPr lang="ja-JP" altLang="en-US" sz="800" u="none" strike="noStrike" dirty="0">
                          <a:effectLst/>
                        </a:rPr>
                        <a:t>業務概要</a:t>
                      </a:r>
                      <a:endParaRPr lang="ja-JP" alt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solidFill>
                  </a:tcPr>
                </a:tc>
                <a:tc>
                  <a:txBody>
                    <a:bodyPr/>
                    <a:lstStyle/>
                    <a:p>
                      <a:pPr algn="ctr" fontAlgn="ctr"/>
                      <a:r>
                        <a:rPr lang="ja-JP" altLang="en-US" sz="800" u="none" strike="noStrike" dirty="0">
                          <a:effectLst/>
                        </a:rPr>
                        <a:t>　</a:t>
                      </a:r>
                      <a:endParaRPr lang="ja-JP" altLang="en-US" sz="800" b="0" i="0" u="none" strike="noStrike" dirty="0">
                        <a:solidFill>
                          <a:srgbClr val="FFFFFF"/>
                        </a:solidFill>
                        <a:effectLst/>
                        <a:latin typeface="Meiryo UI" panose="020B0604030504040204" pitchFamily="50" charset="-128"/>
                        <a:ea typeface="Meiryo UI" panose="020B0604030504040204" pitchFamily="50" charset="-128"/>
                      </a:endParaRPr>
                    </a:p>
                  </a:txBody>
                  <a:tcPr marL="4722" marR="4722" marT="4722" marB="0" anchor="ctr">
                    <a:lnL w="12700" cap="flat" cmpd="sng" algn="ctr">
                      <a:solidFill>
                        <a:schemeClr val="bg1"/>
                      </a:solidFill>
                      <a:prstDash val="solid"/>
                      <a:round/>
                      <a:headEnd type="none" w="med" len="med"/>
                      <a:tailEnd type="none" w="med" len="med"/>
                    </a:lnL>
                    <a:solidFill>
                      <a:srgbClr val="E0E0E0"/>
                    </a:solidFill>
                  </a:tcPr>
                </a:tc>
                <a:extLst>
                  <a:ext uri="{0D108BD9-81ED-4DB2-BD59-A6C34878D82A}">
                    <a16:rowId xmlns:a16="http://schemas.microsoft.com/office/drawing/2014/main" val="4043774605"/>
                  </a:ext>
                </a:extLst>
              </a:tr>
              <a:tr h="174588">
                <a:tc rowSpan="3">
                  <a:txBody>
                    <a:bodyPr/>
                    <a:lstStyle/>
                    <a:p>
                      <a:pPr algn="l" fontAlgn="t"/>
                      <a:r>
                        <a:rPr lang="ja-JP" altLang="en-US" sz="800" u="none" strike="noStrike" dirty="0">
                          <a:solidFill>
                            <a:schemeClr val="tx1"/>
                          </a:solidFill>
                          <a:effectLst/>
                        </a:rPr>
                        <a:t>全般</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R w="9525" cap="flat" cmpd="sng" algn="ctr">
                      <a:solidFill>
                        <a:srgbClr val="E0E0E0"/>
                      </a:solidFill>
                      <a:prstDash val="solid"/>
                      <a:round/>
                      <a:headEnd type="none" w="med" len="med"/>
                      <a:tailEnd type="none" w="med" len="med"/>
                    </a:lnR>
                    <a:lnB w="19050" cap="flat" cmpd="sng" algn="ctr">
                      <a:solidFill>
                        <a:srgbClr val="9D90A0"/>
                      </a:solidFill>
                      <a:prstDash val="solid"/>
                      <a:round/>
                      <a:headEnd type="none" w="med" len="med"/>
                      <a:tailEnd type="none" w="med" len="med"/>
                    </a:lnB>
                  </a:tcPr>
                </a:tc>
                <a:tc rowSpan="3">
                  <a:txBody>
                    <a:bodyPr/>
                    <a:lstStyle/>
                    <a:p>
                      <a:pPr algn="l" fontAlgn="t"/>
                      <a:r>
                        <a:rPr lang="en-US" sz="800" u="none" strike="noStrike" dirty="0">
                          <a:solidFill>
                            <a:schemeClr val="tx1"/>
                          </a:solidFill>
                          <a:effectLst/>
                        </a:rPr>
                        <a:t>PM/PMO</a:t>
                      </a:r>
                      <a:endParaRPr 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B w="19050" cap="flat" cmpd="sng" algn="ctr">
                      <a:solidFill>
                        <a:srgbClr val="9D90A0"/>
                      </a:solidFill>
                      <a:prstDash val="solid"/>
                      <a:round/>
                      <a:headEnd type="none" w="med" len="med"/>
                      <a:tailEnd type="none" w="med" len="med"/>
                    </a:lnB>
                  </a:tcPr>
                </a:tc>
                <a:tc rowSpan="3">
                  <a:txBody>
                    <a:bodyPr/>
                    <a:lstStyle/>
                    <a:p>
                      <a:pPr algn="l" fontAlgn="t"/>
                      <a:r>
                        <a:rPr lang="ja-JP" altLang="en-US" sz="800" u="none" strike="noStrike" dirty="0">
                          <a:solidFill>
                            <a:schemeClr val="tx1"/>
                          </a:solidFill>
                          <a:effectLst/>
                        </a:rPr>
                        <a:t>保守運用に関するプロジェクト管理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B w="19050" cap="flat" cmpd="sng" algn="ctr">
                      <a:solidFill>
                        <a:srgbClr val="9D90A0"/>
                      </a:solidFill>
                      <a:prstDash val="solid"/>
                      <a:round/>
                      <a:headEnd type="none" w="med" len="med"/>
                      <a:tailEnd type="none" w="med" len="med"/>
                    </a:lnB>
                  </a:tcPr>
                </a:tc>
                <a:tc rowSpan="3">
                  <a:txBody>
                    <a:bodyPr/>
                    <a:lstStyle/>
                    <a:p>
                      <a:pPr algn="l" rtl="0" fontAlgn="t"/>
                      <a:r>
                        <a:rPr lang="en-US" altLang="ja-JP" sz="800" u="none" strike="noStrike" dirty="0">
                          <a:solidFill>
                            <a:schemeClr val="tx1"/>
                          </a:solidFill>
                          <a:effectLst/>
                          <a:latin typeface="+mn-lt"/>
                        </a:rPr>
                        <a:t>1</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B w="19050" cap="flat" cmpd="sng" algn="ctr">
                      <a:solidFill>
                        <a:srgbClr val="9D90A0"/>
                      </a:solidFill>
                      <a:prstDash val="solid"/>
                      <a:round/>
                      <a:headEnd type="none" w="med" len="med"/>
                      <a:tailEnd type="none" w="med" len="med"/>
                    </a:lnB>
                  </a:tcPr>
                </a:tc>
                <a:tc rowSpan="3">
                  <a:txBody>
                    <a:bodyPr/>
                    <a:lstStyle/>
                    <a:p>
                      <a:pPr algn="l" rtl="0" fontAlgn="t"/>
                      <a:r>
                        <a:rPr lang="ja-JP" altLang="en-US" sz="800" u="none" strike="noStrike" dirty="0">
                          <a:solidFill>
                            <a:schemeClr val="tx1"/>
                          </a:solidFill>
                          <a:effectLst/>
                        </a:rPr>
                        <a:t>要員管理、計画立案、スケジュール管理、品質管理、進捗管理、課題・リスク管理等</a:t>
                      </a:r>
                      <a:br>
                        <a:rPr lang="ja-JP" altLang="en-US" sz="800" u="none" strike="noStrike" dirty="0">
                          <a:solidFill>
                            <a:schemeClr val="tx1"/>
                          </a:solidFill>
                          <a:effectLst/>
                        </a:rPr>
                      </a:br>
                      <a:r>
                        <a:rPr lang="ja-JP" altLang="en-US" sz="800" u="none" strike="noStrike" dirty="0">
                          <a:solidFill>
                            <a:schemeClr val="tx1"/>
                          </a:solidFill>
                          <a:effectLst/>
                        </a:rPr>
                        <a:t>保守運用改善検討、見直し</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B w="19050" cap="flat" cmpd="sng" algn="ctr">
                      <a:solidFill>
                        <a:srgbClr val="9D90A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プロジェクト管理（ベンダ内）</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1679868044"/>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定期報告会</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3244852645"/>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zh-TW" altLang="en-US" sz="800" u="none" strike="noStrike" dirty="0">
                          <a:solidFill>
                            <a:schemeClr val="tx1"/>
                          </a:solidFill>
                          <a:effectLst/>
                          <a:latin typeface="+mn-ea"/>
                          <a:ea typeface="+mn-ea"/>
                        </a:rPr>
                        <a:t>全体改善検討</a:t>
                      </a:r>
                      <a:endParaRPr lang="zh-TW"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B w="19050" cap="flat" cmpd="sng" algn="ctr">
                      <a:solidFill>
                        <a:srgbClr val="9D90A0"/>
                      </a:solidFill>
                      <a:prstDash val="solid"/>
                      <a:round/>
                      <a:headEnd type="none" w="med" len="med"/>
                      <a:tailEnd type="none" w="med" len="med"/>
                    </a:lnB>
                  </a:tcPr>
                </a:tc>
                <a:extLst>
                  <a:ext uri="{0D108BD9-81ED-4DB2-BD59-A6C34878D82A}">
                    <a16:rowId xmlns:a16="http://schemas.microsoft.com/office/drawing/2014/main" val="1973377047"/>
                  </a:ext>
                </a:extLst>
              </a:tr>
              <a:tr h="192981">
                <a:tc rowSpan="7">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b="0" u="none" strike="noStrike" dirty="0">
                          <a:solidFill>
                            <a:schemeClr val="tx1"/>
                          </a:solidFill>
                          <a:effectLst/>
                        </a:rPr>
                        <a:t>作業</a:t>
                      </a:r>
                    </a:p>
                  </a:txBody>
                  <a:tcPr marL="4722" marR="4722" marT="4722" marB="0">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9D90A0"/>
                      </a:solidFill>
                      <a:prstDash val="solid"/>
                      <a:round/>
                      <a:headEnd type="none" w="med" len="med"/>
                      <a:tailEnd type="none" w="med" len="med"/>
                    </a:lnB>
                  </a:tcPr>
                </a:tc>
                <a:tc rowSpan="4">
                  <a:txBody>
                    <a:bodyPr/>
                    <a:lstStyle/>
                    <a:p>
                      <a:pPr algn="l" fontAlgn="t"/>
                      <a:r>
                        <a:rPr lang="ja-JP" altLang="en-US" sz="800" u="none" strike="noStrike" dirty="0">
                          <a:solidFill>
                            <a:schemeClr val="tx1"/>
                          </a:solidFill>
                          <a:effectLst/>
                        </a:rPr>
                        <a:t>作業依頼</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4">
                  <a:txBody>
                    <a:bodyPr/>
                    <a:lstStyle/>
                    <a:p>
                      <a:pPr algn="l" fontAlgn="t"/>
                      <a:r>
                        <a:rPr lang="ja-JP" altLang="en-US" sz="800" u="none" strike="noStrike" dirty="0">
                          <a:solidFill>
                            <a:schemeClr val="tx1"/>
                          </a:solidFill>
                          <a:effectLst/>
                        </a:rPr>
                        <a:t>事務局（またはユーザ）からの依頼に対応する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4">
                  <a:txBody>
                    <a:bodyPr/>
                    <a:lstStyle/>
                    <a:p>
                      <a:pPr algn="l" rtl="0" fontAlgn="t"/>
                      <a:r>
                        <a:rPr lang="en-US" altLang="ja-JP" sz="800" b="0" i="0" u="none" strike="noStrike" dirty="0">
                          <a:solidFill>
                            <a:schemeClr val="tx1"/>
                          </a:solidFill>
                          <a:effectLst/>
                          <a:latin typeface="+mn-lt"/>
                          <a:ea typeface="Meiryo UI" panose="020B0604030504040204" pitchFamily="50" charset="-128"/>
                        </a:rPr>
                        <a:t>2</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4">
                  <a:txBody>
                    <a:bodyPr/>
                    <a:lstStyle/>
                    <a:p>
                      <a:pPr algn="l" rtl="0" fontAlgn="t"/>
                      <a:r>
                        <a:rPr lang="ja-JP" altLang="en-US" sz="800" u="none" strike="noStrike" dirty="0">
                          <a:solidFill>
                            <a:schemeClr val="tx1"/>
                          </a:solidFill>
                          <a:effectLst/>
                        </a:rPr>
                        <a:t>手順書作成、ユーザ登録・変更・削除、検証・本番環境リリース</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手順書作成・更新</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19050" cap="flat" cmpd="sng" algn="ctr">
                      <a:solidFill>
                        <a:srgbClr val="9D90A0"/>
                      </a:solidFill>
                      <a:prstDash val="solid"/>
                      <a:round/>
                      <a:headEnd type="none" w="med" len="med"/>
                      <a:tailEnd type="none" w="med" len="med"/>
                    </a:lnT>
                  </a:tcPr>
                </a:tc>
                <a:extLst>
                  <a:ext uri="{0D108BD9-81ED-4DB2-BD59-A6C34878D82A}">
                    <a16:rowId xmlns:a16="http://schemas.microsoft.com/office/drawing/2014/main" val="1248808351"/>
                  </a:ext>
                </a:extLst>
              </a:tr>
              <a:tr h="171325">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ユーザー登録・変更・削除</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2570650433"/>
                  </a:ext>
                </a:extLst>
              </a:tr>
              <a:tr h="173579">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検証・本番環境リリース</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1452981529"/>
                  </a:ext>
                </a:extLst>
              </a:tr>
              <a:tr h="168355">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その他（</a:t>
                      </a:r>
                      <a:r>
                        <a:rPr lang="en-US" altLang="ja-JP" sz="800" u="none" strike="noStrike" dirty="0">
                          <a:solidFill>
                            <a:schemeClr val="tx1"/>
                          </a:solidFill>
                          <a:effectLst/>
                          <a:latin typeface="+mn-ea"/>
                          <a:ea typeface="+mn-ea"/>
                        </a:rPr>
                        <a:t>EC</a:t>
                      </a:r>
                      <a:r>
                        <a:rPr lang="ja-JP" altLang="en-US" sz="800" u="none" strike="noStrike" dirty="0">
                          <a:solidFill>
                            <a:schemeClr val="tx1"/>
                          </a:solidFill>
                          <a:effectLst/>
                          <a:latin typeface="+mn-ea"/>
                          <a:ea typeface="+mn-ea"/>
                        </a:rPr>
                        <a:t>関連作業）</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676458127"/>
                  </a:ext>
                </a:extLst>
              </a:tr>
              <a:tr h="188682">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rowSpan="3">
                  <a:txBody>
                    <a:bodyPr/>
                    <a:lstStyle/>
                    <a:p>
                      <a:pPr algn="l" fontAlgn="t"/>
                      <a:r>
                        <a:rPr lang="ja-JP" altLang="en-US" sz="800" u="none" strike="noStrike" dirty="0">
                          <a:solidFill>
                            <a:schemeClr val="tx1"/>
                          </a:solidFill>
                          <a:effectLst/>
                        </a:rPr>
                        <a:t>定型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rowSpan="3">
                  <a:txBody>
                    <a:bodyPr/>
                    <a:lstStyle/>
                    <a:p>
                      <a:pPr algn="l" rtl="0" fontAlgn="t"/>
                      <a:r>
                        <a:rPr lang="ja-JP" altLang="en-US" sz="800" u="none" strike="noStrike" dirty="0">
                          <a:solidFill>
                            <a:schemeClr val="tx1"/>
                          </a:solidFill>
                          <a:effectLst/>
                        </a:rPr>
                        <a:t>任意のタイミングや特定の日時に、手順や内容が決まっていて実施する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rowSpan="2">
                  <a:txBody>
                    <a:bodyPr/>
                    <a:lstStyle/>
                    <a:p>
                      <a:pPr algn="l" rtl="0" fontAlgn="t"/>
                      <a:r>
                        <a:rPr lang="en-US" altLang="ja-JP" sz="800" b="0" i="0" u="none" strike="noStrike" dirty="0">
                          <a:solidFill>
                            <a:schemeClr val="tx1"/>
                          </a:solidFill>
                          <a:effectLst/>
                          <a:latin typeface="+mn-lt"/>
                          <a:ea typeface="Meiryo UI" panose="020B0604030504040204" pitchFamily="50" charset="-128"/>
                        </a:rPr>
                        <a:t>3</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rowSpan="2">
                  <a:txBody>
                    <a:bodyPr/>
                    <a:lstStyle/>
                    <a:p>
                      <a:pPr algn="l" rtl="0" fontAlgn="t"/>
                      <a:r>
                        <a:rPr lang="ja-JP" altLang="en-US" sz="800" u="none" strike="noStrike" dirty="0">
                          <a:solidFill>
                            <a:schemeClr val="tx1"/>
                          </a:solidFill>
                          <a:effectLst/>
                        </a:rPr>
                        <a:t>ログ管理、システム再起動</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ログ管理</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tcPr>
                </a:tc>
                <a:extLst>
                  <a:ext uri="{0D108BD9-81ED-4DB2-BD59-A6C34878D82A}">
                    <a16:rowId xmlns:a16="http://schemas.microsoft.com/office/drawing/2014/main" val="1765584890"/>
                  </a:ext>
                </a:extLst>
              </a:tr>
              <a:tr h="1832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システム再起動（定期メンテ）</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3859741034"/>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en-US" altLang="ja-JP" sz="800" b="0" i="0" u="none" strike="noStrike" dirty="0">
                          <a:solidFill>
                            <a:schemeClr val="tx1"/>
                          </a:solidFill>
                          <a:effectLst/>
                          <a:latin typeface="+mn-lt"/>
                          <a:ea typeface="Meiryo UI" panose="020B0604030504040204" pitchFamily="50" charset="-128"/>
                        </a:rPr>
                        <a:t>4</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サーバメンテナンスメンテナンス後のアプリ影響確認</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動作確認</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extLst>
                  <a:ext uri="{0D108BD9-81ED-4DB2-BD59-A6C34878D82A}">
                    <a16:rowId xmlns:a16="http://schemas.microsoft.com/office/drawing/2014/main" val="3578548881"/>
                  </a:ext>
                </a:extLst>
              </a:tr>
              <a:tr h="169681">
                <a:tc rowSpan="12">
                  <a:txBody>
                    <a:bodyPr/>
                    <a:lstStyle/>
                    <a:p>
                      <a:pPr algn="l" fontAlgn="t"/>
                      <a:r>
                        <a:rPr lang="ja-JP" altLang="en-US" sz="800" b="0" u="none" strike="noStrike" dirty="0">
                          <a:solidFill>
                            <a:schemeClr val="tx1"/>
                          </a:solidFill>
                          <a:effectLst/>
                        </a:rPr>
                        <a:t>運用</a:t>
                      </a: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endParaRPr lang="ja-JP" altLang="en-US" sz="800" b="0" u="none" strike="noStrike" dirty="0">
                        <a:solidFill>
                          <a:schemeClr val="tx1"/>
                        </a:solidFill>
                        <a:effectLst/>
                      </a:endParaRPr>
                    </a:p>
                    <a:p>
                      <a:pPr algn="l" fontAlgn="t"/>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R w="9525" cap="flat" cmpd="sng" algn="ctr">
                      <a:solidFill>
                        <a:srgbClr val="E0E0E0"/>
                      </a:solidFill>
                      <a:prstDash val="solid"/>
                      <a:round/>
                      <a:headEnd type="none" w="med" len="med"/>
                      <a:tailEnd type="none" w="med" len="med"/>
                    </a:lnR>
                    <a:lnT w="12700" cap="flat" cmpd="sng" algn="ctr">
                      <a:solidFill>
                        <a:srgbClr val="9D90A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rowSpan="3">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rPr>
                        <a:t>問合せ</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3">
                  <a:txBody>
                    <a:bodyPr/>
                    <a:lstStyle/>
                    <a:p>
                      <a:pPr algn="l" rtl="0" fontAlgn="t"/>
                      <a:r>
                        <a:rPr lang="ja-JP" altLang="en-US" sz="800" u="none" strike="noStrike" dirty="0">
                          <a:solidFill>
                            <a:schemeClr val="tx1"/>
                          </a:solidFill>
                          <a:effectLst/>
                        </a:rPr>
                        <a:t>問合せ対応</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3">
                  <a:txBody>
                    <a:bodyPr/>
                    <a:lstStyle/>
                    <a:p>
                      <a:pPr algn="l" rtl="0" fontAlgn="t"/>
                      <a:r>
                        <a:rPr lang="en-US" altLang="ja-JP" sz="800" b="0" i="0" u="none" strike="noStrike" dirty="0">
                          <a:solidFill>
                            <a:schemeClr val="tx1"/>
                          </a:solidFill>
                          <a:effectLst/>
                          <a:latin typeface="+mn-lt"/>
                          <a:ea typeface="Meiryo UI" panose="020B0604030504040204" pitchFamily="50" charset="-128"/>
                        </a:rPr>
                        <a:t>5</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rowSpan="3">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rPr>
                        <a:t>社内システム利用ユーザ、関連システムからの各種問合せに対する調査・回答</a:t>
                      </a:r>
                      <a:br>
                        <a:rPr lang="ja-JP" altLang="en-US" sz="800" u="none" strike="noStrike" dirty="0">
                          <a:solidFill>
                            <a:schemeClr val="tx1"/>
                          </a:solidFill>
                          <a:effectLst/>
                        </a:rPr>
                      </a:br>
                      <a:r>
                        <a:rPr lang="ja-JP" altLang="en-US" sz="800" u="none" strike="noStrike" dirty="0">
                          <a:solidFill>
                            <a:schemeClr val="tx1"/>
                          </a:solidFill>
                          <a:effectLst/>
                        </a:rPr>
                        <a:t>（ヘルプデスク経由含む）</a:t>
                      </a:r>
                      <a:endParaRPr lang="en-US" altLang="ja-JP" sz="800" u="none" strike="noStrike" dirty="0">
                        <a:solidFill>
                          <a:schemeClr val="tx1"/>
                        </a:solidFill>
                        <a:effectLst/>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latin typeface="+mn-ea"/>
                          <a:ea typeface="+mn-ea"/>
                        </a:rPr>
                        <a:t>回答・連絡</a:t>
                      </a:r>
                      <a:endParaRPr lang="en-US" altLang="ja-JP"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19050" cap="flat" cmpd="sng" algn="ctr">
                      <a:solidFill>
                        <a:srgbClr val="9D90A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12310253"/>
                  </a:ext>
                </a:extLst>
              </a:tr>
              <a:tr h="180559">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b="0" i="0" u="none" strike="noStrike" dirty="0">
                          <a:solidFill>
                            <a:schemeClr val="tx1"/>
                          </a:solidFill>
                          <a:effectLst/>
                          <a:latin typeface="+mn-ea"/>
                          <a:ea typeface="+mn-ea"/>
                        </a:rPr>
                        <a:t>調査</a:t>
                      </a:r>
                    </a:p>
                  </a:txBody>
                  <a:tcPr marL="4722" marR="4722" marT="4722" marB="0">
                    <a:lnL w="9525" cap="flat" cmpd="sng" algn="ctr">
                      <a:solidFill>
                        <a:srgbClr val="E0E0E0"/>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00252476"/>
                  </a:ext>
                </a:extLst>
              </a:tr>
              <a:tr h="17153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latin typeface="+mn-ea"/>
                          <a:ea typeface="+mn-ea"/>
                        </a:rPr>
                        <a:t>状況報告</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12700" cap="flat" cmpd="sng" algn="ctr">
                      <a:solidFill>
                        <a:schemeClr val="bg1"/>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3718648444"/>
                  </a:ext>
                </a:extLst>
              </a:tr>
              <a:tr h="198615">
                <a:tc vMerge="1">
                  <a:txBody>
                    <a:bodyPr/>
                    <a:lstStyle/>
                    <a:p>
                      <a:endParaRPr kumimoji="1" lang="ja-JP" altLang="en-US"/>
                    </a:p>
                  </a:txBody>
                  <a:tcPr/>
                </a:tc>
                <a:tc row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mn-lt"/>
                          <a:ea typeface="+mn-ea"/>
                          <a:cs typeface="+mn-cs"/>
                        </a:rPr>
                        <a:t>アプリ保守</a:t>
                      </a: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2">
                  <a:txBody>
                    <a:bodyPr/>
                    <a:lstStyle/>
                    <a:p>
                      <a:pPr algn="l" fontAlgn="t"/>
                      <a:r>
                        <a:rPr lang="ja-JP" altLang="en-US" sz="800" b="0" i="0" u="none" strike="noStrike" dirty="0">
                          <a:solidFill>
                            <a:schemeClr val="tx1"/>
                          </a:solidFill>
                          <a:effectLst/>
                          <a:latin typeface="Meiryo UI" panose="020B0604030504040204" pitchFamily="50" charset="-128"/>
                          <a:ea typeface="Meiryo UI" panose="020B0604030504040204" pitchFamily="50" charset="-128"/>
                        </a:rPr>
                        <a:t>障害対応</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rowSpan="2">
                  <a:txBody>
                    <a:bodyPr/>
                    <a:lstStyle/>
                    <a:p>
                      <a:pPr algn="l" rtl="0" fontAlgn="t"/>
                      <a:r>
                        <a:rPr lang="en-US" altLang="ja-JP" sz="800" b="0" i="0" u="none" strike="noStrike" dirty="0">
                          <a:solidFill>
                            <a:schemeClr val="tx1"/>
                          </a:solidFill>
                          <a:effectLst/>
                          <a:latin typeface="+mn-lt"/>
                          <a:ea typeface="Meiryo UI" panose="020B0604030504040204" pitchFamily="50" charset="-128"/>
                        </a:rPr>
                        <a:t>6</a:t>
                      </a: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row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rPr>
                        <a:t>アプリケーション（</a:t>
                      </a:r>
                      <a:r>
                        <a:rPr lang="en-US" altLang="ja-JP" sz="800" u="none" strike="noStrike" dirty="0">
                          <a:solidFill>
                            <a:schemeClr val="tx1"/>
                          </a:solidFill>
                          <a:effectLst/>
                        </a:rPr>
                        <a:t>S/W</a:t>
                      </a:r>
                      <a:r>
                        <a:rPr lang="ja-JP" altLang="en-US" sz="800" u="none" strike="noStrike" dirty="0">
                          <a:solidFill>
                            <a:schemeClr val="tx1"/>
                          </a:solidFill>
                          <a:effectLst/>
                        </a:rPr>
                        <a:t>）側でシステムエラーが発生した場合の原因・影響調査、暫定対応、恒久対応、再発防止策実施等</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b="0" i="0" u="none" strike="noStrike" dirty="0">
                          <a:solidFill>
                            <a:schemeClr val="tx1"/>
                          </a:solidFill>
                          <a:effectLst/>
                          <a:latin typeface="+mn-ea"/>
                          <a:ea typeface="+mn-ea"/>
                        </a:rPr>
                        <a:t>調査</a:t>
                      </a: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23898248"/>
                  </a:ext>
                </a:extLst>
              </a:tr>
              <a:tr h="198616">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latin typeface="+mn-ea"/>
                          <a:ea typeface="+mn-ea"/>
                        </a:rPr>
                        <a:t>対策立案</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12700" cap="flat" cmpd="sng" algn="ctr">
                      <a:solidFill>
                        <a:schemeClr val="bg1"/>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216753969"/>
                  </a:ext>
                </a:extLst>
              </a:tr>
              <a:tr h="436626">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lnT w="19050" cap="flat" cmpd="sng" algn="ctr">
                      <a:solidFill>
                        <a:srgbClr val="9D90A0"/>
                      </a:solidFill>
                      <a:prstDash val="solid"/>
                      <a:round/>
                      <a:headEnd type="none" w="med" len="med"/>
                      <a:tailEnd type="none" w="med" len="med"/>
                    </a:lnT>
                  </a:tcPr>
                </a:tc>
                <a:tc rowSpan="7">
                  <a:txBody>
                    <a:bodyPr/>
                    <a:lstStyle/>
                    <a:p>
                      <a:pPr algn="l" fontAlgn="t"/>
                      <a:r>
                        <a:rPr lang="ja-JP" altLang="en-US" sz="800" u="none" strike="noStrike" dirty="0">
                          <a:solidFill>
                            <a:schemeClr val="tx1"/>
                          </a:solidFill>
                          <a:effectLst/>
                        </a:rPr>
                        <a:t>インフラ管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fontAlgn="t"/>
                      <a:r>
                        <a:rPr lang="ja-JP" altLang="en-US" sz="800" u="none" strike="noStrike" dirty="0">
                          <a:solidFill>
                            <a:schemeClr val="tx1"/>
                          </a:solidFill>
                          <a:effectLst/>
                        </a:rPr>
                        <a:t>障害対応</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en-US" altLang="ja-JP" sz="800" u="none" strike="noStrike" dirty="0">
                          <a:solidFill>
                            <a:schemeClr val="tx1"/>
                          </a:solidFill>
                          <a:effectLst/>
                          <a:latin typeface="+mn-lt"/>
                        </a:rPr>
                        <a:t>7</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800" u="none" strike="noStrike" dirty="0">
                          <a:solidFill>
                            <a:schemeClr val="tx1"/>
                          </a:solidFill>
                          <a:effectLst/>
                        </a:rPr>
                        <a:t>インフラ側</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p>
                      <a:pPr algn="l" rtl="0" fontAlgn="t"/>
                      <a:r>
                        <a:rPr lang="ja-JP" altLang="en-US" sz="800" u="none" strike="noStrike" dirty="0">
                          <a:solidFill>
                            <a:schemeClr val="tx1"/>
                          </a:solidFill>
                          <a:effectLst/>
                        </a:rPr>
                        <a:t>サイト停止、ハードウェア障害の原因・影響調査、暫定対応、恒久対応、再発防止策実施等</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b="0" i="0" u="none" strike="noStrike" dirty="0">
                          <a:solidFill>
                            <a:schemeClr val="tx1"/>
                          </a:solidFill>
                          <a:effectLst/>
                          <a:latin typeface="+mn-ea"/>
                          <a:ea typeface="+mn-ea"/>
                        </a:rPr>
                        <a:t>調査</a:t>
                      </a:r>
                      <a:endParaRPr lang="en-US" altLang="ja-JP" sz="800" b="0" i="0" u="none" strike="noStrike" dirty="0">
                        <a:solidFill>
                          <a:schemeClr val="tx1"/>
                        </a:solidFill>
                        <a:effectLst/>
                        <a:latin typeface="+mn-ea"/>
                        <a:ea typeface="+mn-ea"/>
                      </a:endParaRPr>
                    </a:p>
                    <a:p>
                      <a:pPr algn="l" rtl="0" fontAlgn="t"/>
                      <a:r>
                        <a:rPr lang="ja-JP" altLang="en-US" sz="800" b="0" i="0" u="none" strike="noStrike" dirty="0">
                          <a:solidFill>
                            <a:schemeClr val="tx1"/>
                          </a:solidFill>
                          <a:effectLst/>
                          <a:latin typeface="+mn-ea"/>
                          <a:ea typeface="+mn-ea"/>
                        </a:rPr>
                        <a:t>対策立案</a:t>
                      </a: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1564092453"/>
                  </a:ext>
                </a:extLst>
              </a:tr>
              <a:tr h="224940">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rowSpan="3">
                  <a:txBody>
                    <a:bodyPr/>
                    <a:lstStyle/>
                    <a:p>
                      <a:pPr algn="l" fontAlgn="t"/>
                      <a:r>
                        <a:rPr lang="ja-JP" altLang="en-US" sz="800" u="none" strike="noStrike" dirty="0">
                          <a:solidFill>
                            <a:schemeClr val="tx1"/>
                          </a:solidFill>
                          <a:effectLst/>
                        </a:rPr>
                        <a:t>監視</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tcPr>
                </a:tc>
                <a:tc>
                  <a:txBody>
                    <a:bodyPr/>
                    <a:lstStyle/>
                    <a:p>
                      <a:pPr algn="l" rtl="0" fontAlgn="t"/>
                      <a:r>
                        <a:rPr lang="en-US" altLang="ja-JP" sz="800" u="none" strike="noStrike" dirty="0">
                          <a:solidFill>
                            <a:schemeClr val="tx1"/>
                          </a:solidFill>
                          <a:effectLst/>
                          <a:latin typeface="+mn-lt"/>
                        </a:rPr>
                        <a:t>8</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サイトやシステムの稼働監視</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応答遅延や表示エラーの発生確認</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3805866544"/>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en-US" altLang="ja-JP" sz="800" u="none" strike="noStrike" dirty="0">
                          <a:solidFill>
                            <a:schemeClr val="tx1"/>
                          </a:solidFill>
                          <a:effectLst/>
                          <a:latin typeface="+mn-lt"/>
                        </a:rPr>
                        <a:t>9</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メモリ、</a:t>
                      </a:r>
                      <a:r>
                        <a:rPr lang="en-US" altLang="ja-JP" sz="800" u="none" strike="noStrike" dirty="0">
                          <a:solidFill>
                            <a:schemeClr val="tx1"/>
                          </a:solidFill>
                          <a:effectLst/>
                        </a:rPr>
                        <a:t>CPU</a:t>
                      </a:r>
                      <a:r>
                        <a:rPr lang="ja-JP" altLang="en-US" sz="800" u="none" strike="noStrike" dirty="0">
                          <a:solidFill>
                            <a:schemeClr val="tx1"/>
                          </a:solidFill>
                          <a:effectLst/>
                        </a:rPr>
                        <a:t>等の警告対応</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メモリ、</a:t>
                      </a:r>
                      <a:r>
                        <a:rPr lang="en-US" altLang="ja-JP" sz="800" u="none" strike="noStrike" dirty="0">
                          <a:solidFill>
                            <a:schemeClr val="tx1"/>
                          </a:solidFill>
                          <a:effectLst/>
                          <a:latin typeface="+mn-ea"/>
                          <a:ea typeface="+mn-ea"/>
                        </a:rPr>
                        <a:t>CPU</a:t>
                      </a:r>
                      <a:r>
                        <a:rPr lang="ja-JP" altLang="en-US" sz="800" u="none" strike="noStrike" dirty="0">
                          <a:solidFill>
                            <a:schemeClr val="tx1"/>
                          </a:solidFill>
                          <a:effectLst/>
                          <a:latin typeface="+mn-ea"/>
                          <a:ea typeface="+mn-ea"/>
                        </a:rPr>
                        <a:t>の使用状況に応じた作業</a:t>
                      </a:r>
                      <a:endParaRPr lang="en-US" altLang="ja-JP" sz="80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12700"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5448688"/>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en-US" altLang="ja-JP" sz="800" u="none" strike="noStrike" dirty="0">
                          <a:solidFill>
                            <a:schemeClr val="tx1"/>
                          </a:solidFill>
                          <a:effectLst/>
                          <a:latin typeface="+mn-lt"/>
                        </a:rPr>
                        <a:t>10</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各種サーバのディスク容量監視</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b="0" i="0" u="none" strike="noStrike" dirty="0">
                          <a:solidFill>
                            <a:schemeClr val="tx1"/>
                          </a:solidFill>
                          <a:effectLst/>
                          <a:latin typeface="+mn-ea"/>
                          <a:ea typeface="+mn-ea"/>
                        </a:rPr>
                        <a:t>宣伝部からの通知をもとにメンテナンス</a:t>
                      </a: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4245067628"/>
                  </a:ext>
                </a:extLst>
              </a:tr>
              <a:tr h="307939">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a:txBody>
                    <a:bodyPr/>
                    <a:lstStyle/>
                    <a:p>
                      <a:pPr algn="l"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B w="9525" cap="flat" cmpd="sng" algn="ctr">
                      <a:solidFill>
                        <a:srgbClr val="E0E0E0"/>
                      </a:solidFill>
                      <a:prstDash val="solid"/>
                      <a:round/>
                      <a:headEnd type="none" w="med" len="med"/>
                      <a:tailEnd type="none" w="med" len="med"/>
                    </a:lnB>
                  </a:tcPr>
                </a:tc>
                <a:tc>
                  <a:txBody>
                    <a:bodyPr/>
                    <a:lstStyle/>
                    <a:p>
                      <a:pPr algn="l" rtl="0" fontAlgn="t"/>
                      <a:r>
                        <a:rPr lang="en-US" altLang="ja-JP" sz="800" u="none" strike="noStrike" dirty="0">
                          <a:solidFill>
                            <a:schemeClr val="tx1"/>
                          </a:solidFill>
                          <a:effectLst/>
                          <a:latin typeface="+mn-lt"/>
                        </a:rPr>
                        <a:t>11</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システム（メモリ・</a:t>
                      </a:r>
                      <a:r>
                        <a:rPr lang="en-US" altLang="ja-JP" sz="800" u="none" strike="noStrike" dirty="0">
                          <a:solidFill>
                            <a:schemeClr val="tx1"/>
                          </a:solidFill>
                          <a:effectLst/>
                        </a:rPr>
                        <a:t>CPU</a:t>
                      </a:r>
                      <a:r>
                        <a:rPr lang="ja-JP" altLang="en-US" sz="800" u="none" strike="noStrike" dirty="0">
                          <a:solidFill>
                            <a:schemeClr val="tx1"/>
                          </a:solidFill>
                          <a:effectLst/>
                        </a:rPr>
                        <a:t>含む）の使用状況やパフォーマンスに関するレポート作成</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latin typeface="+mn-ea"/>
                          <a:ea typeface="+mn-ea"/>
                        </a:rPr>
                        <a:t>定期報告含む（リソース追加の必要有無や今後の予測など）</a:t>
                      </a:r>
                      <a:endParaRPr lang="ja-JP" altLang="en-US" sz="800" b="0" i="0" u="none" strike="noStrike" dirty="0">
                        <a:solidFill>
                          <a:schemeClr val="tx1"/>
                        </a:solidFill>
                        <a:effectLst/>
                        <a:latin typeface="+mn-ea"/>
                        <a:ea typeface="+mn-ea"/>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1784423256"/>
                  </a:ext>
                </a:extLst>
              </a:tr>
              <a:tr h="209638">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a:txBody>
                    <a:bodyPr/>
                    <a:lstStyle/>
                    <a:p>
                      <a:pPr algn="l" fontAlgn="t"/>
                      <a:r>
                        <a:rPr lang="ja-JP" altLang="en-US" sz="800" u="none" strike="noStrike" dirty="0">
                          <a:solidFill>
                            <a:schemeClr val="tx1"/>
                          </a:solidFill>
                          <a:effectLst/>
                        </a:rPr>
                        <a:t>改善</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en-US" altLang="ja-JP" sz="800" u="none" strike="noStrike" dirty="0">
                          <a:solidFill>
                            <a:schemeClr val="tx1"/>
                          </a:solidFill>
                          <a:effectLst/>
                          <a:latin typeface="+mn-lt"/>
                        </a:rPr>
                        <a:t>12</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パフォーマンス分析と必要に応じた改善策提案・実施</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2071566669"/>
                  </a:ext>
                </a:extLst>
              </a:tr>
              <a:tr h="348901">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rPr>
                        <a:t>環境設定</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rtl="0" fontAlgn="t"/>
                      <a:r>
                        <a:rPr lang="en-US" altLang="ja-JP" sz="800" u="none" strike="noStrike" dirty="0">
                          <a:solidFill>
                            <a:schemeClr val="tx1"/>
                          </a:solidFill>
                          <a:effectLst/>
                          <a:latin typeface="+mn-lt"/>
                        </a:rPr>
                        <a:t>13</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rtl="0" fontAlgn="t"/>
                      <a:r>
                        <a:rPr lang="en-US" altLang="ja-JP" sz="800" u="none" strike="noStrike" dirty="0">
                          <a:solidFill>
                            <a:schemeClr val="tx1"/>
                          </a:solidFill>
                          <a:effectLst/>
                        </a:rPr>
                        <a:t>H/W</a:t>
                      </a:r>
                      <a:r>
                        <a:rPr lang="ja-JP" altLang="en-US" sz="800" u="none" strike="noStrike" dirty="0">
                          <a:solidFill>
                            <a:schemeClr val="tx1"/>
                          </a:solidFill>
                          <a:effectLst/>
                        </a:rPr>
                        <a:t>更新、</a:t>
                      </a:r>
                      <a:r>
                        <a:rPr lang="en-US" altLang="ja-JP" sz="800" u="none" strike="noStrike" dirty="0">
                          <a:solidFill>
                            <a:schemeClr val="tx1"/>
                          </a:solidFill>
                          <a:effectLst/>
                        </a:rPr>
                        <a:t>OS</a:t>
                      </a:r>
                      <a:r>
                        <a:rPr lang="ja-JP" altLang="en-US" sz="800" u="none" strike="noStrike" dirty="0">
                          <a:solidFill>
                            <a:schemeClr val="tx1"/>
                          </a:solidFill>
                          <a:effectLst/>
                        </a:rPr>
                        <a:t>バージョンアップへの対応や、セキュリティパッチの適用など環境設定</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lnB w="19050" cap="flat" cmpd="sng" algn="ctr">
                      <a:solidFill>
                        <a:srgbClr val="9D90A0"/>
                      </a:solidFill>
                      <a:prstDash val="solid"/>
                      <a:round/>
                      <a:headEnd type="none" w="med" len="med"/>
                      <a:tailEnd type="none" w="med" len="med"/>
                    </a:lnB>
                  </a:tcPr>
                </a:tc>
                <a:extLst>
                  <a:ext uri="{0D108BD9-81ED-4DB2-BD59-A6C34878D82A}">
                    <a16:rowId xmlns:a16="http://schemas.microsoft.com/office/drawing/2014/main" val="2638204350"/>
                  </a:ext>
                </a:extLst>
              </a:tr>
              <a:tr h="179204">
                <a:tc rowSpan="4">
                  <a:txBody>
                    <a:bodyPr/>
                    <a:lstStyle/>
                    <a:p>
                      <a:pPr algn="l" fontAlgn="t"/>
                      <a:r>
                        <a:rPr lang="ja-JP" altLang="en-US" sz="800" u="none" strike="noStrike" dirty="0">
                          <a:solidFill>
                            <a:schemeClr val="tx1"/>
                          </a:solidFill>
                          <a:effectLst/>
                        </a:rPr>
                        <a:t>開発</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u="none" strike="noStrike" dirty="0">
                        <a:solidFill>
                          <a:schemeClr val="tx1"/>
                        </a:solidFill>
                        <a:effectLst/>
                      </a:endParaRPr>
                    </a:p>
                    <a:p>
                      <a:pPr algn="l"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tcPr>
                </a:tc>
                <a:tc rowSpan="3">
                  <a:txBody>
                    <a:bodyPr/>
                    <a:lstStyle/>
                    <a:p>
                      <a:pPr algn="l" fontAlgn="t"/>
                      <a:r>
                        <a:rPr lang="ja-JP" altLang="en-US" sz="800" u="none" strike="noStrike" dirty="0">
                          <a:solidFill>
                            <a:schemeClr val="tx1"/>
                          </a:solidFill>
                          <a:effectLst/>
                        </a:rPr>
                        <a:t>変更管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rowSpan="3">
                  <a:txBody>
                    <a:bodyPr/>
                    <a:lstStyle/>
                    <a:p>
                      <a:pPr algn="l" rtl="0" fontAlgn="t"/>
                      <a:r>
                        <a:rPr lang="ja-JP" altLang="en-US" sz="800" u="none" strike="noStrike" dirty="0">
                          <a:solidFill>
                            <a:schemeClr val="tx1"/>
                          </a:solidFill>
                          <a:effectLst/>
                        </a:rPr>
                        <a:t>改善要望の管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rowSpan="3">
                  <a:txBody>
                    <a:bodyPr/>
                    <a:lstStyle/>
                    <a:p>
                      <a:pPr algn="l" rtl="0" fontAlgn="t"/>
                      <a:r>
                        <a:rPr lang="en-US" altLang="ja-JP" sz="800" u="none" strike="noStrike" dirty="0">
                          <a:solidFill>
                            <a:schemeClr val="tx1"/>
                          </a:solidFill>
                          <a:effectLst/>
                          <a:latin typeface="+mn-lt"/>
                        </a:rPr>
                        <a:t>14</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rowSpan="3">
                  <a:txBody>
                    <a:bodyPr/>
                    <a:lstStyle/>
                    <a:p>
                      <a:pPr algn="l" rtl="0" fontAlgn="t"/>
                      <a:r>
                        <a:rPr lang="ja-JP" altLang="en-US" sz="800" u="none" strike="noStrike" dirty="0">
                          <a:solidFill>
                            <a:schemeClr val="tx1"/>
                          </a:solidFill>
                          <a:effectLst/>
                        </a:rPr>
                        <a:t>改善要望の棚卸、仕様検討、見積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9050" cap="flat" cmpd="sng" algn="ctr">
                      <a:solidFill>
                        <a:srgbClr val="9D90A0"/>
                      </a:solidFill>
                      <a:prstDash val="solid"/>
                      <a:round/>
                      <a:headEnd type="none" w="med" len="med"/>
                      <a:tailEnd type="none" w="med" len="med"/>
                    </a:lnT>
                    <a:lnB w="12700" cap="flat" cmpd="sng" algn="ctr">
                      <a:solidFill>
                        <a:srgbClr val="E0E0E0"/>
                      </a:solidFill>
                      <a:prstDash val="solid"/>
                      <a:round/>
                      <a:headEnd type="none" w="med" len="med"/>
                      <a:tailEnd type="none" w="med" len="med"/>
                    </a:lnB>
                  </a:tcPr>
                </a:tc>
                <a:tc>
                  <a:txBody>
                    <a:bodyPr/>
                    <a:lstStyle/>
                    <a:p>
                      <a:pPr algn="l" rtl="0" fontAlgn="t"/>
                      <a:r>
                        <a:rPr lang="ja-JP" altLang="en-US" sz="800" u="none" strike="noStrike" dirty="0">
                          <a:solidFill>
                            <a:schemeClr val="tx1"/>
                          </a:solidFill>
                          <a:effectLst/>
                        </a:rPr>
                        <a:t>システムの改善要望管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T w="19050" cap="flat" cmpd="sng" algn="ctr">
                      <a:solidFill>
                        <a:srgbClr val="9D90A0"/>
                      </a:solidFill>
                      <a:prstDash val="solid"/>
                      <a:round/>
                      <a:headEnd type="none" w="med" len="med"/>
                      <a:tailEnd type="none" w="med" len="med"/>
                    </a:lnT>
                  </a:tcPr>
                </a:tc>
                <a:extLst>
                  <a:ext uri="{0D108BD9-81ED-4DB2-BD59-A6C34878D82A}">
                    <a16:rowId xmlns:a16="http://schemas.microsoft.com/office/drawing/2014/main" val="3413345284"/>
                  </a:ext>
                </a:extLst>
              </a:tr>
              <a:tr h="173761">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rPr>
                        <a:t>改善要望の仕様検討、資料作成</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3829864463"/>
                  </a:ext>
                </a:extLst>
              </a:tr>
              <a:tr h="160019">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l" rtl="0" fontAlgn="t"/>
                      <a:r>
                        <a:rPr lang="ja-JP" altLang="en-US" sz="800" u="none" strike="noStrike" dirty="0">
                          <a:solidFill>
                            <a:schemeClr val="tx1"/>
                          </a:solidFill>
                          <a:effectLst/>
                        </a:rPr>
                        <a:t>工数見積り、開発計画</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B w="9525" cap="flat" cmpd="sng" algn="ctr">
                      <a:solidFill>
                        <a:srgbClr val="E0E0E0"/>
                      </a:solidFill>
                      <a:prstDash val="solid"/>
                      <a:round/>
                      <a:headEnd type="none" w="med" len="med"/>
                      <a:tailEnd type="none" w="med" len="med"/>
                    </a:lnB>
                  </a:tcPr>
                </a:tc>
                <a:extLst>
                  <a:ext uri="{0D108BD9-81ED-4DB2-BD59-A6C34878D82A}">
                    <a16:rowId xmlns:a16="http://schemas.microsoft.com/office/drawing/2014/main" val="3977227792"/>
                  </a:ext>
                </a:extLst>
              </a:tr>
              <a:tr h="330795">
                <a:tc vMerge="1">
                  <a:txBody>
                    <a:bodyPr/>
                    <a:lstStyle/>
                    <a:p>
                      <a:pPr algn="l" fontAlgn="t"/>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4722" marR="4722" marT="4722" marB="0"/>
                </a:tc>
                <a:tc>
                  <a:txBody>
                    <a:bodyPr/>
                    <a:lstStyle/>
                    <a:p>
                      <a:pPr algn="l" fontAlgn="t"/>
                      <a:r>
                        <a:rPr lang="ja-JP" altLang="en-US" sz="800" u="none" strike="noStrike" dirty="0">
                          <a:solidFill>
                            <a:schemeClr val="tx1"/>
                          </a:solidFill>
                          <a:effectLst/>
                        </a:rPr>
                        <a:t>開発</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tcPr>
                </a:tc>
                <a:tc>
                  <a:txBody>
                    <a:bodyPr/>
                    <a:lstStyle/>
                    <a:p>
                      <a:pPr algn="l" rtl="0" fontAlgn="t"/>
                      <a:r>
                        <a:rPr lang="zh-TW" altLang="en-US" sz="800" u="none" strike="noStrike" dirty="0">
                          <a:solidFill>
                            <a:schemeClr val="tx1"/>
                          </a:solidFill>
                          <a:effectLst/>
                        </a:rPr>
                        <a:t>機能改善開発</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tcPr>
                </a:tc>
                <a:tc>
                  <a:txBody>
                    <a:bodyPr/>
                    <a:lstStyle/>
                    <a:p>
                      <a:pPr algn="l" rtl="0" fontAlgn="t"/>
                      <a:r>
                        <a:rPr lang="en-US" altLang="ja-JP" sz="800" u="none" strike="noStrike" dirty="0">
                          <a:solidFill>
                            <a:schemeClr val="tx1"/>
                          </a:solidFill>
                          <a:effectLst/>
                          <a:latin typeface="+mn-lt"/>
                        </a:rPr>
                        <a:t>15</a:t>
                      </a:r>
                      <a:endParaRPr lang="en-US" altLang="ja-JP" sz="800" b="0" i="0" u="none" strike="noStrike" dirty="0">
                        <a:solidFill>
                          <a:schemeClr val="tx1"/>
                        </a:solidFill>
                        <a:effectLst/>
                        <a:latin typeface="+mn-lt"/>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tcPr>
                </a:tc>
                <a:tc>
                  <a:txBody>
                    <a:bodyPr/>
                    <a:lstStyle/>
                    <a:p>
                      <a:pPr algn="l" rtl="0" fontAlgn="t"/>
                      <a:r>
                        <a:rPr lang="ja-JP" altLang="en-US" sz="800" u="none" strike="noStrike" dirty="0">
                          <a:solidFill>
                            <a:schemeClr val="tx1"/>
                          </a:solidFill>
                          <a:effectLst/>
                        </a:rPr>
                        <a:t>要件定義から、設計、製造、コードレビュー、テスト計画・実施、リリースなど開発に関する一連の作業</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12700" cap="flat" cmpd="sng" algn="ctr">
                      <a:solidFill>
                        <a:srgbClr val="E0E0E0"/>
                      </a:solidFill>
                      <a:prstDash val="solid"/>
                      <a:round/>
                      <a:headEnd type="none" w="med" len="med"/>
                      <a:tailEnd type="none" w="med" len="med"/>
                    </a:lnT>
                  </a:tcPr>
                </a:tc>
                <a:tc>
                  <a:txBody>
                    <a:bodyPr/>
                    <a:lstStyle/>
                    <a:p>
                      <a:pPr algn="l" rtl="0" fontAlgn="t"/>
                      <a:r>
                        <a:rPr lang="ja-JP" altLang="en-US" sz="800" u="none" strike="noStrike" dirty="0">
                          <a:solidFill>
                            <a:schemeClr val="tx1"/>
                          </a:solidFill>
                          <a:effectLst/>
                        </a:rPr>
                        <a:t>　</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T w="9525" cap="flat" cmpd="sng" algn="ctr">
                      <a:solidFill>
                        <a:srgbClr val="E0E0E0"/>
                      </a:solidFill>
                      <a:prstDash val="solid"/>
                      <a:round/>
                      <a:headEnd type="none" w="med" len="med"/>
                      <a:tailEnd type="none" w="med" len="med"/>
                    </a:lnT>
                  </a:tcPr>
                </a:tc>
                <a:extLst>
                  <a:ext uri="{0D108BD9-81ED-4DB2-BD59-A6C34878D82A}">
                    <a16:rowId xmlns:a16="http://schemas.microsoft.com/office/drawing/2014/main" val="3939150248"/>
                  </a:ext>
                </a:extLst>
              </a:tr>
              <a:tr h="137706">
                <a:tc>
                  <a:txBody>
                    <a:bodyPr/>
                    <a:lstStyle/>
                    <a:p>
                      <a:pPr algn="l"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R w="9525" cap="flat" cmpd="sng" algn="ctr">
                      <a:solidFill>
                        <a:srgbClr val="E0E0E0"/>
                      </a:solidFill>
                      <a:prstDash val="solid"/>
                      <a:round/>
                      <a:headEnd type="none" w="med" len="med"/>
                      <a:tailEnd type="none" w="med" len="med"/>
                    </a:lnR>
                  </a:tcPr>
                </a:tc>
                <a:tc>
                  <a:txBody>
                    <a:bodyPr/>
                    <a:lstStyle/>
                    <a:p>
                      <a:pPr algn="l"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tcPr>
                </a:tc>
                <a:tc>
                  <a:txBody>
                    <a:bodyPr/>
                    <a:lstStyle/>
                    <a:p>
                      <a:pPr algn="l" rtl="0"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tcPr>
                </a:tc>
                <a:tc>
                  <a:txBody>
                    <a:bodyPr/>
                    <a:lstStyle/>
                    <a:p>
                      <a:pPr algn="l" rtl="0"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tcPr>
                </a:tc>
                <a:tc>
                  <a:txBody>
                    <a:bodyPr/>
                    <a:lstStyle/>
                    <a:p>
                      <a:pPr algn="l" rtl="0"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tcPr>
                </a:tc>
                <a:tc>
                  <a:txBody>
                    <a:bodyPr/>
                    <a:lstStyle/>
                    <a:p>
                      <a:pPr algn="l" rtl="0" fontAlgn="t"/>
                      <a:r>
                        <a:rPr lang="ja-JP" altLang="en-US" sz="800" u="none" strike="noStrike" dirty="0">
                          <a:effectLst/>
                        </a:rPr>
                        <a:t>　</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4722" marR="4722" marT="4722" marB="0">
                    <a:lnL w="9525" cap="flat" cmpd="sng" algn="ctr">
                      <a:solidFill>
                        <a:srgbClr val="E0E0E0"/>
                      </a:solidFill>
                      <a:prstDash val="solid"/>
                      <a:round/>
                      <a:headEnd type="none" w="med" len="med"/>
                      <a:tailEnd type="none" w="med" len="med"/>
                    </a:lnL>
                  </a:tcPr>
                </a:tc>
                <a:extLst>
                  <a:ext uri="{0D108BD9-81ED-4DB2-BD59-A6C34878D82A}">
                    <a16:rowId xmlns:a16="http://schemas.microsoft.com/office/drawing/2014/main" val="3396244324"/>
                  </a:ext>
                </a:extLst>
              </a:tr>
            </a:tbl>
          </a:graphicData>
        </a:graphic>
      </p:graphicFrame>
      <p:sp>
        <p:nvSpPr>
          <p:cNvPr id="7" name="正方形/長方形 6">
            <a:extLst>
              <a:ext uri="{FF2B5EF4-FFF2-40B4-BE49-F238E27FC236}">
                <a16:creationId xmlns:a16="http://schemas.microsoft.com/office/drawing/2014/main" id="{57CF0F08-EEAF-2C49-DEC8-9BC90A11E9D2}"/>
              </a:ext>
            </a:extLst>
          </p:cNvPr>
          <p:cNvSpPr/>
          <p:nvPr/>
        </p:nvSpPr>
        <p:spPr>
          <a:xfrm>
            <a:off x="1225918" y="1545413"/>
            <a:ext cx="206263" cy="1267200"/>
          </a:xfrm>
          <a:prstGeom prst="rect">
            <a:avLst/>
          </a:prstGeom>
          <a:solidFill>
            <a:srgbClr val="9D9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100" dirty="0">
                <a:solidFill>
                  <a:schemeClr val="bg1"/>
                </a:solidFill>
              </a:rPr>
              <a:t>①</a:t>
            </a:r>
            <a:endParaRPr kumimoji="1" lang="ja-JP" altLang="en-US" sz="1600" dirty="0">
              <a:solidFill>
                <a:schemeClr val="bg1"/>
              </a:solidFill>
            </a:endParaRPr>
          </a:p>
        </p:txBody>
      </p:sp>
      <p:sp>
        <p:nvSpPr>
          <p:cNvPr id="8" name="正方形/長方形 7">
            <a:extLst>
              <a:ext uri="{FF2B5EF4-FFF2-40B4-BE49-F238E27FC236}">
                <a16:creationId xmlns:a16="http://schemas.microsoft.com/office/drawing/2014/main" id="{239B2A74-335B-DC55-4C8A-DD62A7404EC2}"/>
              </a:ext>
            </a:extLst>
          </p:cNvPr>
          <p:cNvSpPr/>
          <p:nvPr/>
        </p:nvSpPr>
        <p:spPr>
          <a:xfrm>
            <a:off x="1225918" y="2844424"/>
            <a:ext cx="206263" cy="2829600"/>
          </a:xfrm>
          <a:prstGeom prst="rect">
            <a:avLst/>
          </a:prstGeom>
          <a:solidFill>
            <a:srgbClr val="9D9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100" dirty="0">
                <a:solidFill>
                  <a:schemeClr val="bg1"/>
                </a:solidFill>
              </a:rPr>
              <a:t>②</a:t>
            </a:r>
          </a:p>
        </p:txBody>
      </p:sp>
      <p:sp>
        <p:nvSpPr>
          <p:cNvPr id="9" name="正方形/長方形 8">
            <a:extLst>
              <a:ext uri="{FF2B5EF4-FFF2-40B4-BE49-F238E27FC236}">
                <a16:creationId xmlns:a16="http://schemas.microsoft.com/office/drawing/2014/main" id="{C4333EAD-1A4F-09D5-4DC8-371DB3D1BB64}"/>
              </a:ext>
            </a:extLst>
          </p:cNvPr>
          <p:cNvSpPr/>
          <p:nvPr/>
        </p:nvSpPr>
        <p:spPr>
          <a:xfrm>
            <a:off x="1225918" y="5713468"/>
            <a:ext cx="206263" cy="961200"/>
          </a:xfrm>
          <a:prstGeom prst="rect">
            <a:avLst/>
          </a:prstGeom>
          <a:solidFill>
            <a:srgbClr val="9D9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1100" dirty="0">
                <a:solidFill>
                  <a:schemeClr val="bg1"/>
                </a:solidFill>
              </a:rPr>
              <a:t>③</a:t>
            </a:r>
            <a:endParaRPr kumimoji="1" lang="ja-JP" altLang="en-US" sz="1100" dirty="0">
              <a:solidFill>
                <a:schemeClr val="bg1"/>
              </a:solidFill>
            </a:endParaRPr>
          </a:p>
        </p:txBody>
      </p:sp>
      <p:sp>
        <p:nvSpPr>
          <p:cNvPr id="11" name="タイトル 3">
            <a:extLst>
              <a:ext uri="{FF2B5EF4-FFF2-40B4-BE49-F238E27FC236}">
                <a16:creationId xmlns:a16="http://schemas.microsoft.com/office/drawing/2014/main" id="{7917487D-4289-CD26-64FE-2F80C0453E03}"/>
              </a:ext>
            </a:extLst>
          </p:cNvPr>
          <p:cNvSpPr txBox="1">
            <a:spLocks/>
          </p:cNvSpPr>
          <p:nvPr/>
        </p:nvSpPr>
        <p:spPr>
          <a:xfrm>
            <a:off x="1179095" y="12029"/>
            <a:ext cx="9241699" cy="684000"/>
          </a:xfrm>
          <a:prstGeom prst="rect">
            <a:avLst/>
          </a:prstGeom>
        </p:spPr>
        <p:txBody>
          <a:bodyPr vert="horz" lIns="284400" tIns="72000" rIns="284400" bIns="72000" rtlCol="0" anchor="ctr">
            <a:noAutofit/>
          </a:bodyPr>
          <a:lstStyle>
            <a:lvl1pPr algn="l" defTabSz="914400" rtl="0" eaLnBrk="1" latinLnBrk="0" hangingPunct="1">
              <a:lnSpc>
                <a:spcPct val="100000"/>
              </a:lnSpc>
              <a:spcBef>
                <a:spcPct val="0"/>
              </a:spcBef>
              <a:buNone/>
              <a:defRPr kumimoji="1" lang="en-US" altLang="en-US" sz="2000" b="1" kern="1200" spc="300">
                <a:solidFill>
                  <a:schemeClr val="tx1">
                    <a:lumMod val="75000"/>
                    <a:lumOff val="25000"/>
                  </a:schemeClr>
                </a:solidFill>
                <a:latin typeface="Yu Gothic UI" panose="020B0500000000000000" pitchFamily="50" charset="-128"/>
                <a:ea typeface="Yu Gothic UI" panose="020B0500000000000000" pitchFamily="50" charset="-128"/>
                <a:cs typeface="+mj-cs"/>
              </a:defRPr>
            </a:lvl1pPr>
          </a:lstStyle>
          <a:p>
            <a:pPr algn="ctr"/>
            <a:r>
              <a:rPr lang="en-US" altLang="ja-JP" sz="1600" dirty="0">
                <a:latin typeface="+mn-ea"/>
                <a:ea typeface="+mn-ea"/>
              </a:rPr>
              <a:t>2-2.</a:t>
            </a:r>
            <a:r>
              <a:rPr lang="ja-JP" altLang="en-US" sz="1600" dirty="0">
                <a:latin typeface="+mn-ea"/>
                <a:ea typeface="+mn-ea"/>
              </a:rPr>
              <a:t>プロジェクトスコープ</a:t>
            </a:r>
            <a:r>
              <a:rPr lang="en-US" altLang="ja-JP" sz="1600" dirty="0">
                <a:solidFill>
                  <a:srgbClr val="000000"/>
                </a:solidFill>
                <a:latin typeface="+mn-ea"/>
                <a:ea typeface="+mn-ea"/>
              </a:rPr>
              <a:t>&gt;</a:t>
            </a:r>
            <a:br>
              <a:rPr lang="ja-JP" altLang="en-US" sz="1600" dirty="0">
                <a:latin typeface="+mn-ea"/>
                <a:ea typeface="+mn-ea"/>
              </a:rPr>
            </a:br>
            <a:r>
              <a:rPr lang="ja-JP" altLang="en-US" sz="1600" dirty="0">
                <a:latin typeface="+mn-ea"/>
                <a:ea typeface="+mn-ea"/>
              </a:rPr>
              <a:t> システムスコープ</a:t>
            </a:r>
            <a:r>
              <a:rPr lang="en-US" altLang="ja-JP" sz="1600" dirty="0">
                <a:latin typeface="+mn-ea"/>
                <a:ea typeface="+mn-ea"/>
              </a:rPr>
              <a:t>(</a:t>
            </a:r>
            <a:r>
              <a:rPr lang="ja-JP" altLang="en-US" sz="1600" dirty="0">
                <a:latin typeface="+mn-ea"/>
                <a:ea typeface="+mn-ea"/>
              </a:rPr>
              <a:t>運用保守業務内容</a:t>
            </a:r>
            <a:r>
              <a:rPr lang="en-US" altLang="ja-JP" sz="1600" dirty="0">
                <a:latin typeface="+mn-ea"/>
                <a:ea typeface="+mn-ea"/>
              </a:rPr>
              <a:t>)</a:t>
            </a:r>
            <a:endParaRPr lang="ja-JP" altLang="en-US" sz="1600" dirty="0">
              <a:latin typeface="+mn-ea"/>
              <a:ea typeface="+mn-ea"/>
            </a:endParaRPr>
          </a:p>
        </p:txBody>
      </p:sp>
    </p:spTree>
    <p:extLst>
      <p:ext uri="{BB962C8B-B14F-4D97-AF65-F5344CB8AC3E}">
        <p14:creationId xmlns:p14="http://schemas.microsoft.com/office/powerpoint/2010/main" val="3379855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14A7AC8-8BBD-FDBE-8C61-0C80FF9F3F0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5" name="think-cell data - do not delete" hidden="1">
                        <a:extLst>
                          <a:ext uri="{FF2B5EF4-FFF2-40B4-BE49-F238E27FC236}">
                            <a16:creationId xmlns:a16="http://schemas.microsoft.com/office/drawing/2014/main" id="{414A7AC8-8BBD-FDBE-8C61-0C80FF9F3F0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6BB2C5E6-7268-4A3C-A9B1-7D044B455CCA}"/>
              </a:ext>
            </a:extLst>
          </p:cNvPr>
          <p:cNvSpPr>
            <a:spLocks noGrp="1"/>
          </p:cNvSpPr>
          <p:nvPr>
            <p:ph type="sldNum" sz="quarter" idx="11"/>
          </p:nvPr>
        </p:nvSpPr>
        <p:spPr>
          <a:xfrm>
            <a:off x="106015" y="6654007"/>
            <a:ext cx="144270" cy="115416"/>
          </a:xfrm>
        </p:spPr>
        <p:txBody>
          <a:bodyPr/>
          <a:lstStyle/>
          <a:p>
            <a:fld id="{AA5FCFE5-FE56-4EF1-80A8-07776887C2A1}" type="slidenum">
              <a:rPr lang="ja-JP" altLang="en-US" smtClean="0">
                <a:solidFill>
                  <a:prstClr val="black"/>
                </a:solidFill>
              </a:rPr>
              <a:pPr/>
              <a:t>11</a:t>
            </a:fld>
            <a:endParaRPr lang="ja-JP" altLang="en-US">
              <a:solidFill>
                <a:prstClr val="black"/>
              </a:solidFill>
            </a:endParaRPr>
          </a:p>
        </p:txBody>
      </p:sp>
      <p:sp>
        <p:nvSpPr>
          <p:cNvPr id="3" name="テキスト プレースホルダー 2">
            <a:extLst>
              <a:ext uri="{FF2B5EF4-FFF2-40B4-BE49-F238E27FC236}">
                <a16:creationId xmlns:a16="http://schemas.microsoft.com/office/drawing/2014/main" id="{06AADF92-E6B2-B924-B6B5-44EA4BA69B5C}"/>
              </a:ext>
            </a:extLst>
          </p:cNvPr>
          <p:cNvSpPr>
            <a:spLocks noGrp="1"/>
          </p:cNvSpPr>
          <p:nvPr>
            <p:ph type="body" sz="quarter" idx="15"/>
          </p:nvPr>
        </p:nvSpPr>
        <p:spPr>
          <a:xfrm>
            <a:off x="882503" y="830747"/>
            <a:ext cx="10504968" cy="432000"/>
          </a:xfrm>
        </p:spPr>
        <p:txBody>
          <a:bodyPr>
            <a:normAutofit/>
          </a:bodyPr>
          <a:lstStyle/>
          <a:p>
            <a:r>
              <a:rPr lang="ja-JP" altLang="en-US" dirty="0"/>
              <a:t>下記はシステム概要図になります。詳細なシステム構成図は別紙資料「</a:t>
            </a:r>
            <a:r>
              <a:rPr lang="en-US" altLang="ja-JP" dirty="0"/>
              <a:t>10_FA</a:t>
            </a:r>
            <a:r>
              <a:rPr lang="ja-JP" altLang="en-US" dirty="0"/>
              <a:t>サイト</a:t>
            </a:r>
            <a:r>
              <a:rPr lang="en-US" altLang="ja-JP" dirty="0"/>
              <a:t>_</a:t>
            </a:r>
            <a:r>
              <a:rPr lang="ja-JP" altLang="en-US" dirty="0"/>
              <a:t>ネットワーク・システム構成図</a:t>
            </a:r>
            <a:r>
              <a:rPr lang="en-US" altLang="ja-JP" dirty="0"/>
              <a:t>.xlsx</a:t>
            </a:r>
            <a:r>
              <a:rPr lang="ja-JP" altLang="en-US" dirty="0"/>
              <a:t>」を参照ください。</a:t>
            </a:r>
            <a:endParaRPr lang="en-US" altLang="ja-JP" dirty="0"/>
          </a:p>
        </p:txBody>
      </p:sp>
      <p:sp>
        <p:nvSpPr>
          <p:cNvPr id="4" name="タイトル 3">
            <a:extLst>
              <a:ext uri="{FF2B5EF4-FFF2-40B4-BE49-F238E27FC236}">
                <a16:creationId xmlns:a16="http://schemas.microsoft.com/office/drawing/2014/main" id="{CC586865-D619-FA26-9742-E2109D11E8A2}"/>
              </a:ext>
            </a:extLst>
          </p:cNvPr>
          <p:cNvSpPr>
            <a:spLocks noGrp="1"/>
          </p:cNvSpPr>
          <p:nvPr>
            <p:ph type="title"/>
          </p:nvPr>
        </p:nvSpPr>
        <p:spPr>
          <a:xfrm>
            <a:off x="1166859" y="52576"/>
            <a:ext cx="9288584" cy="597356"/>
          </a:xfrm>
        </p:spPr>
        <p:txBody>
          <a:bodyPr vert="horz" anchor="ctr">
            <a:normAutofit fontScale="90000"/>
          </a:bodyPr>
          <a:lstStyle/>
          <a:p>
            <a:pPr>
              <a:lnSpc>
                <a:spcPct val="100000"/>
              </a:lnSpc>
            </a:pPr>
            <a:r>
              <a:rPr lang="en-US" altLang="ja-JP" dirty="0">
                <a:latin typeface="+mn-ea"/>
                <a:ea typeface="+mn-ea"/>
              </a:rPr>
              <a:t>2-2.</a:t>
            </a:r>
            <a:r>
              <a:rPr lang="ja-JP" altLang="en-US" dirty="0">
                <a:latin typeface="+mn-ea"/>
                <a:ea typeface="+mn-ea"/>
              </a:rPr>
              <a:t>プロジェクトスコープ</a:t>
            </a:r>
            <a:r>
              <a:rPr kumimoji="1" lang="en-US" altLang="ja-JP" sz="1800" b="1" i="0" u="none" strike="noStrike" kern="1200" cap="none" spc="300" normalizeH="0" baseline="0" noProof="0" dirty="0">
                <a:ln>
                  <a:noFill/>
                </a:ln>
                <a:solidFill>
                  <a:srgbClr val="000000"/>
                </a:solidFill>
                <a:effectLst/>
                <a:uLnTx/>
                <a:uFillTx/>
                <a:latin typeface="+mn-ea"/>
                <a:ea typeface="+mn-ea"/>
                <a:cs typeface="+mj-cs"/>
              </a:rPr>
              <a:t>&gt;</a:t>
            </a:r>
            <a:br>
              <a:rPr lang="en-US" altLang="ja-JP" dirty="0">
                <a:latin typeface="+mn-ea"/>
                <a:ea typeface="+mn-ea"/>
              </a:rPr>
            </a:br>
            <a:r>
              <a:rPr lang="en-US" altLang="ja-JP" dirty="0">
                <a:latin typeface="+mn-ea"/>
                <a:ea typeface="+mn-ea"/>
              </a:rPr>
              <a:t> </a:t>
            </a:r>
            <a:r>
              <a:rPr lang="ja-JP" altLang="en-US" dirty="0">
                <a:latin typeface="+mn-ea"/>
                <a:ea typeface="+mn-ea"/>
              </a:rPr>
              <a:t>システムスコープ</a:t>
            </a:r>
            <a:r>
              <a:rPr lang="en-US" altLang="ja-JP" dirty="0">
                <a:latin typeface="+mn-ea"/>
                <a:ea typeface="+mn-ea"/>
              </a:rPr>
              <a:t>(</a:t>
            </a:r>
            <a:r>
              <a:rPr lang="ja-JP" altLang="en-US" dirty="0">
                <a:latin typeface="+mn-ea"/>
                <a:ea typeface="+mn-ea"/>
              </a:rPr>
              <a:t>システムアーキテクチャ</a:t>
            </a:r>
            <a:r>
              <a:rPr lang="en-US" altLang="ja-JP" dirty="0">
                <a:latin typeface="+mn-ea"/>
                <a:ea typeface="+mn-ea"/>
              </a:rPr>
              <a:t>)</a:t>
            </a:r>
            <a:endParaRPr kumimoji="1" lang="ja-JP" altLang="en-US" dirty="0">
              <a:latin typeface="+mn-ea"/>
              <a:ea typeface="+mn-ea"/>
            </a:endParaRPr>
          </a:p>
        </p:txBody>
      </p:sp>
      <p:sp>
        <p:nvSpPr>
          <p:cNvPr id="8" name="正方形/長方形 7">
            <a:extLst>
              <a:ext uri="{FF2B5EF4-FFF2-40B4-BE49-F238E27FC236}">
                <a16:creationId xmlns:a16="http://schemas.microsoft.com/office/drawing/2014/main" id="{FAE5808D-2028-6EB6-5375-22BB5DA40AC8}"/>
              </a:ext>
            </a:extLst>
          </p:cNvPr>
          <p:cNvSpPr>
            <a:spLocks/>
          </p:cNvSpPr>
          <p:nvPr/>
        </p:nvSpPr>
        <p:spPr>
          <a:xfrm>
            <a:off x="3285557" y="1359840"/>
            <a:ext cx="6643150" cy="4354035"/>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DC6F06"/>
                </a:solidFill>
                <a:effectLst/>
                <a:uLnTx/>
                <a:uFillTx/>
                <a:latin typeface="Yu Gothic UI" panose="020B0500000000000000" pitchFamily="50" charset="-128"/>
                <a:ea typeface="Yu Gothic UI" panose="020B0500000000000000" pitchFamily="50" charset="-128"/>
                <a:cs typeface="+mn-cs"/>
              </a:rPr>
              <a:t>宣伝部環境</a:t>
            </a:r>
          </a:p>
        </p:txBody>
      </p:sp>
      <p:sp>
        <p:nvSpPr>
          <p:cNvPr id="9" name="正方形/長方形 8">
            <a:extLst>
              <a:ext uri="{FF2B5EF4-FFF2-40B4-BE49-F238E27FC236}">
                <a16:creationId xmlns:a16="http://schemas.microsoft.com/office/drawing/2014/main" id="{0DBC7FCB-ED9A-2416-CB6A-7187207AABE3}"/>
              </a:ext>
            </a:extLst>
          </p:cNvPr>
          <p:cNvSpPr/>
          <p:nvPr/>
        </p:nvSpPr>
        <p:spPr>
          <a:xfrm>
            <a:off x="3409077" y="1730423"/>
            <a:ext cx="2412000" cy="403704"/>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PHP</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宣伝部提供）</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2" name="正方形/長方形 11">
            <a:extLst>
              <a:ext uri="{FF2B5EF4-FFF2-40B4-BE49-F238E27FC236}">
                <a16:creationId xmlns:a16="http://schemas.microsoft.com/office/drawing/2014/main" id="{98450443-BCE1-5D17-4DFF-AC0BED6F4FBD}"/>
              </a:ext>
            </a:extLst>
          </p:cNvPr>
          <p:cNvSpPr/>
          <p:nvPr/>
        </p:nvSpPr>
        <p:spPr>
          <a:xfrm>
            <a:off x="9062623" y="2288490"/>
            <a:ext cx="684000" cy="675051"/>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DN (Akamai)</a:t>
            </a:r>
          </a:p>
        </p:txBody>
      </p:sp>
      <p:sp>
        <p:nvSpPr>
          <p:cNvPr id="13" name="正方形/長方形 12">
            <a:extLst>
              <a:ext uri="{FF2B5EF4-FFF2-40B4-BE49-F238E27FC236}">
                <a16:creationId xmlns:a16="http://schemas.microsoft.com/office/drawing/2014/main" id="{D5747489-542C-0951-6809-DB44545BE8C7}"/>
              </a:ext>
            </a:extLst>
          </p:cNvPr>
          <p:cNvSpPr/>
          <p:nvPr/>
        </p:nvSpPr>
        <p:spPr>
          <a:xfrm>
            <a:off x="3409077" y="2293008"/>
            <a:ext cx="2412000" cy="1575716"/>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 application server</a:t>
            </a:r>
          </a:p>
        </p:txBody>
      </p:sp>
      <p:sp>
        <p:nvSpPr>
          <p:cNvPr id="15" name="正方形/長方形 14">
            <a:extLst>
              <a:ext uri="{FF2B5EF4-FFF2-40B4-BE49-F238E27FC236}">
                <a16:creationId xmlns:a16="http://schemas.microsoft.com/office/drawing/2014/main" id="{1E1548B7-885A-1AE1-DCA7-A8190A34EFDA}"/>
              </a:ext>
            </a:extLst>
          </p:cNvPr>
          <p:cNvSpPr/>
          <p:nvPr/>
        </p:nvSpPr>
        <p:spPr bwMode="gray">
          <a:xfrm>
            <a:off x="3496722" y="2545221"/>
            <a:ext cx="648000" cy="1195748"/>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社内</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社内向け</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p:txBody>
      </p:sp>
      <p:sp>
        <p:nvSpPr>
          <p:cNvPr id="18" name="正方形/長方形 17">
            <a:extLst>
              <a:ext uri="{FF2B5EF4-FFF2-40B4-BE49-F238E27FC236}">
                <a16:creationId xmlns:a16="http://schemas.microsoft.com/office/drawing/2014/main" id="{94C884E4-2378-AF8A-2548-E7AE8B5B4175}"/>
              </a:ext>
            </a:extLst>
          </p:cNvPr>
          <p:cNvSpPr/>
          <p:nvPr/>
        </p:nvSpPr>
        <p:spPr bwMode="gray">
          <a:xfrm>
            <a:off x="3532722" y="3488970"/>
            <a:ext cx="576000" cy="216000"/>
          </a:xfrm>
          <a:prstGeom prst="rect">
            <a:avLst/>
          </a:prstGeom>
          <a:solidFill>
            <a:schemeClr val="bg1">
              <a:lumMod val="95000"/>
            </a:schemeClr>
          </a:solidFill>
          <a:ln w="12700" algn="ctr">
            <a:solidFill>
              <a:schemeClr val="bg1">
                <a:lumMod val="75000"/>
              </a:schemeClr>
            </a:solidFill>
            <a:prstDash val="sysDash"/>
            <a:miter lim="800000"/>
            <a:headEnd/>
            <a:tailEnd/>
          </a:ln>
        </p:spPr>
        <p:txBody>
          <a:bodyPr wrap="non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情報</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0" name="正方形/長方形 19">
            <a:extLst>
              <a:ext uri="{FF2B5EF4-FFF2-40B4-BE49-F238E27FC236}">
                <a16:creationId xmlns:a16="http://schemas.microsoft.com/office/drawing/2014/main" id="{3CE729B2-91FC-A151-5EBA-B24C9D42AE6B}"/>
              </a:ext>
            </a:extLst>
          </p:cNvPr>
          <p:cNvSpPr/>
          <p:nvPr/>
        </p:nvSpPr>
        <p:spPr bwMode="gray">
          <a:xfrm>
            <a:off x="3532722" y="3236970"/>
            <a:ext cx="576000" cy="216000"/>
          </a:xfrm>
          <a:prstGeom prst="rect">
            <a:avLst/>
          </a:prstGeom>
          <a:solidFill>
            <a:schemeClr val="bg1">
              <a:lumMod val="95000"/>
            </a:schemeClr>
          </a:solidFill>
          <a:ln w="12700" algn="ctr">
            <a:solidFill>
              <a:schemeClr val="bg1">
                <a:lumMod val="75000"/>
              </a:schemeClr>
            </a:solidFill>
            <a:prstDash val="sysDash"/>
            <a:miter lim="800000"/>
            <a:headEnd/>
            <a:tailEnd/>
          </a:ln>
        </p:spPr>
        <p:txBody>
          <a:bodyPr wrap="non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製品情報</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4" name="フローチャート: 磁気ディスク 23">
            <a:extLst>
              <a:ext uri="{FF2B5EF4-FFF2-40B4-BE49-F238E27FC236}">
                <a16:creationId xmlns:a16="http://schemas.microsoft.com/office/drawing/2014/main" id="{27973223-5C80-B950-EE40-24C74D71AB91}"/>
              </a:ext>
            </a:extLst>
          </p:cNvPr>
          <p:cNvSpPr/>
          <p:nvPr/>
        </p:nvSpPr>
        <p:spPr bwMode="gray">
          <a:xfrm>
            <a:off x="4288722" y="3362970"/>
            <a:ext cx="648000" cy="216000"/>
          </a:xfrm>
          <a:prstGeom prst="flowChartMagneticDisk">
            <a:avLst/>
          </a:prstGeom>
          <a:solidFill>
            <a:schemeClr val="bg1">
              <a:lumMod val="95000"/>
            </a:schemeClr>
          </a:solidFill>
          <a:ln w="12700" algn="ctr">
            <a:solidFill>
              <a:schemeClr val="bg1">
                <a:lumMod val="75000"/>
              </a:schemeClr>
            </a:solidFill>
            <a:miter lim="800000"/>
            <a:headEnd/>
            <a:tailEnd/>
          </a:ln>
        </p:spPr>
        <p:txBody>
          <a:bodyPr wrap="squar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編集用</a:t>
            </a:r>
            <a:r>
              <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sp>
        <p:nvSpPr>
          <p:cNvPr id="28" name="フローチャート: 磁気ディスク 27">
            <a:extLst>
              <a:ext uri="{FF2B5EF4-FFF2-40B4-BE49-F238E27FC236}">
                <a16:creationId xmlns:a16="http://schemas.microsoft.com/office/drawing/2014/main" id="{DCDAF1A0-2BD0-ED2A-4138-82EEE4537101}"/>
              </a:ext>
            </a:extLst>
          </p:cNvPr>
          <p:cNvSpPr/>
          <p:nvPr/>
        </p:nvSpPr>
        <p:spPr bwMode="gray">
          <a:xfrm>
            <a:off x="5080722" y="3362970"/>
            <a:ext cx="648000" cy="216000"/>
          </a:xfrm>
          <a:prstGeom prst="flowChartMagneticDisk">
            <a:avLst/>
          </a:prstGeom>
          <a:solidFill>
            <a:schemeClr val="bg1">
              <a:lumMod val="95000"/>
            </a:schemeClr>
          </a:solidFill>
          <a:ln w="12700" algn="ctr">
            <a:solidFill>
              <a:schemeClr val="bg1">
                <a:lumMod val="75000"/>
              </a:schemeClr>
            </a:solidFill>
            <a:miter lim="800000"/>
            <a:headEnd/>
            <a:tailEnd/>
          </a:ln>
        </p:spPr>
        <p:txBody>
          <a:bodyPr wrap="squar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公開用</a:t>
            </a:r>
            <a:r>
              <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cxnSp>
        <p:nvCxnSpPr>
          <p:cNvPr id="39" name="直線矢印コネクタ 38">
            <a:extLst>
              <a:ext uri="{FF2B5EF4-FFF2-40B4-BE49-F238E27FC236}">
                <a16:creationId xmlns:a16="http://schemas.microsoft.com/office/drawing/2014/main" id="{C16B4046-6FA5-13C6-D2C4-703CDE941E33}"/>
              </a:ext>
            </a:extLst>
          </p:cNvPr>
          <p:cNvCxnSpPr>
            <a:cxnSpLocks/>
            <a:stCxn id="24" idx="4"/>
            <a:endCxn id="28" idx="2"/>
          </p:cNvCxnSpPr>
          <p:nvPr/>
        </p:nvCxnSpPr>
        <p:spPr>
          <a:xfrm>
            <a:off x="4936722" y="3470970"/>
            <a:ext cx="144000" cy="0"/>
          </a:xfrm>
          <a:prstGeom prst="straightConnector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214">
            <a:extLst>
              <a:ext uri="{FF2B5EF4-FFF2-40B4-BE49-F238E27FC236}">
                <a16:creationId xmlns:a16="http://schemas.microsoft.com/office/drawing/2014/main" id="{4BBED040-054B-967B-7AC7-7087A251016F}"/>
              </a:ext>
            </a:extLst>
          </p:cNvPr>
          <p:cNvCxnSpPr>
            <a:cxnSpLocks/>
            <a:stCxn id="20" idx="3"/>
            <a:endCxn id="24" idx="2"/>
          </p:cNvCxnSpPr>
          <p:nvPr/>
        </p:nvCxnSpPr>
        <p:spPr>
          <a:xfrm>
            <a:off x="4108722" y="3344970"/>
            <a:ext cx="180000" cy="126000"/>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267">
            <a:extLst>
              <a:ext uri="{FF2B5EF4-FFF2-40B4-BE49-F238E27FC236}">
                <a16:creationId xmlns:a16="http://schemas.microsoft.com/office/drawing/2014/main" id="{373D88C7-9B19-D780-E255-DAE84B7A405C}"/>
              </a:ext>
            </a:extLst>
          </p:cNvPr>
          <p:cNvCxnSpPr>
            <a:cxnSpLocks/>
            <a:stCxn id="18" idx="3"/>
            <a:endCxn id="24" idx="2"/>
          </p:cNvCxnSpPr>
          <p:nvPr/>
        </p:nvCxnSpPr>
        <p:spPr>
          <a:xfrm flipV="1">
            <a:off x="4108722" y="3470970"/>
            <a:ext cx="180000" cy="126000"/>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160DC4AB-4B5A-EF26-DA16-F5929AEAFA21}"/>
              </a:ext>
            </a:extLst>
          </p:cNvPr>
          <p:cNvSpPr/>
          <p:nvPr/>
        </p:nvSpPr>
        <p:spPr>
          <a:xfrm>
            <a:off x="1239763" y="3788850"/>
            <a:ext cx="1260000" cy="3240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イト分析ツール</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900" b="1" i="0" u="none" strike="noStrike" kern="1200" cap="none" spc="0" normalizeH="0" baseline="0" noProof="0" dirty="0" err="1">
                <a:ln>
                  <a:noFill/>
                </a:ln>
                <a:solidFill>
                  <a:srgbClr val="000000"/>
                </a:solidFill>
                <a:effectLst/>
                <a:uLnTx/>
                <a:uFillTx/>
                <a:latin typeface="Yu Gothic UI" panose="020B0500000000000000" pitchFamily="50" charset="-128"/>
                <a:ea typeface="Yu Gothic UI" panose="020B0500000000000000" pitchFamily="50" charset="-128"/>
                <a:cs typeface="+mn-cs"/>
              </a:rPr>
              <a:t>GoogleAnalytics</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p:txBody>
      </p:sp>
      <p:sp>
        <p:nvSpPr>
          <p:cNvPr id="47" name="正方形/長方形 46">
            <a:extLst>
              <a:ext uri="{FF2B5EF4-FFF2-40B4-BE49-F238E27FC236}">
                <a16:creationId xmlns:a16="http://schemas.microsoft.com/office/drawing/2014/main" id="{F9A473CE-84A3-0288-047B-07918E79CF05}"/>
              </a:ext>
            </a:extLst>
          </p:cNvPr>
          <p:cNvSpPr/>
          <p:nvPr/>
        </p:nvSpPr>
        <p:spPr>
          <a:xfrm>
            <a:off x="2245802" y="3022949"/>
            <a:ext cx="720000" cy="648000"/>
          </a:xfrm>
          <a:prstGeom prst="rect">
            <a:avLst/>
          </a:prstGeom>
          <a:solidFill>
            <a:schemeClr val="accent2">
              <a:lumMod val="20000"/>
              <a:lumOff val="80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PI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SAP Hybris)</a:t>
            </a:r>
          </a:p>
        </p:txBody>
      </p:sp>
      <p:cxnSp>
        <p:nvCxnSpPr>
          <p:cNvPr id="48" name="直線矢印コネクタ 214">
            <a:extLst>
              <a:ext uri="{FF2B5EF4-FFF2-40B4-BE49-F238E27FC236}">
                <a16:creationId xmlns:a16="http://schemas.microsoft.com/office/drawing/2014/main" id="{8416603F-406C-EE98-52FF-C877EA2700AF}"/>
              </a:ext>
            </a:extLst>
          </p:cNvPr>
          <p:cNvCxnSpPr>
            <a:cxnSpLocks/>
            <a:stCxn id="47" idx="3"/>
            <a:endCxn id="20" idx="1"/>
          </p:cNvCxnSpPr>
          <p:nvPr/>
        </p:nvCxnSpPr>
        <p:spPr>
          <a:xfrm flipV="1">
            <a:off x="2965802" y="3344970"/>
            <a:ext cx="566920" cy="1979"/>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715700BD-A2B0-B67E-EE7E-A766CA293A24}"/>
              </a:ext>
            </a:extLst>
          </p:cNvPr>
          <p:cNvSpPr/>
          <p:nvPr/>
        </p:nvSpPr>
        <p:spPr>
          <a:xfrm>
            <a:off x="2907637" y="3168005"/>
            <a:ext cx="540000" cy="180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製品情報</a:t>
            </a:r>
          </a:p>
        </p:txBody>
      </p:sp>
      <p:sp>
        <p:nvSpPr>
          <p:cNvPr id="57" name="正方形/長方形 56">
            <a:extLst>
              <a:ext uri="{FF2B5EF4-FFF2-40B4-BE49-F238E27FC236}">
                <a16:creationId xmlns:a16="http://schemas.microsoft.com/office/drawing/2014/main" id="{11F5F5BE-8822-FD50-2ADA-F2122C60583B}"/>
              </a:ext>
            </a:extLst>
          </p:cNvPr>
          <p:cNvSpPr/>
          <p:nvPr/>
        </p:nvSpPr>
        <p:spPr>
          <a:xfrm>
            <a:off x="6018750" y="3840024"/>
            <a:ext cx="540000" cy="108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行動データ</a:t>
            </a:r>
          </a:p>
        </p:txBody>
      </p:sp>
      <p:sp>
        <p:nvSpPr>
          <p:cNvPr id="58" name="正方形/長方形 57">
            <a:extLst>
              <a:ext uri="{FF2B5EF4-FFF2-40B4-BE49-F238E27FC236}">
                <a16:creationId xmlns:a16="http://schemas.microsoft.com/office/drawing/2014/main" id="{AACF3E8C-045C-B36D-FD05-C32D6DE60830}"/>
              </a:ext>
            </a:extLst>
          </p:cNvPr>
          <p:cNvSpPr/>
          <p:nvPr/>
        </p:nvSpPr>
        <p:spPr>
          <a:xfrm>
            <a:off x="8728157" y="1712817"/>
            <a:ext cx="972000" cy="250636"/>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会員情報</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sp>
        <p:nvSpPr>
          <p:cNvPr id="59" name="正方形/長方形 58">
            <a:extLst>
              <a:ext uri="{FF2B5EF4-FFF2-40B4-BE49-F238E27FC236}">
                <a16:creationId xmlns:a16="http://schemas.microsoft.com/office/drawing/2014/main" id="{3C485CC3-867F-66B2-E262-96F0CEDA5A21}"/>
              </a:ext>
            </a:extLst>
          </p:cNvPr>
          <p:cNvSpPr/>
          <p:nvPr/>
        </p:nvSpPr>
        <p:spPr>
          <a:xfrm>
            <a:off x="8017038" y="1908459"/>
            <a:ext cx="648000" cy="180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ログイン</a:t>
            </a:r>
            <a:endParaRPr kumimoji="1" lang="en-US" altLang="ja-JP"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認証制御</a:t>
            </a:r>
          </a:p>
        </p:txBody>
      </p:sp>
      <p:sp>
        <p:nvSpPr>
          <p:cNvPr id="60" name="正方形/長方形 59">
            <a:extLst>
              <a:ext uri="{FF2B5EF4-FFF2-40B4-BE49-F238E27FC236}">
                <a16:creationId xmlns:a16="http://schemas.microsoft.com/office/drawing/2014/main" id="{5326374A-2CC6-1BCF-CA56-25EB3FFF8B18}"/>
              </a:ext>
            </a:extLst>
          </p:cNvPr>
          <p:cNvSpPr/>
          <p:nvPr/>
        </p:nvSpPr>
        <p:spPr>
          <a:xfrm>
            <a:off x="8797577" y="3820681"/>
            <a:ext cx="980058" cy="334394"/>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Team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現行</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MS)</a:t>
            </a:r>
            <a:endPar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cxnSp>
        <p:nvCxnSpPr>
          <p:cNvPr id="61" name="コネクタ: カギ線 60">
            <a:extLst>
              <a:ext uri="{FF2B5EF4-FFF2-40B4-BE49-F238E27FC236}">
                <a16:creationId xmlns:a16="http://schemas.microsoft.com/office/drawing/2014/main" id="{B851335E-2548-DA46-70B9-236FA1C81B6B}"/>
              </a:ext>
            </a:extLst>
          </p:cNvPr>
          <p:cNvCxnSpPr>
            <a:cxnSpLocks/>
            <a:stCxn id="60" idx="2"/>
            <a:endCxn id="82" idx="2"/>
          </p:cNvCxnSpPr>
          <p:nvPr/>
        </p:nvCxnSpPr>
        <p:spPr>
          <a:xfrm rot="5400000" flipH="1">
            <a:off x="8524793" y="3392262"/>
            <a:ext cx="280490" cy="1245137"/>
          </a:xfrm>
          <a:prstGeom prst="bentConnector3">
            <a:avLst>
              <a:gd name="adj1" fmla="val -815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7BDC0AD4-AC32-58C9-4A1B-187C6A34580E}"/>
              </a:ext>
            </a:extLst>
          </p:cNvPr>
          <p:cNvCxnSpPr>
            <a:cxnSpLocks/>
            <a:stCxn id="66" idx="3"/>
            <a:endCxn id="82" idx="1"/>
          </p:cNvCxnSpPr>
          <p:nvPr/>
        </p:nvCxnSpPr>
        <p:spPr>
          <a:xfrm flipV="1">
            <a:off x="7192925" y="3537059"/>
            <a:ext cx="363544" cy="63008"/>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コネクタ: カギ線 62">
            <a:extLst>
              <a:ext uri="{FF2B5EF4-FFF2-40B4-BE49-F238E27FC236}">
                <a16:creationId xmlns:a16="http://schemas.microsoft.com/office/drawing/2014/main" id="{20EAD6D2-4CB9-2871-675B-204C4C25646A}"/>
              </a:ext>
            </a:extLst>
          </p:cNvPr>
          <p:cNvCxnSpPr>
            <a:cxnSpLocks/>
            <a:stCxn id="28" idx="4"/>
            <a:endCxn id="66" idx="1"/>
          </p:cNvCxnSpPr>
          <p:nvPr/>
        </p:nvCxnSpPr>
        <p:spPr>
          <a:xfrm>
            <a:off x="5728722" y="3470970"/>
            <a:ext cx="492203" cy="129097"/>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59B31916-C846-E918-405E-9A962D358C55}"/>
              </a:ext>
            </a:extLst>
          </p:cNvPr>
          <p:cNvCxnSpPr>
            <a:cxnSpLocks/>
            <a:stCxn id="76" idx="3"/>
            <a:endCxn id="12" idx="1"/>
          </p:cNvCxnSpPr>
          <p:nvPr/>
        </p:nvCxnSpPr>
        <p:spPr>
          <a:xfrm flipV="1">
            <a:off x="8530616" y="2626016"/>
            <a:ext cx="532007" cy="5343"/>
          </a:xfrm>
          <a:prstGeom prst="straightConnector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直線矢印コネクタ 600">
            <a:extLst>
              <a:ext uri="{FF2B5EF4-FFF2-40B4-BE49-F238E27FC236}">
                <a16:creationId xmlns:a16="http://schemas.microsoft.com/office/drawing/2014/main" id="{511F7053-DD80-0723-7131-D306E33E0CC1}"/>
              </a:ext>
            </a:extLst>
          </p:cNvPr>
          <p:cNvCxnSpPr>
            <a:cxnSpLocks/>
            <a:stCxn id="76" idx="0"/>
            <a:endCxn id="58" idx="1"/>
          </p:cNvCxnSpPr>
          <p:nvPr/>
        </p:nvCxnSpPr>
        <p:spPr>
          <a:xfrm rot="5400000" flipH="1" flipV="1">
            <a:off x="8158537" y="1724214"/>
            <a:ext cx="455698" cy="683541"/>
          </a:xfrm>
          <a:prstGeom prst="bentConnector2">
            <a:avLst/>
          </a:prstGeom>
          <a:ln w="1270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正方形/長方形 65">
            <a:extLst>
              <a:ext uri="{FF2B5EF4-FFF2-40B4-BE49-F238E27FC236}">
                <a16:creationId xmlns:a16="http://schemas.microsoft.com/office/drawing/2014/main" id="{E4A9AAC9-8275-B1C9-1CCF-01B9F389C654}"/>
              </a:ext>
            </a:extLst>
          </p:cNvPr>
          <p:cNvSpPr/>
          <p:nvPr/>
        </p:nvSpPr>
        <p:spPr>
          <a:xfrm>
            <a:off x="6220925" y="3435448"/>
            <a:ext cx="972000" cy="329237"/>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err="1">
                <a:ln>
                  <a:noFill/>
                </a:ln>
                <a:solidFill>
                  <a:srgbClr val="000000"/>
                </a:solidFill>
                <a:effectLst/>
                <a:uLnTx/>
                <a:uFillTx/>
                <a:latin typeface="Yu Gothic UI" panose="020B0500000000000000" pitchFamily="50" charset="-128"/>
                <a:ea typeface="Yu Gothic UI" panose="020B0500000000000000" pitchFamily="50" charset="-128"/>
                <a:cs typeface="+mn-cs"/>
              </a:rPr>
              <a:t>LiveSite</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page)</a:t>
            </a:r>
          </a:p>
        </p:txBody>
      </p:sp>
      <p:sp>
        <p:nvSpPr>
          <p:cNvPr id="67" name="四角形: 角を丸くする 66">
            <a:extLst>
              <a:ext uri="{FF2B5EF4-FFF2-40B4-BE49-F238E27FC236}">
                <a16:creationId xmlns:a16="http://schemas.microsoft.com/office/drawing/2014/main" id="{928092BB-E7CC-6C6B-CD74-28BAA8ECF950}"/>
              </a:ext>
            </a:extLst>
          </p:cNvPr>
          <p:cNvSpPr/>
          <p:nvPr/>
        </p:nvSpPr>
        <p:spPr bwMode="gray">
          <a:xfrm>
            <a:off x="1167712" y="1379498"/>
            <a:ext cx="1841517" cy="937787"/>
          </a:xfrm>
          <a:prstGeom prst="roundRect">
            <a:avLst>
              <a:gd name="adj" fmla="val 6736"/>
            </a:avLst>
          </a:prstGeom>
          <a:solidFill>
            <a:schemeClr val="bg1"/>
          </a:solidFill>
          <a:ln w="9525" algn="ctr">
            <a:solidFill>
              <a:schemeClr val="tx1">
                <a:lumMod val="50000"/>
                <a:lumOff val="50000"/>
              </a:schemeClr>
            </a:solidFill>
            <a:miter lim="800000"/>
            <a:headEnd/>
            <a:tailEnd/>
          </a:ln>
        </p:spPr>
        <p:txBody>
          <a:bodyPr wrap="none"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68" name="正方形/長方形 67">
            <a:extLst>
              <a:ext uri="{FF2B5EF4-FFF2-40B4-BE49-F238E27FC236}">
                <a16:creationId xmlns:a16="http://schemas.microsoft.com/office/drawing/2014/main" id="{08EE88F8-A845-7753-8316-1279C5A4331F}"/>
              </a:ext>
            </a:extLst>
          </p:cNvPr>
          <p:cNvSpPr/>
          <p:nvPr/>
        </p:nvSpPr>
        <p:spPr bwMode="gray">
          <a:xfrm>
            <a:off x="1287178" y="1694736"/>
            <a:ext cx="180000" cy="144000"/>
          </a:xfrm>
          <a:prstGeom prst="rect">
            <a:avLst/>
          </a:prstGeom>
          <a:solidFill>
            <a:schemeClr val="accent3">
              <a:lumMod val="20000"/>
              <a:lumOff val="80000"/>
            </a:schemeClr>
          </a:solidFill>
          <a:ln w="12700" algn="ctr">
            <a:solidFill>
              <a:schemeClr val="accent3"/>
            </a:solidFill>
            <a:miter lim="800000"/>
            <a:headEnd/>
            <a:tailEnd/>
          </a:ln>
        </p:spPr>
        <p:txBody>
          <a:bodyPr wrap="square" lIns="33231" tIns="33231" rIns="33231" bIns="33231"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69" name="正方形/長方形 68">
            <a:extLst>
              <a:ext uri="{FF2B5EF4-FFF2-40B4-BE49-F238E27FC236}">
                <a16:creationId xmlns:a16="http://schemas.microsoft.com/office/drawing/2014/main" id="{EFB005B8-B58A-AAE3-47D6-C2EB4336407E}"/>
              </a:ext>
            </a:extLst>
          </p:cNvPr>
          <p:cNvSpPr/>
          <p:nvPr/>
        </p:nvSpPr>
        <p:spPr>
          <a:xfrm>
            <a:off x="1467178" y="1694736"/>
            <a:ext cx="540000" cy="144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EM</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リプレイス</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solidFill>
                  <a:srgbClr val="000000"/>
                </a:solidFill>
                <a:latin typeface="Yu Gothic UI" panose="020B0500000000000000" pitchFamily="50" charset="-128"/>
                <a:ea typeface="Yu Gothic UI" panose="020B0500000000000000" pitchFamily="50" charset="-128"/>
              </a:rPr>
              <a:t>　</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対象</a:t>
            </a:r>
          </a:p>
        </p:txBody>
      </p:sp>
      <p:grpSp>
        <p:nvGrpSpPr>
          <p:cNvPr id="70" name="グループ化 69">
            <a:extLst>
              <a:ext uri="{FF2B5EF4-FFF2-40B4-BE49-F238E27FC236}">
                <a16:creationId xmlns:a16="http://schemas.microsoft.com/office/drawing/2014/main" id="{A8CC261B-C6C9-1DF4-407A-DB1EDEBB4BD5}"/>
              </a:ext>
            </a:extLst>
          </p:cNvPr>
          <p:cNvGrpSpPr/>
          <p:nvPr/>
        </p:nvGrpSpPr>
        <p:grpSpPr>
          <a:xfrm>
            <a:off x="1287178" y="1460261"/>
            <a:ext cx="720000" cy="144000"/>
            <a:chOff x="-1524696" y="2989558"/>
            <a:chExt cx="720000" cy="144000"/>
          </a:xfrm>
        </p:grpSpPr>
        <p:sp>
          <p:nvSpPr>
            <p:cNvPr id="71" name="正方形/長方形 70">
              <a:extLst>
                <a:ext uri="{FF2B5EF4-FFF2-40B4-BE49-F238E27FC236}">
                  <a16:creationId xmlns:a16="http://schemas.microsoft.com/office/drawing/2014/main" id="{C9BC368E-B3BD-4D4A-D890-CE72755F2E2C}"/>
                </a:ext>
              </a:extLst>
            </p:cNvPr>
            <p:cNvSpPr/>
            <p:nvPr/>
          </p:nvSpPr>
          <p:spPr>
            <a:xfrm>
              <a:off x="-1344696" y="2989558"/>
              <a:ext cx="540000" cy="144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システム連携</a:t>
              </a:r>
            </a:p>
          </p:txBody>
        </p:sp>
        <p:cxnSp>
          <p:nvCxnSpPr>
            <p:cNvPr id="72" name="直線矢印コネクタ 71">
              <a:extLst>
                <a:ext uri="{FF2B5EF4-FFF2-40B4-BE49-F238E27FC236}">
                  <a16:creationId xmlns:a16="http://schemas.microsoft.com/office/drawing/2014/main" id="{80A7C4A5-9690-1ABA-F3C4-6A6833FF26B9}"/>
                </a:ext>
              </a:extLst>
            </p:cNvPr>
            <p:cNvCxnSpPr>
              <a:cxnSpLocks/>
            </p:cNvCxnSpPr>
            <p:nvPr/>
          </p:nvCxnSpPr>
          <p:spPr>
            <a:xfrm>
              <a:off x="-1524696" y="3061558"/>
              <a:ext cx="180000" cy="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73" name="正方形/長方形 72">
            <a:extLst>
              <a:ext uri="{FF2B5EF4-FFF2-40B4-BE49-F238E27FC236}">
                <a16:creationId xmlns:a16="http://schemas.microsoft.com/office/drawing/2014/main" id="{8D844256-B6BD-B6D6-5106-098EEACDC0A3}"/>
              </a:ext>
            </a:extLst>
          </p:cNvPr>
          <p:cNvSpPr/>
          <p:nvPr/>
        </p:nvSpPr>
        <p:spPr>
          <a:xfrm>
            <a:off x="1090378" y="1484574"/>
            <a:ext cx="144000" cy="324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凡例</a:t>
            </a:r>
            <a:r>
              <a:rPr kumimoji="1" lang="en-US" altLang="ja-JP"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a:t>
            </a:r>
            <a:endParaRPr kumimoji="1" lang="ja-JP" altLang="en-US" sz="800" b="0"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4" name="正方形/長方形 73">
            <a:extLst>
              <a:ext uri="{FF2B5EF4-FFF2-40B4-BE49-F238E27FC236}">
                <a16:creationId xmlns:a16="http://schemas.microsoft.com/office/drawing/2014/main" id="{6644D534-2F91-BCD0-7338-FAE2EB4374A3}"/>
              </a:ext>
            </a:extLst>
          </p:cNvPr>
          <p:cNvSpPr/>
          <p:nvPr/>
        </p:nvSpPr>
        <p:spPr bwMode="gray">
          <a:xfrm>
            <a:off x="2139212" y="1694736"/>
            <a:ext cx="180000" cy="144000"/>
          </a:xfrm>
          <a:prstGeom prst="rect">
            <a:avLst/>
          </a:prstGeom>
          <a:solidFill>
            <a:schemeClr val="accent2">
              <a:lumMod val="20000"/>
              <a:lumOff val="80000"/>
            </a:schemeClr>
          </a:solidFill>
          <a:ln w="12700" algn="ctr">
            <a:solidFill>
              <a:schemeClr val="accent2"/>
            </a:solidFill>
            <a:miter lim="800000"/>
            <a:headEnd/>
            <a:tailEnd/>
          </a:ln>
        </p:spPr>
        <p:txBody>
          <a:bodyPr wrap="square" lIns="33231" tIns="33231" rIns="33231" bIns="33231"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5" name="正方形/長方形 74">
            <a:extLst>
              <a:ext uri="{FF2B5EF4-FFF2-40B4-BE49-F238E27FC236}">
                <a16:creationId xmlns:a16="http://schemas.microsoft.com/office/drawing/2014/main" id="{3781562B-99D3-8763-D441-5BD4B6382D16}"/>
              </a:ext>
            </a:extLst>
          </p:cNvPr>
          <p:cNvSpPr/>
          <p:nvPr/>
        </p:nvSpPr>
        <p:spPr>
          <a:xfrm>
            <a:off x="2319212" y="1694736"/>
            <a:ext cx="540000" cy="144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solidFill>
                  <a:srgbClr val="000000"/>
                </a:solidFill>
                <a:latin typeface="Yu Gothic UI" panose="020B0500000000000000" pitchFamily="50" charset="-128"/>
                <a:ea typeface="Yu Gothic UI" panose="020B0500000000000000" pitchFamily="50" charset="-128"/>
              </a:rPr>
              <a:t>他部門管理</a:t>
            </a:r>
            <a:endParaRPr lang="en-US" altLang="ja-JP" sz="800" dirty="0">
              <a:solidFill>
                <a:srgbClr val="000000"/>
              </a:solidFill>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solidFill>
                  <a:srgbClr val="000000"/>
                </a:solidFill>
                <a:latin typeface="Yu Gothic UI" panose="020B0500000000000000" pitchFamily="50" charset="-128"/>
                <a:ea typeface="Yu Gothic UI" panose="020B0500000000000000" pitchFamily="50" charset="-128"/>
              </a:rPr>
              <a:t> システム</a:t>
            </a:r>
            <a:endPar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6" name="正方形/長方形 75">
            <a:extLst>
              <a:ext uri="{FF2B5EF4-FFF2-40B4-BE49-F238E27FC236}">
                <a16:creationId xmlns:a16="http://schemas.microsoft.com/office/drawing/2014/main" id="{75F938DB-1BB9-55B9-01AA-BD89B2575EC1}"/>
              </a:ext>
            </a:extLst>
          </p:cNvPr>
          <p:cNvSpPr/>
          <p:nvPr/>
        </p:nvSpPr>
        <p:spPr>
          <a:xfrm>
            <a:off x="7558616" y="2293833"/>
            <a:ext cx="972000" cy="675052"/>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Nginx</a:t>
            </a:r>
            <a:r>
              <a:rPr kumimoji="1" lang="en-US" altLang="ja-JP" sz="900" b="1" dirty="0">
                <a:solidFill>
                  <a:srgbClr val="000000"/>
                </a:solidFill>
                <a:latin typeface="Yu Gothic UI" panose="020B0500000000000000" pitchFamily="50" charset="-128"/>
                <a:ea typeface="Yu Gothic UI" panose="020B0500000000000000" pitchFamily="50" charset="-128"/>
              </a:rPr>
              <a:t>)</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dirty="0">
                <a:solidFill>
                  <a:srgbClr val="000000"/>
                </a:solidFill>
                <a:latin typeface="Yu Gothic UI" panose="020B0500000000000000" pitchFamily="50" charset="-128"/>
                <a:ea typeface="Yu Gothic UI" panose="020B0500000000000000" pitchFamily="50" charset="-128"/>
              </a:rPr>
              <a:t>[</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公開サイト</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p:txBody>
      </p:sp>
      <p:cxnSp>
        <p:nvCxnSpPr>
          <p:cNvPr id="77" name="コネクタ: カギ線 76">
            <a:extLst>
              <a:ext uri="{FF2B5EF4-FFF2-40B4-BE49-F238E27FC236}">
                <a16:creationId xmlns:a16="http://schemas.microsoft.com/office/drawing/2014/main" id="{B53E66C3-54B3-93A6-707D-38F7A3D33060}"/>
              </a:ext>
            </a:extLst>
          </p:cNvPr>
          <p:cNvCxnSpPr>
            <a:cxnSpLocks/>
            <a:stCxn id="60" idx="0"/>
            <a:endCxn id="76" idx="2"/>
          </p:cNvCxnSpPr>
          <p:nvPr/>
        </p:nvCxnSpPr>
        <p:spPr>
          <a:xfrm rot="16200000" flipV="1">
            <a:off x="8240213" y="2773288"/>
            <a:ext cx="851796" cy="1242990"/>
          </a:xfrm>
          <a:prstGeom prst="bentConnector3">
            <a:avLst>
              <a:gd name="adj1" fmla="val 8031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7442A4C6-9558-00E8-C363-F9446CEC3642}"/>
              </a:ext>
            </a:extLst>
          </p:cNvPr>
          <p:cNvSpPr/>
          <p:nvPr/>
        </p:nvSpPr>
        <p:spPr>
          <a:xfrm>
            <a:off x="7250954" y="4118704"/>
            <a:ext cx="540000" cy="108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dirty="0">
                <a:solidFill>
                  <a:srgbClr val="000000"/>
                </a:solidFill>
                <a:latin typeface="Yu Gothic UI" panose="020B0500000000000000" pitchFamily="50" charset="-128"/>
                <a:ea typeface="Yu Gothic UI" panose="020B0500000000000000" pitchFamily="50" charset="-128"/>
              </a:rPr>
              <a:t>コンテンツ配信</a:t>
            </a:r>
            <a:endParaRPr kumimoji="1" lang="ja-JP" altLang="en-US"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9" name="正方形/長方形 78">
            <a:extLst>
              <a:ext uri="{FF2B5EF4-FFF2-40B4-BE49-F238E27FC236}">
                <a16:creationId xmlns:a16="http://schemas.microsoft.com/office/drawing/2014/main" id="{E9817814-AB5D-3FDA-0F0F-08219FD7A550}"/>
              </a:ext>
            </a:extLst>
          </p:cNvPr>
          <p:cNvSpPr/>
          <p:nvPr/>
        </p:nvSpPr>
        <p:spPr>
          <a:xfrm>
            <a:off x="3379089" y="4478576"/>
            <a:ext cx="6441667" cy="1152128"/>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検証環境　</a:t>
            </a:r>
            <a:r>
              <a:rPr kumimoji="1" lang="en-US" altLang="ja-JP" sz="90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90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本番環境と同等環境（一部スペックダウン）</a:t>
            </a:r>
            <a:endParaRPr kumimoji="1" lang="en-US" altLang="ja-JP" sz="90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cxnSp>
        <p:nvCxnSpPr>
          <p:cNvPr id="80" name="コネクタ: カギ線 79">
            <a:extLst>
              <a:ext uri="{FF2B5EF4-FFF2-40B4-BE49-F238E27FC236}">
                <a16:creationId xmlns:a16="http://schemas.microsoft.com/office/drawing/2014/main" id="{1AD25B82-DB80-0C6A-A5F6-7A0AE4945B0B}"/>
              </a:ext>
            </a:extLst>
          </p:cNvPr>
          <p:cNvCxnSpPr>
            <a:cxnSpLocks/>
          </p:cNvCxnSpPr>
          <p:nvPr/>
        </p:nvCxnSpPr>
        <p:spPr>
          <a:xfrm rot="10800000" flipV="1">
            <a:off x="2492383" y="2963541"/>
            <a:ext cx="5309075" cy="1019140"/>
          </a:xfrm>
          <a:prstGeom prst="bentConnector3">
            <a:avLst>
              <a:gd name="adj1" fmla="val 34"/>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コネクタ: カギ線 80">
            <a:extLst>
              <a:ext uri="{FF2B5EF4-FFF2-40B4-BE49-F238E27FC236}">
                <a16:creationId xmlns:a16="http://schemas.microsoft.com/office/drawing/2014/main" id="{AC5EA034-3D04-54EB-84D4-E8F6DD615EC4}"/>
              </a:ext>
            </a:extLst>
          </p:cNvPr>
          <p:cNvCxnSpPr>
            <a:cxnSpLocks/>
          </p:cNvCxnSpPr>
          <p:nvPr/>
        </p:nvCxnSpPr>
        <p:spPr>
          <a:xfrm rot="10800000" flipV="1">
            <a:off x="2492383" y="3806201"/>
            <a:ext cx="5423375" cy="176479"/>
          </a:xfrm>
          <a:prstGeom prst="bentConnector3">
            <a:avLst>
              <a:gd name="adj1" fmla="val -347"/>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正方形/長方形 81">
            <a:extLst>
              <a:ext uri="{FF2B5EF4-FFF2-40B4-BE49-F238E27FC236}">
                <a16:creationId xmlns:a16="http://schemas.microsoft.com/office/drawing/2014/main" id="{BA5170EE-3FA4-DFA3-F11C-F2EB71D6E70B}"/>
              </a:ext>
            </a:extLst>
          </p:cNvPr>
          <p:cNvSpPr/>
          <p:nvPr/>
        </p:nvSpPr>
        <p:spPr>
          <a:xfrm>
            <a:off x="7556469" y="3199533"/>
            <a:ext cx="972000" cy="675052"/>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dirty="0">
                <a:solidFill>
                  <a:srgbClr val="000000"/>
                </a:solidFill>
                <a:latin typeface="Yu Gothic UI" panose="020B0500000000000000" pitchFamily="50" charset="-128"/>
                <a:ea typeface="Yu Gothic UI" panose="020B0500000000000000" pitchFamily="50" charset="-128"/>
              </a:rPr>
              <a:t>[</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確認サイト</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p:txBody>
      </p:sp>
      <p:sp>
        <p:nvSpPr>
          <p:cNvPr id="83" name="正方形/長方形 82">
            <a:extLst>
              <a:ext uri="{FF2B5EF4-FFF2-40B4-BE49-F238E27FC236}">
                <a16:creationId xmlns:a16="http://schemas.microsoft.com/office/drawing/2014/main" id="{41B2CEF5-8A21-9EF5-D486-8AC8631E5017}"/>
              </a:ext>
            </a:extLst>
          </p:cNvPr>
          <p:cNvSpPr/>
          <p:nvPr/>
        </p:nvSpPr>
        <p:spPr>
          <a:xfrm>
            <a:off x="3529673" y="4998059"/>
            <a:ext cx="2268000" cy="278341"/>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 application server</a:t>
            </a:r>
          </a:p>
        </p:txBody>
      </p:sp>
      <p:sp>
        <p:nvSpPr>
          <p:cNvPr id="84" name="正方形/長方形 83">
            <a:extLst>
              <a:ext uri="{FF2B5EF4-FFF2-40B4-BE49-F238E27FC236}">
                <a16:creationId xmlns:a16="http://schemas.microsoft.com/office/drawing/2014/main" id="{3A2CA2A2-DDC1-5AB4-342D-43E8D36C44DE}"/>
              </a:ext>
            </a:extLst>
          </p:cNvPr>
          <p:cNvSpPr/>
          <p:nvPr/>
        </p:nvSpPr>
        <p:spPr>
          <a:xfrm>
            <a:off x="9047481" y="4646984"/>
            <a:ext cx="684000" cy="359221"/>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DN (Akamai)</a:t>
            </a:r>
          </a:p>
        </p:txBody>
      </p:sp>
      <p:sp>
        <p:nvSpPr>
          <p:cNvPr id="85" name="正方形/長方形 84">
            <a:extLst>
              <a:ext uri="{FF2B5EF4-FFF2-40B4-BE49-F238E27FC236}">
                <a16:creationId xmlns:a16="http://schemas.microsoft.com/office/drawing/2014/main" id="{DD85322E-45FB-ED10-0967-B80775DA24AC}"/>
              </a:ext>
            </a:extLst>
          </p:cNvPr>
          <p:cNvSpPr/>
          <p:nvPr/>
        </p:nvSpPr>
        <p:spPr>
          <a:xfrm>
            <a:off x="6121575" y="4711922"/>
            <a:ext cx="720000" cy="235913"/>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会員情報</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cxnSp>
        <p:nvCxnSpPr>
          <p:cNvPr id="86" name="コネクタ: カギ線 85">
            <a:extLst>
              <a:ext uri="{FF2B5EF4-FFF2-40B4-BE49-F238E27FC236}">
                <a16:creationId xmlns:a16="http://schemas.microsoft.com/office/drawing/2014/main" id="{F788E529-A4CD-A8D0-E477-9FB4ADFBB4B6}"/>
              </a:ext>
            </a:extLst>
          </p:cNvPr>
          <p:cNvCxnSpPr>
            <a:cxnSpLocks/>
            <a:stCxn id="89" idx="3"/>
            <a:endCxn id="107" idx="1"/>
          </p:cNvCxnSpPr>
          <p:nvPr/>
        </p:nvCxnSpPr>
        <p:spPr>
          <a:xfrm>
            <a:off x="7157039" y="5135035"/>
            <a:ext cx="414916" cy="51749"/>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a:extLst>
              <a:ext uri="{FF2B5EF4-FFF2-40B4-BE49-F238E27FC236}">
                <a16:creationId xmlns:a16="http://schemas.microsoft.com/office/drawing/2014/main" id="{20084D87-2411-620E-FB3D-BD648A86788D}"/>
              </a:ext>
            </a:extLst>
          </p:cNvPr>
          <p:cNvCxnSpPr>
            <a:cxnSpLocks/>
            <a:stCxn id="91" idx="3"/>
            <a:endCxn id="84" idx="1"/>
          </p:cNvCxnSpPr>
          <p:nvPr/>
        </p:nvCxnSpPr>
        <p:spPr>
          <a:xfrm>
            <a:off x="8541174" y="4825368"/>
            <a:ext cx="506307" cy="1227"/>
          </a:xfrm>
          <a:prstGeom prst="straightConnector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直線矢印コネクタ 87">
            <a:extLst>
              <a:ext uri="{FF2B5EF4-FFF2-40B4-BE49-F238E27FC236}">
                <a16:creationId xmlns:a16="http://schemas.microsoft.com/office/drawing/2014/main" id="{599EB059-FD84-2E6A-12DA-4489486C50E1}"/>
              </a:ext>
            </a:extLst>
          </p:cNvPr>
          <p:cNvCxnSpPr>
            <a:cxnSpLocks/>
          </p:cNvCxnSpPr>
          <p:nvPr/>
        </p:nvCxnSpPr>
        <p:spPr>
          <a:xfrm>
            <a:off x="6856066" y="4756932"/>
            <a:ext cx="720000" cy="0"/>
          </a:xfrm>
          <a:prstGeom prst="straightConnector1">
            <a:avLst/>
          </a:prstGeom>
          <a:ln w="1270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8B833418-27C4-DCBC-F1E0-6F1EAE5159E4}"/>
              </a:ext>
            </a:extLst>
          </p:cNvPr>
          <p:cNvSpPr/>
          <p:nvPr/>
        </p:nvSpPr>
        <p:spPr>
          <a:xfrm>
            <a:off x="6185039" y="5017078"/>
            <a:ext cx="972000" cy="235913"/>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err="1">
                <a:ln>
                  <a:noFill/>
                </a:ln>
                <a:solidFill>
                  <a:srgbClr val="000000"/>
                </a:solidFill>
                <a:effectLst/>
                <a:uLnTx/>
                <a:uFillTx/>
                <a:latin typeface="Yu Gothic UI" panose="020B0500000000000000" pitchFamily="50" charset="-128"/>
                <a:ea typeface="Yu Gothic UI" panose="020B0500000000000000" pitchFamily="50" charset="-128"/>
                <a:cs typeface="+mn-cs"/>
              </a:rPr>
              <a:t>LiveSite</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page)</a:t>
            </a:r>
          </a:p>
        </p:txBody>
      </p:sp>
      <p:cxnSp>
        <p:nvCxnSpPr>
          <p:cNvPr id="90" name="直線矢印コネクタ 16">
            <a:extLst>
              <a:ext uri="{FF2B5EF4-FFF2-40B4-BE49-F238E27FC236}">
                <a16:creationId xmlns:a16="http://schemas.microsoft.com/office/drawing/2014/main" id="{E17594A1-1A80-DC58-90AE-EE3A8AC23C35}"/>
              </a:ext>
            </a:extLst>
          </p:cNvPr>
          <p:cNvCxnSpPr>
            <a:cxnSpLocks/>
            <a:stCxn id="89" idx="3"/>
            <a:endCxn id="91" idx="1"/>
          </p:cNvCxnSpPr>
          <p:nvPr/>
        </p:nvCxnSpPr>
        <p:spPr>
          <a:xfrm flipV="1">
            <a:off x="7157039" y="4825368"/>
            <a:ext cx="412135" cy="309667"/>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C5A8F5D0-B8F6-309F-7A3F-3B198F2A37BC}"/>
              </a:ext>
            </a:extLst>
          </p:cNvPr>
          <p:cNvSpPr/>
          <p:nvPr/>
        </p:nvSpPr>
        <p:spPr>
          <a:xfrm>
            <a:off x="7569174" y="4702901"/>
            <a:ext cx="972000" cy="244934"/>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公開サイト）</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92" name="正方形/長方形 91">
            <a:extLst>
              <a:ext uri="{FF2B5EF4-FFF2-40B4-BE49-F238E27FC236}">
                <a16:creationId xmlns:a16="http://schemas.microsoft.com/office/drawing/2014/main" id="{894E5375-AE13-973D-68B3-93DCA3631487}"/>
              </a:ext>
            </a:extLst>
          </p:cNvPr>
          <p:cNvSpPr/>
          <p:nvPr/>
        </p:nvSpPr>
        <p:spPr bwMode="gray">
          <a:xfrm>
            <a:off x="5083406" y="2545221"/>
            <a:ext cx="648000" cy="373037"/>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dirty="0">
                <a:solidFill>
                  <a:srgbClr val="000000"/>
                </a:solidFill>
                <a:latin typeface="Yu Gothic UI" panose="020B0500000000000000" pitchFamily="50" charset="-128"/>
                <a:ea typeface="Yu Gothic UI" panose="020B0500000000000000" pitchFamily="50" charset="-128"/>
              </a:rPr>
              <a:t>社外</a:t>
            </a:r>
            <a:endParaRPr kumimoji="1" lang="en-US" altLang="ja-JP" sz="800" dirty="0">
              <a:solidFill>
                <a:srgbClr val="000000"/>
              </a:solidFill>
              <a:latin typeface="Yu Gothic UI" panose="020B0500000000000000" pitchFamily="50" charset="-128"/>
              <a:ea typeface="Yu Gothic UI" panose="020B05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do)</a:t>
            </a:r>
          </a:p>
        </p:txBody>
      </p:sp>
      <p:sp>
        <p:nvSpPr>
          <p:cNvPr id="93" name="四角形: 角を丸くする 92">
            <a:extLst>
              <a:ext uri="{FF2B5EF4-FFF2-40B4-BE49-F238E27FC236}">
                <a16:creationId xmlns:a16="http://schemas.microsoft.com/office/drawing/2014/main" id="{2D885832-9C9F-6C47-B5AE-9751372EEE3E}"/>
              </a:ext>
            </a:extLst>
          </p:cNvPr>
          <p:cNvSpPr/>
          <p:nvPr/>
        </p:nvSpPr>
        <p:spPr bwMode="gray">
          <a:xfrm>
            <a:off x="3460722" y="2984773"/>
            <a:ext cx="2304000" cy="800196"/>
          </a:xfrm>
          <a:prstGeom prst="roundRect">
            <a:avLst>
              <a:gd name="adj" fmla="val 6214"/>
            </a:avLst>
          </a:prstGeom>
          <a:noFill/>
          <a:ln w="12700" algn="ctr">
            <a:solidFill>
              <a:schemeClr val="bg1">
                <a:lumMod val="75000"/>
              </a:schemeClr>
            </a:solidFill>
            <a:prstDash val="sysDot"/>
            <a:miter lim="800000"/>
            <a:headEnd/>
            <a:tailEnd/>
          </a:ln>
        </p:spPr>
        <p:txBody>
          <a:bodyPr wrap="square" lIns="36000" tIns="0" rIns="36000" bIns="36000" rtlCol="0" anchor="t" anchorCtr="0"/>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コンテンツ管理システム</a:t>
            </a:r>
          </a:p>
        </p:txBody>
      </p:sp>
      <p:sp>
        <p:nvSpPr>
          <p:cNvPr id="94" name="フローチャート: 磁気ディスク 93">
            <a:extLst>
              <a:ext uri="{FF2B5EF4-FFF2-40B4-BE49-F238E27FC236}">
                <a16:creationId xmlns:a16="http://schemas.microsoft.com/office/drawing/2014/main" id="{9243FB8A-0EB9-BFAD-96C6-EA4A38ED27D3}"/>
              </a:ext>
            </a:extLst>
          </p:cNvPr>
          <p:cNvSpPr/>
          <p:nvPr/>
        </p:nvSpPr>
        <p:spPr bwMode="gray">
          <a:xfrm>
            <a:off x="4268242" y="2623645"/>
            <a:ext cx="648000" cy="216000"/>
          </a:xfrm>
          <a:prstGeom prst="flowChartMagneticDisk">
            <a:avLst/>
          </a:prstGeom>
          <a:solidFill>
            <a:schemeClr val="bg1">
              <a:lumMod val="95000"/>
            </a:schemeClr>
          </a:solidFill>
          <a:ln w="12700" algn="ctr">
            <a:solidFill>
              <a:schemeClr val="bg1">
                <a:lumMod val="75000"/>
              </a:schemeClr>
            </a:solidFill>
            <a:miter lim="800000"/>
            <a:headEnd/>
            <a:tailEnd/>
          </a:ln>
        </p:spPr>
        <p:txBody>
          <a:bodyPr wrap="squar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8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cxnSp>
        <p:nvCxnSpPr>
          <p:cNvPr id="95" name="直線矢印コネクタ 267">
            <a:extLst>
              <a:ext uri="{FF2B5EF4-FFF2-40B4-BE49-F238E27FC236}">
                <a16:creationId xmlns:a16="http://schemas.microsoft.com/office/drawing/2014/main" id="{1899AA31-B27B-B12B-DEE6-8D236915C1CA}"/>
              </a:ext>
            </a:extLst>
          </p:cNvPr>
          <p:cNvCxnSpPr>
            <a:cxnSpLocks/>
            <a:stCxn id="94" idx="4"/>
            <a:endCxn id="92" idx="1"/>
          </p:cNvCxnSpPr>
          <p:nvPr/>
        </p:nvCxnSpPr>
        <p:spPr>
          <a:xfrm>
            <a:off x="4916242" y="2731645"/>
            <a:ext cx="167164" cy="95"/>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ACF66701-278A-5B9B-DA06-98AFB5F18AD1}"/>
              </a:ext>
            </a:extLst>
          </p:cNvPr>
          <p:cNvCxnSpPr>
            <a:cxnSpLocks/>
          </p:cNvCxnSpPr>
          <p:nvPr/>
        </p:nvCxnSpPr>
        <p:spPr>
          <a:xfrm>
            <a:off x="4124242" y="2731645"/>
            <a:ext cx="144000" cy="0"/>
          </a:xfrm>
          <a:prstGeom prst="straightConnector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コネクタ: カギ線 96">
            <a:extLst>
              <a:ext uri="{FF2B5EF4-FFF2-40B4-BE49-F238E27FC236}">
                <a16:creationId xmlns:a16="http://schemas.microsoft.com/office/drawing/2014/main" id="{EF878CCD-BF69-3F71-B9D9-830B055952D5}"/>
              </a:ext>
            </a:extLst>
          </p:cNvPr>
          <p:cNvCxnSpPr>
            <a:cxnSpLocks/>
            <a:stCxn id="66" idx="3"/>
            <a:endCxn id="76" idx="1"/>
          </p:cNvCxnSpPr>
          <p:nvPr/>
        </p:nvCxnSpPr>
        <p:spPr>
          <a:xfrm flipV="1">
            <a:off x="7192925" y="2631359"/>
            <a:ext cx="365691" cy="968708"/>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402829A5-226D-DF63-103D-DA88CCEC238C}"/>
              </a:ext>
            </a:extLst>
          </p:cNvPr>
          <p:cNvCxnSpPr>
            <a:cxnSpLocks/>
            <a:stCxn id="92" idx="3"/>
          </p:cNvCxnSpPr>
          <p:nvPr/>
        </p:nvCxnSpPr>
        <p:spPr>
          <a:xfrm flipV="1">
            <a:off x="5731406" y="2503082"/>
            <a:ext cx="1825063" cy="228658"/>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コネクタ: カギ線 98">
            <a:extLst>
              <a:ext uri="{FF2B5EF4-FFF2-40B4-BE49-F238E27FC236}">
                <a16:creationId xmlns:a16="http://schemas.microsoft.com/office/drawing/2014/main" id="{547B6967-C3CE-CA84-0573-6414E45791BB}"/>
              </a:ext>
            </a:extLst>
          </p:cNvPr>
          <p:cNvCxnSpPr>
            <a:cxnSpLocks/>
            <a:stCxn id="92" idx="3"/>
          </p:cNvCxnSpPr>
          <p:nvPr/>
        </p:nvCxnSpPr>
        <p:spPr>
          <a:xfrm>
            <a:off x="5731406" y="2731740"/>
            <a:ext cx="1825063" cy="511945"/>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コネクタ: カギ線 99">
            <a:extLst>
              <a:ext uri="{FF2B5EF4-FFF2-40B4-BE49-F238E27FC236}">
                <a16:creationId xmlns:a16="http://schemas.microsoft.com/office/drawing/2014/main" id="{94CE2C2C-E45D-490D-5E2D-AB63B667C8C0}"/>
              </a:ext>
            </a:extLst>
          </p:cNvPr>
          <p:cNvCxnSpPr>
            <a:cxnSpLocks/>
            <a:stCxn id="9" idx="3"/>
          </p:cNvCxnSpPr>
          <p:nvPr/>
        </p:nvCxnSpPr>
        <p:spPr>
          <a:xfrm>
            <a:off x="5821077" y="1932275"/>
            <a:ext cx="1735392" cy="453812"/>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コネクタ: カギ線 100">
            <a:extLst>
              <a:ext uri="{FF2B5EF4-FFF2-40B4-BE49-F238E27FC236}">
                <a16:creationId xmlns:a16="http://schemas.microsoft.com/office/drawing/2014/main" id="{E7CC3728-6843-65DA-A0C6-2C71496ED686}"/>
              </a:ext>
            </a:extLst>
          </p:cNvPr>
          <p:cNvCxnSpPr>
            <a:cxnSpLocks/>
            <a:stCxn id="9" idx="3"/>
          </p:cNvCxnSpPr>
          <p:nvPr/>
        </p:nvCxnSpPr>
        <p:spPr>
          <a:xfrm>
            <a:off x="5821077" y="1932275"/>
            <a:ext cx="1743103" cy="1433837"/>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2" name="正方形/長方形 101">
            <a:extLst>
              <a:ext uri="{FF2B5EF4-FFF2-40B4-BE49-F238E27FC236}">
                <a16:creationId xmlns:a16="http://schemas.microsoft.com/office/drawing/2014/main" id="{2C784773-8C88-9A9F-5C99-994C7AF09A4E}"/>
              </a:ext>
            </a:extLst>
          </p:cNvPr>
          <p:cNvSpPr/>
          <p:nvPr/>
        </p:nvSpPr>
        <p:spPr bwMode="gray">
          <a:xfrm>
            <a:off x="1293030" y="2030523"/>
            <a:ext cx="180000" cy="144000"/>
          </a:xfrm>
          <a:prstGeom prst="rect">
            <a:avLst/>
          </a:prstGeom>
          <a:solidFill>
            <a:schemeClr val="accent1">
              <a:lumMod val="20000"/>
              <a:lumOff val="80000"/>
            </a:schemeClr>
          </a:solidFill>
          <a:ln w="12700" algn="ctr">
            <a:solidFill>
              <a:schemeClr val="accent6">
                <a:lumMod val="75000"/>
              </a:schemeClr>
            </a:solidFill>
            <a:prstDash val="sysDash"/>
            <a:miter lim="800000"/>
            <a:headEnd/>
            <a:tailEnd/>
          </a:ln>
        </p:spPr>
        <p:txBody>
          <a:bodyPr wrap="square" lIns="33231" tIns="33231" rIns="33231" bIns="33231" rtlCol="0" anchor="t"/>
          <a:lstStyle/>
          <a:p>
            <a:pPr algn="ctr"/>
            <a:endParaRPr kumimoji="1" lang="en-US" altLang="ja-JP" sz="900" b="1">
              <a:latin typeface="Yu Gothic UI" panose="020B0500000000000000" pitchFamily="50" charset="-128"/>
              <a:ea typeface="Yu Gothic UI" panose="020B0500000000000000" pitchFamily="50" charset="-128"/>
            </a:endParaRPr>
          </a:p>
        </p:txBody>
      </p:sp>
      <p:sp>
        <p:nvSpPr>
          <p:cNvPr id="103" name="正方形/長方形 102">
            <a:extLst>
              <a:ext uri="{FF2B5EF4-FFF2-40B4-BE49-F238E27FC236}">
                <a16:creationId xmlns:a16="http://schemas.microsoft.com/office/drawing/2014/main" id="{B2B58936-B83C-9C58-5987-B3BAC639BA74}"/>
              </a:ext>
            </a:extLst>
          </p:cNvPr>
          <p:cNvSpPr/>
          <p:nvPr/>
        </p:nvSpPr>
        <p:spPr>
          <a:xfrm>
            <a:off x="1473030" y="2030523"/>
            <a:ext cx="540000" cy="144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r>
              <a:rPr kumimoji="1" lang="ja-JP" altLang="en-US" sz="800" dirty="0">
                <a:solidFill>
                  <a:schemeClr val="tx1"/>
                </a:solidFill>
                <a:latin typeface="Yu Gothic UI" panose="020B0500000000000000" pitchFamily="50" charset="-128"/>
                <a:ea typeface="Yu Gothic UI" panose="020B0500000000000000" pitchFamily="50" charset="-128"/>
              </a:rPr>
              <a:t>ご提案依頼範囲</a:t>
            </a:r>
            <a:br>
              <a:rPr kumimoji="1" lang="en-US" altLang="ja-JP" sz="800" dirty="0">
                <a:solidFill>
                  <a:schemeClr val="tx1"/>
                </a:solidFill>
                <a:latin typeface="Yu Gothic UI" panose="020B0500000000000000" pitchFamily="50" charset="-128"/>
                <a:ea typeface="Yu Gothic UI" panose="020B0500000000000000" pitchFamily="50" charset="-128"/>
              </a:rPr>
            </a:br>
            <a:r>
              <a:rPr kumimoji="1" lang="en-US" altLang="ja-JP" sz="800" dirty="0">
                <a:solidFill>
                  <a:schemeClr val="tx1"/>
                </a:solidFill>
                <a:latin typeface="Yu Gothic UI" panose="020B0500000000000000" pitchFamily="50" charset="-128"/>
                <a:ea typeface="Yu Gothic UI" panose="020B0500000000000000" pitchFamily="50" charset="-128"/>
              </a:rPr>
              <a:t>(I/F</a:t>
            </a:r>
            <a:r>
              <a:rPr kumimoji="1" lang="ja-JP" altLang="en-US" sz="800" dirty="0">
                <a:solidFill>
                  <a:schemeClr val="tx1"/>
                </a:solidFill>
                <a:latin typeface="Yu Gothic UI" panose="020B0500000000000000" pitchFamily="50" charset="-128"/>
                <a:ea typeface="Yu Gothic UI" panose="020B0500000000000000" pitchFamily="50" charset="-128"/>
              </a:rPr>
              <a:t>含む</a:t>
            </a:r>
            <a:r>
              <a:rPr kumimoji="1" lang="en-US" altLang="ja-JP" sz="800" dirty="0">
                <a:solidFill>
                  <a:schemeClr val="tx1"/>
                </a:solidFill>
                <a:latin typeface="Yu Gothic UI" panose="020B0500000000000000" pitchFamily="50" charset="-128"/>
                <a:ea typeface="Yu Gothic UI" panose="020B0500000000000000" pitchFamily="50" charset="-128"/>
              </a:rPr>
              <a:t>)</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cxnSp>
        <p:nvCxnSpPr>
          <p:cNvPr id="104" name="直線矢印コネクタ 16">
            <a:extLst>
              <a:ext uri="{FF2B5EF4-FFF2-40B4-BE49-F238E27FC236}">
                <a16:creationId xmlns:a16="http://schemas.microsoft.com/office/drawing/2014/main" id="{F34F770B-3AEE-52E6-8145-0E0D94B1C98C}"/>
              </a:ext>
            </a:extLst>
          </p:cNvPr>
          <p:cNvCxnSpPr>
            <a:cxnSpLocks/>
            <a:stCxn id="106" idx="1"/>
            <a:endCxn id="107" idx="2"/>
          </p:cNvCxnSpPr>
          <p:nvPr/>
        </p:nvCxnSpPr>
        <p:spPr>
          <a:xfrm rot="10800000">
            <a:off x="8057955" y="5304740"/>
            <a:ext cx="896668" cy="125138"/>
          </a:xfrm>
          <a:prstGeom prst="bentConnector2">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6">
            <a:extLst>
              <a:ext uri="{FF2B5EF4-FFF2-40B4-BE49-F238E27FC236}">
                <a16:creationId xmlns:a16="http://schemas.microsoft.com/office/drawing/2014/main" id="{213429F3-A256-D1E0-8654-5F2B4185BA3E}"/>
              </a:ext>
            </a:extLst>
          </p:cNvPr>
          <p:cNvCxnSpPr>
            <a:cxnSpLocks/>
          </p:cNvCxnSpPr>
          <p:nvPr/>
        </p:nvCxnSpPr>
        <p:spPr>
          <a:xfrm rot="10800000">
            <a:off x="8367149" y="4947835"/>
            <a:ext cx="879951" cy="446420"/>
          </a:xfrm>
          <a:prstGeom prst="bentConnector2">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正方形/長方形 105">
            <a:extLst>
              <a:ext uri="{FF2B5EF4-FFF2-40B4-BE49-F238E27FC236}">
                <a16:creationId xmlns:a16="http://schemas.microsoft.com/office/drawing/2014/main" id="{3930E925-9AA1-906B-AF5F-AB5753618844}"/>
              </a:ext>
            </a:extLst>
          </p:cNvPr>
          <p:cNvSpPr/>
          <p:nvPr/>
        </p:nvSpPr>
        <p:spPr>
          <a:xfrm>
            <a:off x="8954623" y="5311921"/>
            <a:ext cx="792000" cy="235914"/>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kumimoji="1" lang="en-US" altLang="ja-JP" sz="900" b="1" dirty="0">
                <a:solidFill>
                  <a:srgbClr val="000000"/>
                </a:solidFill>
                <a:latin typeface="Yu Gothic UI" panose="020B0500000000000000" pitchFamily="50" charset="-128"/>
                <a:ea typeface="Yu Gothic UI" panose="020B0500000000000000" pitchFamily="50" charset="-128"/>
              </a:rPr>
              <a:t>TeamSite</a:t>
            </a:r>
          </a:p>
        </p:txBody>
      </p:sp>
      <p:sp>
        <p:nvSpPr>
          <p:cNvPr id="107" name="正方形/長方形 106">
            <a:extLst>
              <a:ext uri="{FF2B5EF4-FFF2-40B4-BE49-F238E27FC236}">
                <a16:creationId xmlns:a16="http://schemas.microsoft.com/office/drawing/2014/main" id="{BE874AC3-5EED-DC17-AD62-90B4B2223CA8}"/>
              </a:ext>
            </a:extLst>
          </p:cNvPr>
          <p:cNvSpPr/>
          <p:nvPr/>
        </p:nvSpPr>
        <p:spPr>
          <a:xfrm>
            <a:off x="7571955" y="5068827"/>
            <a:ext cx="972000" cy="235913"/>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確認サイト）</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08" name="正方形/長方形 107">
            <a:extLst>
              <a:ext uri="{FF2B5EF4-FFF2-40B4-BE49-F238E27FC236}">
                <a16:creationId xmlns:a16="http://schemas.microsoft.com/office/drawing/2014/main" id="{E51B9982-97BC-345B-EBE2-42F708429720}"/>
              </a:ext>
            </a:extLst>
          </p:cNvPr>
          <p:cNvSpPr/>
          <p:nvPr/>
        </p:nvSpPr>
        <p:spPr>
          <a:xfrm>
            <a:off x="3325563" y="2191567"/>
            <a:ext cx="2640951" cy="3222416"/>
          </a:xfrm>
          <a:prstGeom prst="rect">
            <a:avLst/>
          </a:prstGeom>
          <a:solidFill>
            <a:schemeClr val="accent6">
              <a:lumMod val="90000"/>
              <a:alpha val="12000"/>
            </a:schemeClr>
          </a:solidFill>
          <a:ln w="19050">
            <a:solidFill>
              <a:schemeClr val="accent6">
                <a:lumMod val="75000"/>
              </a:schemeClr>
            </a:solidFill>
            <a:prstDash val="dash"/>
          </a:ln>
        </p:spPr>
        <p:style>
          <a:lnRef idx="2">
            <a:schemeClr val="accent4"/>
          </a:lnRef>
          <a:fillRef idx="1">
            <a:schemeClr val="lt1"/>
          </a:fillRef>
          <a:effectRef idx="0">
            <a:schemeClr val="accent4"/>
          </a:effectRef>
          <a:fontRef idx="minor">
            <a:schemeClr val="dk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09" name="正方形/長方形 108">
            <a:extLst>
              <a:ext uri="{FF2B5EF4-FFF2-40B4-BE49-F238E27FC236}">
                <a16:creationId xmlns:a16="http://schemas.microsoft.com/office/drawing/2014/main" id="{3D32A308-BB16-EE08-6654-A2657102F600}"/>
              </a:ext>
            </a:extLst>
          </p:cNvPr>
          <p:cNvSpPr/>
          <p:nvPr/>
        </p:nvSpPr>
        <p:spPr>
          <a:xfrm>
            <a:off x="1688377" y="4205968"/>
            <a:ext cx="1364371" cy="433604"/>
          </a:xfrm>
          <a:prstGeom prst="rect">
            <a:avLst/>
          </a:prstGeom>
          <a:solidFill>
            <a:schemeClr val="accent2">
              <a:lumMod val="20000"/>
              <a:lumOff val="80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900" b="1" dirty="0">
                <a:solidFill>
                  <a:srgbClr val="000000"/>
                </a:solidFill>
                <a:latin typeface="Yu Gothic UI" panose="020B0500000000000000" pitchFamily="50" charset="-128"/>
                <a:ea typeface="Yu Gothic UI" panose="020B0500000000000000" pitchFamily="50" charset="-128"/>
              </a:rPr>
              <a:t>EC</a:t>
            </a:r>
            <a:r>
              <a:rPr lang="ja-JP" altLang="en-US" sz="900" b="1" dirty="0">
                <a:solidFill>
                  <a:srgbClr val="000000"/>
                </a:solidFill>
                <a:latin typeface="Yu Gothic UI" panose="020B0500000000000000" pitchFamily="50" charset="-128"/>
                <a:ea typeface="Yu Gothic UI" panose="020B0500000000000000" pitchFamily="50" charset="-128"/>
              </a:rPr>
              <a:t>システム</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SAP Commerce/SCPI)</a:t>
            </a:r>
          </a:p>
        </p:txBody>
      </p:sp>
      <p:cxnSp>
        <p:nvCxnSpPr>
          <p:cNvPr id="110" name="コネクタ: カギ線 109">
            <a:extLst>
              <a:ext uri="{FF2B5EF4-FFF2-40B4-BE49-F238E27FC236}">
                <a16:creationId xmlns:a16="http://schemas.microsoft.com/office/drawing/2014/main" id="{30317D74-462F-8128-96C0-929E3D297DBB}"/>
              </a:ext>
            </a:extLst>
          </p:cNvPr>
          <p:cNvCxnSpPr>
            <a:cxnSpLocks/>
          </p:cNvCxnSpPr>
          <p:nvPr/>
        </p:nvCxnSpPr>
        <p:spPr>
          <a:xfrm rot="5400000">
            <a:off x="3105226" y="3687912"/>
            <a:ext cx="601169" cy="707283"/>
          </a:xfrm>
          <a:prstGeom prst="bentConnector2">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24BFB846-1523-52B7-6F68-EC60398E8590}"/>
              </a:ext>
            </a:extLst>
          </p:cNvPr>
          <p:cNvSpPr/>
          <p:nvPr/>
        </p:nvSpPr>
        <p:spPr>
          <a:xfrm>
            <a:off x="7433368" y="2170580"/>
            <a:ext cx="1149908" cy="3324465"/>
          </a:xfrm>
          <a:prstGeom prst="rect">
            <a:avLst/>
          </a:prstGeom>
          <a:solidFill>
            <a:schemeClr val="accent6">
              <a:lumMod val="90000"/>
              <a:alpha val="12000"/>
            </a:schemeClr>
          </a:solidFill>
          <a:ln w="19050">
            <a:solidFill>
              <a:schemeClr val="accent6">
                <a:lumMod val="75000"/>
              </a:schemeClr>
            </a:solidFill>
            <a:prstDash val="dash"/>
          </a:ln>
        </p:spPr>
        <p:style>
          <a:lnRef idx="2">
            <a:schemeClr val="accent4"/>
          </a:lnRef>
          <a:fillRef idx="1">
            <a:schemeClr val="lt1"/>
          </a:fillRef>
          <a:effectRef idx="0">
            <a:schemeClr val="accent4"/>
          </a:effectRef>
          <a:fontRef idx="minor">
            <a:schemeClr val="dk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 name="正方形/長方形 6">
            <a:extLst>
              <a:ext uri="{FF2B5EF4-FFF2-40B4-BE49-F238E27FC236}">
                <a16:creationId xmlns:a16="http://schemas.microsoft.com/office/drawing/2014/main" id="{90528E60-23EB-338D-B806-4B7DB1AC1CC2}"/>
              </a:ext>
            </a:extLst>
          </p:cNvPr>
          <p:cNvSpPr/>
          <p:nvPr/>
        </p:nvSpPr>
        <p:spPr>
          <a:xfrm>
            <a:off x="1867576" y="4809541"/>
            <a:ext cx="1067867" cy="279347"/>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dirty="0">
                <a:solidFill>
                  <a:srgbClr val="000000"/>
                </a:solidFill>
                <a:latin typeface="Yu Gothic UI" panose="020B0500000000000000" pitchFamily="50" charset="-128"/>
                <a:ea typeface="Yu Gothic UI" panose="020B0500000000000000" pitchFamily="50" charset="-128"/>
              </a:rPr>
              <a:t>Salesforce</a:t>
            </a:r>
            <a:endPar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cxnSp>
        <p:nvCxnSpPr>
          <p:cNvPr id="11" name="コネクタ: カギ線 10">
            <a:extLst>
              <a:ext uri="{FF2B5EF4-FFF2-40B4-BE49-F238E27FC236}">
                <a16:creationId xmlns:a16="http://schemas.microsoft.com/office/drawing/2014/main" id="{D96CFA62-83C7-8668-A58A-9B23FF1C7CBE}"/>
              </a:ext>
            </a:extLst>
          </p:cNvPr>
          <p:cNvCxnSpPr>
            <a:cxnSpLocks/>
            <a:endCxn id="7" idx="3"/>
          </p:cNvCxnSpPr>
          <p:nvPr/>
        </p:nvCxnSpPr>
        <p:spPr>
          <a:xfrm rot="10800000" flipV="1">
            <a:off x="2935443" y="2691251"/>
            <a:ext cx="473634" cy="2257963"/>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1981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F2C39E-82E4-58C4-5A76-55E6EF83DE65}"/>
              </a:ext>
            </a:extLst>
          </p:cNvPr>
          <p:cNvSpPr>
            <a:spLocks noGrp="1"/>
          </p:cNvSpPr>
          <p:nvPr>
            <p:ph type="sldNum" sz="quarter" idx="18"/>
          </p:nvPr>
        </p:nvSpPr>
        <p:spPr/>
        <p:txBody>
          <a:bodyPr/>
          <a:lstStyle/>
          <a:p>
            <a:fld id="{8E309D18-5CEC-4165-B971-DC4DA761F26D}" type="slidenum">
              <a:rPr lang="ja-JP" altLang="en-US" smtClean="0"/>
              <a:pPr/>
              <a:t>12</a:t>
            </a:fld>
            <a:endParaRPr lang="ja-JP" altLang="en-US" dirty="0"/>
          </a:p>
        </p:txBody>
      </p:sp>
      <p:sp>
        <p:nvSpPr>
          <p:cNvPr id="11" name="タイトル 3">
            <a:extLst>
              <a:ext uri="{FF2B5EF4-FFF2-40B4-BE49-F238E27FC236}">
                <a16:creationId xmlns:a16="http://schemas.microsoft.com/office/drawing/2014/main" id="{7917487D-4289-CD26-64FE-2F80C0453E03}"/>
              </a:ext>
            </a:extLst>
          </p:cNvPr>
          <p:cNvSpPr txBox="1">
            <a:spLocks/>
          </p:cNvSpPr>
          <p:nvPr/>
        </p:nvSpPr>
        <p:spPr>
          <a:xfrm>
            <a:off x="1179095" y="12029"/>
            <a:ext cx="9241699" cy="684000"/>
          </a:xfrm>
          <a:prstGeom prst="rect">
            <a:avLst/>
          </a:prstGeom>
        </p:spPr>
        <p:txBody>
          <a:bodyPr vert="horz" lIns="284400" tIns="72000" rIns="284400" bIns="72000" rtlCol="0" anchor="ctr">
            <a:noAutofit/>
          </a:bodyPr>
          <a:lstStyle>
            <a:lvl1pPr algn="l" defTabSz="914400" rtl="0" eaLnBrk="1" latinLnBrk="0" hangingPunct="1">
              <a:lnSpc>
                <a:spcPct val="100000"/>
              </a:lnSpc>
              <a:spcBef>
                <a:spcPct val="0"/>
              </a:spcBef>
              <a:buNone/>
              <a:defRPr kumimoji="1" lang="en-US" altLang="en-US" sz="2000" b="1" kern="1200" spc="300">
                <a:solidFill>
                  <a:schemeClr val="tx1">
                    <a:lumMod val="75000"/>
                    <a:lumOff val="25000"/>
                  </a:schemeClr>
                </a:solidFill>
                <a:latin typeface="Yu Gothic UI" panose="020B0500000000000000" pitchFamily="50" charset="-128"/>
                <a:ea typeface="Yu Gothic UI" panose="020B0500000000000000" pitchFamily="50" charset="-128"/>
                <a:cs typeface="+mj-cs"/>
              </a:defRPr>
            </a:lvl1pPr>
          </a:lstStyle>
          <a:p>
            <a:pPr algn="ctr"/>
            <a:r>
              <a:rPr lang="en-US" altLang="ja-JP" sz="1600" dirty="0">
                <a:latin typeface="+mn-ea"/>
                <a:ea typeface="+mn-ea"/>
              </a:rPr>
              <a:t>2-2.</a:t>
            </a:r>
            <a:r>
              <a:rPr lang="ja-JP" altLang="en-US" sz="1600" dirty="0">
                <a:latin typeface="+mn-ea"/>
                <a:ea typeface="+mn-ea"/>
              </a:rPr>
              <a:t>プロジェクトスコープ</a:t>
            </a:r>
            <a:r>
              <a:rPr lang="en-US" altLang="ja-JP" sz="1600" dirty="0">
                <a:solidFill>
                  <a:srgbClr val="000000"/>
                </a:solidFill>
                <a:latin typeface="+mn-ea"/>
                <a:ea typeface="+mn-ea"/>
              </a:rPr>
              <a:t>&gt;</a:t>
            </a:r>
            <a:br>
              <a:rPr lang="ja-JP" altLang="en-US" sz="1600" dirty="0">
                <a:latin typeface="+mn-ea"/>
                <a:ea typeface="+mn-ea"/>
              </a:rPr>
            </a:br>
            <a:r>
              <a:rPr lang="ja-JP" altLang="en-US" sz="1600" dirty="0">
                <a:latin typeface="+mn-ea"/>
                <a:ea typeface="+mn-ea"/>
              </a:rPr>
              <a:t> システムスコープ</a:t>
            </a:r>
            <a:r>
              <a:rPr lang="en-US" altLang="ja-JP" sz="1600" dirty="0">
                <a:latin typeface="+mn-ea"/>
                <a:ea typeface="+mn-ea"/>
              </a:rPr>
              <a:t>(</a:t>
            </a:r>
            <a:r>
              <a:rPr lang="ja-JP" altLang="en-US" sz="1600" dirty="0">
                <a:latin typeface="+mn-ea"/>
                <a:ea typeface="+mn-ea"/>
              </a:rPr>
              <a:t>非機能要件</a:t>
            </a:r>
            <a:r>
              <a:rPr lang="en-US" altLang="ja-JP" sz="1600" dirty="0">
                <a:latin typeface="+mn-ea"/>
                <a:ea typeface="+mn-ea"/>
              </a:rPr>
              <a:t>)</a:t>
            </a:r>
            <a:endParaRPr lang="ja-JP" altLang="en-US" sz="1600" dirty="0">
              <a:latin typeface="+mn-ea"/>
              <a:ea typeface="+mn-ea"/>
            </a:endParaRPr>
          </a:p>
        </p:txBody>
      </p:sp>
      <p:sp>
        <p:nvSpPr>
          <p:cNvPr id="2" name="テキスト プレースホルダー 2">
            <a:extLst>
              <a:ext uri="{FF2B5EF4-FFF2-40B4-BE49-F238E27FC236}">
                <a16:creationId xmlns:a16="http://schemas.microsoft.com/office/drawing/2014/main" id="{124120C4-E747-C073-9EBB-401D29C96049}"/>
              </a:ext>
            </a:extLst>
          </p:cNvPr>
          <p:cNvSpPr txBox="1">
            <a:spLocks/>
          </p:cNvSpPr>
          <p:nvPr/>
        </p:nvSpPr>
        <p:spPr>
          <a:xfrm>
            <a:off x="1908924" y="830748"/>
            <a:ext cx="8374154" cy="1293123"/>
          </a:xfrm>
          <a:prstGeom prst="rect">
            <a:avLst/>
          </a:prstGeom>
        </p:spPr>
        <p:txBody>
          <a:bodyPr>
            <a:normAutofit/>
          </a:bodyPr>
          <a:lstStyle>
            <a:lvl1pPr marL="228600" indent="-228600" algn="l" defTabSz="914400" rtl="0" eaLnBrk="1" latinLnBrk="0" hangingPunct="1">
              <a:lnSpc>
                <a:spcPct val="130000"/>
              </a:lnSpc>
              <a:spcBef>
                <a:spcPts val="1000"/>
              </a:spcBef>
              <a:buFont typeface="Arial" panose="020B0604020202020204" pitchFamily="34" charset="0"/>
              <a:buChar char="•"/>
              <a:defRPr kumimoji="1" lang="ja-JP" altLang="en-US" sz="1600" kern="1200" dirty="0">
                <a:solidFill>
                  <a:schemeClr val="tx1"/>
                </a:solidFill>
                <a:latin typeface="Meiryo UI" panose="020B0604030504040204" pitchFamily="34" charset="-128"/>
                <a:ea typeface="Meiryo UI" panose="020B0604030504040204" pitchFamily="34" charset="-128"/>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kumimoji="1" lang="ja-JP" altLang="en-US" sz="1400" kern="1200" dirty="0">
                <a:solidFill>
                  <a:schemeClr val="tx1"/>
                </a:solidFill>
                <a:latin typeface="Meiryo UI" panose="020B0604030504040204" pitchFamily="34" charset="-128"/>
                <a:ea typeface="Meiryo UI" panose="020B0604030504040204" pitchFamily="34" charset="-128"/>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kumimoji="1" lang="ja-JP" altLang="en-US" sz="1200" kern="1200" dirty="0">
                <a:solidFill>
                  <a:schemeClr val="tx1"/>
                </a:solidFill>
                <a:latin typeface="Meiryo UI" panose="020B0604030504040204" pitchFamily="34" charset="-128"/>
                <a:ea typeface="Meiryo UI" panose="020B0604030504040204" pitchFamily="34" charset="-128"/>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kumimoji="1" lang="ja-JP" altLang="en-US" sz="1100" kern="1200" dirty="0">
                <a:solidFill>
                  <a:schemeClr val="tx1"/>
                </a:solidFill>
                <a:latin typeface="Meiryo UI" panose="020B0604030504040204" pitchFamily="34" charset="-128"/>
                <a:ea typeface="Meiryo UI" panose="020B0604030504040204" pitchFamily="34"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spcBef>
                <a:spcPts val="600"/>
              </a:spcBef>
            </a:pPr>
            <a:r>
              <a:rPr lang="ja-JP" altLang="en-US" sz="1200" dirty="0">
                <a:latin typeface="Yu Gothic UI" panose="020B0500000000000000" pitchFamily="50" charset="-128"/>
                <a:ea typeface="Yu Gothic UI" panose="020B0500000000000000" pitchFamily="50" charset="-128"/>
              </a:rPr>
              <a:t>下記非機能要件項目（可用性、拡張性、セキュリティ、性能、運用監視）については、弊社宣伝部共通基盤で設計実装します。</a:t>
            </a:r>
            <a:br>
              <a:rPr lang="ja-JP" altLang="en-US" sz="1200" dirty="0">
                <a:latin typeface="Yu Gothic UI" panose="020B0500000000000000" pitchFamily="50" charset="-128"/>
                <a:ea typeface="Yu Gothic UI" panose="020B0500000000000000" pitchFamily="50" charset="-128"/>
              </a:rPr>
            </a:b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詳細は別紙「 </a:t>
            </a:r>
            <a:r>
              <a:rPr lang="en-US" altLang="ja-JP" sz="1200" dirty="0">
                <a:latin typeface="Yu Gothic UI" panose="020B0500000000000000" pitchFamily="50" charset="-128"/>
                <a:ea typeface="Yu Gothic UI" panose="020B0500000000000000" pitchFamily="50" charset="-128"/>
              </a:rPr>
              <a:t>50_(</a:t>
            </a:r>
            <a:r>
              <a:rPr lang="ja-JP" altLang="en-US" sz="1200" dirty="0">
                <a:latin typeface="Yu Gothic UI" panose="020B0500000000000000" pitchFamily="50" charset="-128"/>
                <a:ea typeface="Yu Gothic UI" panose="020B0500000000000000" pitchFamily="50" charset="-128"/>
              </a:rPr>
              <a:t>共通</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非機能要件定義書」を参照</a:t>
            </a:r>
            <a:r>
              <a:rPr lang="en-US" altLang="ja-JP" sz="1200" dirty="0">
                <a:latin typeface="Yu Gothic UI" panose="020B0500000000000000" pitchFamily="50" charset="-128"/>
                <a:ea typeface="Yu Gothic UI" panose="020B0500000000000000" pitchFamily="50" charset="-128"/>
              </a:rPr>
              <a:t>)</a:t>
            </a:r>
          </a:p>
          <a:p>
            <a:pPr>
              <a:lnSpc>
                <a:spcPct val="100000"/>
              </a:lnSpc>
              <a:spcBef>
                <a:spcPts val="600"/>
              </a:spcBef>
            </a:pPr>
            <a:r>
              <a:rPr lang="ja-JP" altLang="en-US" sz="1200" dirty="0">
                <a:latin typeface="Yu Gothic UI" panose="020B0500000000000000" pitchFamily="50" charset="-128"/>
                <a:ea typeface="Yu Gothic UI" panose="020B0500000000000000" pitchFamily="50" charset="-128"/>
              </a:rPr>
              <a:t>下記項目以外で非機能要件として必要な項目があればご提案ください。</a:t>
            </a:r>
            <a:endParaRPr lang="en-US" altLang="ja-JP" sz="1200" dirty="0">
              <a:latin typeface="Yu Gothic UI" panose="020B0500000000000000" pitchFamily="50" charset="-128"/>
              <a:ea typeface="Yu Gothic UI" panose="020B0500000000000000" pitchFamily="50" charset="-128"/>
            </a:endParaRPr>
          </a:p>
        </p:txBody>
      </p:sp>
      <p:sp>
        <p:nvSpPr>
          <p:cNvPr id="4" name="正方形/長方形 3">
            <a:extLst>
              <a:ext uri="{FF2B5EF4-FFF2-40B4-BE49-F238E27FC236}">
                <a16:creationId xmlns:a16="http://schemas.microsoft.com/office/drawing/2014/main" id="{F674A0CE-211C-DD8F-2444-4E08BD4F0042}"/>
              </a:ext>
            </a:extLst>
          </p:cNvPr>
          <p:cNvSpPr/>
          <p:nvPr/>
        </p:nvSpPr>
        <p:spPr>
          <a:xfrm>
            <a:off x="1908928" y="2052313"/>
            <a:ext cx="1885361" cy="918000"/>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latin typeface="Yu Gothic UI" panose="020B0500000000000000" pitchFamily="50" charset="-128"/>
                <a:ea typeface="Yu Gothic UI" panose="020B0500000000000000" pitchFamily="50" charset="-128"/>
              </a:rPr>
              <a:t>可用性</a:t>
            </a:r>
          </a:p>
        </p:txBody>
      </p:sp>
      <p:sp>
        <p:nvSpPr>
          <p:cNvPr id="5" name="正方形/長方形 4">
            <a:extLst>
              <a:ext uri="{FF2B5EF4-FFF2-40B4-BE49-F238E27FC236}">
                <a16:creationId xmlns:a16="http://schemas.microsoft.com/office/drawing/2014/main" id="{9A8E3C76-C46B-B17D-AA7A-5F6F813FE531}"/>
              </a:ext>
            </a:extLst>
          </p:cNvPr>
          <p:cNvSpPr/>
          <p:nvPr/>
        </p:nvSpPr>
        <p:spPr>
          <a:xfrm>
            <a:off x="1908928" y="3013211"/>
            <a:ext cx="1885361" cy="401079"/>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latin typeface="Yu Gothic UI" panose="020B0500000000000000" pitchFamily="50" charset="-128"/>
                <a:ea typeface="Yu Gothic UI" panose="020B0500000000000000" pitchFamily="50" charset="-128"/>
              </a:rPr>
              <a:t>拡張性</a:t>
            </a:r>
          </a:p>
        </p:txBody>
      </p:sp>
      <p:sp>
        <p:nvSpPr>
          <p:cNvPr id="6" name="正方形/長方形 5">
            <a:extLst>
              <a:ext uri="{FF2B5EF4-FFF2-40B4-BE49-F238E27FC236}">
                <a16:creationId xmlns:a16="http://schemas.microsoft.com/office/drawing/2014/main" id="{6EE38FD6-CBE5-F394-08E6-3546797C39BB}"/>
              </a:ext>
            </a:extLst>
          </p:cNvPr>
          <p:cNvSpPr/>
          <p:nvPr/>
        </p:nvSpPr>
        <p:spPr>
          <a:xfrm>
            <a:off x="1908928" y="3454638"/>
            <a:ext cx="1885361" cy="1224000"/>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latin typeface="Yu Gothic UI" panose="020B0500000000000000" pitchFamily="50" charset="-128"/>
                <a:ea typeface="Yu Gothic UI" panose="020B0500000000000000" pitchFamily="50" charset="-128"/>
              </a:rPr>
              <a:t>セキュリティ</a:t>
            </a:r>
          </a:p>
        </p:txBody>
      </p:sp>
      <p:sp>
        <p:nvSpPr>
          <p:cNvPr id="12" name="正方形/長方形 11">
            <a:extLst>
              <a:ext uri="{FF2B5EF4-FFF2-40B4-BE49-F238E27FC236}">
                <a16:creationId xmlns:a16="http://schemas.microsoft.com/office/drawing/2014/main" id="{E7BCE83A-4CEA-44B9-70A1-D23FC9E5E8CB}"/>
              </a:ext>
            </a:extLst>
          </p:cNvPr>
          <p:cNvSpPr/>
          <p:nvPr/>
        </p:nvSpPr>
        <p:spPr>
          <a:xfrm>
            <a:off x="1908928" y="4741816"/>
            <a:ext cx="1885361" cy="900000"/>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latin typeface="Yu Gothic UI" panose="020B0500000000000000" pitchFamily="50" charset="-128"/>
                <a:ea typeface="Yu Gothic UI" panose="020B0500000000000000" pitchFamily="50" charset="-128"/>
              </a:rPr>
              <a:t>性能</a:t>
            </a:r>
          </a:p>
        </p:txBody>
      </p:sp>
      <p:sp>
        <p:nvSpPr>
          <p:cNvPr id="13" name="正方形/長方形 12">
            <a:extLst>
              <a:ext uri="{FF2B5EF4-FFF2-40B4-BE49-F238E27FC236}">
                <a16:creationId xmlns:a16="http://schemas.microsoft.com/office/drawing/2014/main" id="{1E5F8562-2D69-8773-DBDB-ACF3B6597A1F}"/>
              </a:ext>
            </a:extLst>
          </p:cNvPr>
          <p:cNvSpPr/>
          <p:nvPr/>
        </p:nvSpPr>
        <p:spPr>
          <a:xfrm>
            <a:off x="1908928" y="5703004"/>
            <a:ext cx="1885361" cy="648000"/>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latin typeface="Yu Gothic UI" panose="020B0500000000000000" pitchFamily="50" charset="-128"/>
                <a:ea typeface="Yu Gothic UI" panose="020B0500000000000000" pitchFamily="50" charset="-128"/>
              </a:rPr>
              <a:t>運用監視</a:t>
            </a:r>
          </a:p>
        </p:txBody>
      </p:sp>
      <p:sp>
        <p:nvSpPr>
          <p:cNvPr id="14" name="正方形/長方形 13">
            <a:extLst>
              <a:ext uri="{FF2B5EF4-FFF2-40B4-BE49-F238E27FC236}">
                <a16:creationId xmlns:a16="http://schemas.microsoft.com/office/drawing/2014/main" id="{73882BE4-8802-6083-62D0-BC149A09E3D0}"/>
              </a:ext>
            </a:extLst>
          </p:cNvPr>
          <p:cNvSpPr/>
          <p:nvPr/>
        </p:nvSpPr>
        <p:spPr>
          <a:xfrm>
            <a:off x="1908928" y="1594851"/>
            <a:ext cx="1885361" cy="401079"/>
          </a:xfrm>
          <a:prstGeom prst="rect">
            <a:avLst/>
          </a:prstGeom>
          <a:solidFill>
            <a:schemeClr val="tx1">
              <a:lumMod val="75000"/>
              <a:lumOff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非機能要件項目</a:t>
            </a:r>
          </a:p>
        </p:txBody>
      </p:sp>
      <p:sp>
        <p:nvSpPr>
          <p:cNvPr id="15" name="正方形/長方形 14">
            <a:extLst>
              <a:ext uri="{FF2B5EF4-FFF2-40B4-BE49-F238E27FC236}">
                <a16:creationId xmlns:a16="http://schemas.microsoft.com/office/drawing/2014/main" id="{3E77AD5D-E120-B3F7-96E5-11EE7DD5C2CE}"/>
              </a:ext>
            </a:extLst>
          </p:cNvPr>
          <p:cNvSpPr/>
          <p:nvPr/>
        </p:nvSpPr>
        <p:spPr>
          <a:xfrm>
            <a:off x="3871270" y="1594850"/>
            <a:ext cx="6494889" cy="401079"/>
          </a:xfrm>
          <a:prstGeom prst="rect">
            <a:avLst/>
          </a:prstGeom>
          <a:solidFill>
            <a:schemeClr val="tx1">
              <a:lumMod val="75000"/>
              <a:lumOff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latin typeface="Yu Gothic UI" panose="020B0500000000000000" pitchFamily="50" charset="-128"/>
                <a:ea typeface="Yu Gothic UI" panose="020B0500000000000000" pitchFamily="50" charset="-128"/>
              </a:rPr>
              <a:t>宣伝部 共通基盤側で対応する要件項目（詳細）</a:t>
            </a:r>
          </a:p>
        </p:txBody>
      </p:sp>
      <p:sp>
        <p:nvSpPr>
          <p:cNvPr id="16" name="正方形/長方形 15">
            <a:extLst>
              <a:ext uri="{FF2B5EF4-FFF2-40B4-BE49-F238E27FC236}">
                <a16:creationId xmlns:a16="http://schemas.microsoft.com/office/drawing/2014/main" id="{9410ED88-0110-E0BA-FEFA-CD7C5C1F25D6}"/>
              </a:ext>
            </a:extLst>
          </p:cNvPr>
          <p:cNvSpPr/>
          <p:nvPr/>
        </p:nvSpPr>
        <p:spPr>
          <a:xfrm>
            <a:off x="3871270" y="2052313"/>
            <a:ext cx="6494888" cy="918000"/>
          </a:xfrm>
          <a:prstGeom prst="rect">
            <a:avLst/>
          </a:prstGeom>
          <a:solidFill>
            <a:schemeClr val="bg1"/>
          </a:solidFill>
          <a:ln w="1270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a:solidFill>
                  <a:schemeClr val="tx1"/>
                </a:solidFill>
                <a:latin typeface="Yu Gothic UI" panose="020B0500000000000000" pitchFamily="50" charset="-128"/>
                <a:ea typeface="Yu Gothic UI" panose="020B0500000000000000" pitchFamily="50" charset="-128"/>
              </a:rPr>
              <a:t>・サービス提供時間</a:t>
            </a:r>
          </a:p>
          <a:p>
            <a:r>
              <a:rPr kumimoji="1" lang="ja-JP" altLang="en-US" sz="1100" dirty="0">
                <a:solidFill>
                  <a:schemeClr val="tx1"/>
                </a:solidFill>
                <a:latin typeface="Yu Gothic UI" panose="020B0500000000000000" pitchFamily="50" charset="-128"/>
                <a:ea typeface="Yu Gothic UI" panose="020B0500000000000000" pitchFamily="50" charset="-128"/>
              </a:rPr>
              <a:t>・方式（シングル、コールドスタンバイ、クラスタリング）</a:t>
            </a:r>
          </a:p>
          <a:p>
            <a:r>
              <a:rPr kumimoji="1" lang="ja-JP" altLang="en-US" sz="1100" dirty="0">
                <a:solidFill>
                  <a:schemeClr val="tx1"/>
                </a:solidFill>
                <a:latin typeface="Yu Gothic UI" panose="020B0500000000000000" pitchFamily="50" charset="-128"/>
                <a:ea typeface="Yu Gothic UI" panose="020B0500000000000000" pitchFamily="50" charset="-128"/>
              </a:rPr>
              <a:t>・障害発生時のサービスへの影響</a:t>
            </a:r>
          </a:p>
          <a:p>
            <a:r>
              <a:rPr kumimoji="1" lang="ja-JP" altLang="en-US" sz="1100" dirty="0">
                <a:solidFill>
                  <a:schemeClr val="tx1"/>
                </a:solidFill>
                <a:latin typeface="Yu Gothic UI" panose="020B0500000000000000" pitchFamily="50" charset="-128"/>
                <a:ea typeface="Yu Gothic UI" panose="020B0500000000000000" pitchFamily="50" charset="-128"/>
              </a:rPr>
              <a:t>・</a:t>
            </a:r>
            <a:r>
              <a:rPr kumimoji="1" lang="en-US" altLang="ja-JP" sz="1100" dirty="0">
                <a:solidFill>
                  <a:schemeClr val="tx1"/>
                </a:solidFill>
                <a:latin typeface="Yu Gothic UI" panose="020B0500000000000000" pitchFamily="50" charset="-128"/>
                <a:ea typeface="Yu Gothic UI" panose="020B0500000000000000" pitchFamily="50" charset="-128"/>
              </a:rPr>
              <a:t>RTO</a:t>
            </a:r>
            <a:r>
              <a:rPr kumimoji="1" lang="ja-JP" altLang="en-US" sz="1100" dirty="0">
                <a:solidFill>
                  <a:schemeClr val="tx1"/>
                </a:solidFill>
                <a:latin typeface="Yu Gothic UI" panose="020B0500000000000000" pitchFamily="50" charset="-128"/>
                <a:ea typeface="Yu Gothic UI" panose="020B0500000000000000" pitchFamily="50" charset="-128"/>
              </a:rPr>
              <a:t>（目標復旧時間）と</a:t>
            </a:r>
            <a:r>
              <a:rPr kumimoji="1" lang="en-US" altLang="ja-JP" sz="1100" dirty="0">
                <a:solidFill>
                  <a:schemeClr val="tx1"/>
                </a:solidFill>
                <a:latin typeface="Yu Gothic UI" panose="020B0500000000000000" pitchFamily="50" charset="-128"/>
                <a:ea typeface="Yu Gothic UI" panose="020B0500000000000000" pitchFamily="50" charset="-128"/>
              </a:rPr>
              <a:t>RPO</a:t>
            </a:r>
            <a:r>
              <a:rPr kumimoji="1" lang="ja-JP" altLang="en-US" sz="1100" dirty="0">
                <a:solidFill>
                  <a:schemeClr val="tx1"/>
                </a:solidFill>
                <a:latin typeface="Yu Gothic UI" panose="020B0500000000000000" pitchFamily="50" charset="-128"/>
                <a:ea typeface="Yu Gothic UI" panose="020B0500000000000000" pitchFamily="50" charset="-128"/>
              </a:rPr>
              <a:t>（目標復旧時点）</a:t>
            </a:r>
          </a:p>
          <a:p>
            <a:r>
              <a:rPr kumimoji="1" lang="ja-JP" altLang="en-US" sz="1100" dirty="0">
                <a:solidFill>
                  <a:schemeClr val="tx1"/>
                </a:solidFill>
                <a:latin typeface="Yu Gothic UI" panose="020B0500000000000000" pitchFamily="50" charset="-128"/>
                <a:ea typeface="Yu Gothic UI" panose="020B0500000000000000" pitchFamily="50" charset="-128"/>
              </a:rPr>
              <a:t>・データセンター被災時の対応</a:t>
            </a:r>
          </a:p>
        </p:txBody>
      </p:sp>
      <p:sp>
        <p:nvSpPr>
          <p:cNvPr id="17" name="正方形/長方形 16">
            <a:extLst>
              <a:ext uri="{FF2B5EF4-FFF2-40B4-BE49-F238E27FC236}">
                <a16:creationId xmlns:a16="http://schemas.microsoft.com/office/drawing/2014/main" id="{E262C323-46CE-25AC-7FE0-803382A705A3}"/>
              </a:ext>
            </a:extLst>
          </p:cNvPr>
          <p:cNvSpPr/>
          <p:nvPr/>
        </p:nvSpPr>
        <p:spPr>
          <a:xfrm>
            <a:off x="3871269" y="3018770"/>
            <a:ext cx="6494888" cy="396000"/>
          </a:xfrm>
          <a:prstGeom prst="rect">
            <a:avLst/>
          </a:prstGeom>
          <a:solidFill>
            <a:schemeClr val="bg1"/>
          </a:solidFill>
          <a:ln w="1270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a:solidFill>
                  <a:schemeClr val="tx1"/>
                </a:solidFill>
                <a:latin typeface="Yu Gothic UI" panose="020B0500000000000000" pitchFamily="50" charset="-128"/>
                <a:ea typeface="Yu Gothic UI" panose="020B0500000000000000" pitchFamily="50" charset="-128"/>
              </a:rPr>
              <a:t>・リソース増強</a:t>
            </a:r>
          </a:p>
          <a:p>
            <a:r>
              <a:rPr kumimoji="1" lang="ja-JP" altLang="en-US" sz="1100" dirty="0">
                <a:solidFill>
                  <a:schemeClr val="tx1"/>
                </a:solidFill>
                <a:latin typeface="Yu Gothic UI" panose="020B0500000000000000" pitchFamily="50" charset="-128"/>
                <a:ea typeface="Yu Gothic UI" panose="020B0500000000000000" pitchFamily="50" charset="-128"/>
              </a:rPr>
              <a:t>・短期的なアクセス増大への対応</a:t>
            </a:r>
          </a:p>
        </p:txBody>
      </p:sp>
      <p:sp>
        <p:nvSpPr>
          <p:cNvPr id="18" name="正方形/長方形 17">
            <a:extLst>
              <a:ext uri="{FF2B5EF4-FFF2-40B4-BE49-F238E27FC236}">
                <a16:creationId xmlns:a16="http://schemas.microsoft.com/office/drawing/2014/main" id="{E5797608-DEBD-7789-7E73-E97331F086DA}"/>
              </a:ext>
            </a:extLst>
          </p:cNvPr>
          <p:cNvSpPr/>
          <p:nvPr/>
        </p:nvSpPr>
        <p:spPr>
          <a:xfrm>
            <a:off x="3871269" y="3454638"/>
            <a:ext cx="6494888" cy="1224000"/>
          </a:xfrm>
          <a:prstGeom prst="rect">
            <a:avLst/>
          </a:prstGeom>
          <a:solidFill>
            <a:schemeClr val="bg1"/>
          </a:solidFill>
          <a:ln w="1270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a:solidFill>
                  <a:schemeClr val="tx1"/>
                </a:solidFill>
                <a:latin typeface="Yu Gothic UI" panose="020B0500000000000000" pitchFamily="50" charset="-128"/>
                <a:ea typeface="Yu Gothic UI" panose="020B0500000000000000" pitchFamily="50" charset="-128"/>
              </a:rPr>
              <a:t>・アクセス制限</a:t>
            </a:r>
          </a:p>
          <a:p>
            <a:r>
              <a:rPr kumimoji="1" lang="ja-JP" altLang="en-US" sz="1100" dirty="0">
                <a:solidFill>
                  <a:schemeClr val="tx1"/>
                </a:solidFill>
                <a:latin typeface="Yu Gothic UI" panose="020B0500000000000000" pitchFamily="50" charset="-128"/>
                <a:ea typeface="Yu Gothic UI" panose="020B0500000000000000" pitchFamily="50" charset="-128"/>
              </a:rPr>
              <a:t>・データ暗号化</a:t>
            </a:r>
          </a:p>
          <a:p>
            <a:r>
              <a:rPr kumimoji="1" lang="ja-JP" altLang="en-US" sz="1100" dirty="0">
                <a:solidFill>
                  <a:schemeClr val="tx1"/>
                </a:solidFill>
                <a:latin typeface="Yu Gothic UI" panose="020B0500000000000000" pitchFamily="50" charset="-128"/>
                <a:ea typeface="Yu Gothic UI" panose="020B0500000000000000" pitchFamily="50" charset="-128"/>
              </a:rPr>
              <a:t>・個人情報</a:t>
            </a:r>
          </a:p>
          <a:p>
            <a:r>
              <a:rPr kumimoji="1" lang="ja-JP" altLang="en-US" sz="1100" dirty="0">
                <a:solidFill>
                  <a:schemeClr val="tx1"/>
                </a:solidFill>
                <a:latin typeface="Yu Gothic UI" panose="020B0500000000000000" pitchFamily="50" charset="-128"/>
                <a:ea typeface="Yu Gothic UI" panose="020B0500000000000000" pitchFamily="50" charset="-128"/>
              </a:rPr>
              <a:t>・不正監視</a:t>
            </a:r>
          </a:p>
          <a:p>
            <a:r>
              <a:rPr kumimoji="1" lang="ja-JP" altLang="en-US" sz="1100" dirty="0">
                <a:solidFill>
                  <a:schemeClr val="tx1"/>
                </a:solidFill>
                <a:latin typeface="Yu Gothic UI" panose="020B0500000000000000" pitchFamily="50" charset="-128"/>
                <a:ea typeface="Yu Gothic UI" panose="020B0500000000000000" pitchFamily="50" charset="-128"/>
              </a:rPr>
              <a:t>・ネットワーク制御</a:t>
            </a:r>
          </a:p>
          <a:p>
            <a:r>
              <a:rPr kumimoji="1" lang="ja-JP" altLang="en-US" sz="1100" dirty="0">
                <a:solidFill>
                  <a:schemeClr val="tx1"/>
                </a:solidFill>
                <a:latin typeface="Yu Gothic UI" panose="020B0500000000000000" pitchFamily="50" charset="-128"/>
                <a:ea typeface="Yu Gothic UI" panose="020B0500000000000000" pitchFamily="50" charset="-128"/>
              </a:rPr>
              <a:t>・サービス停止攻撃の回避</a:t>
            </a:r>
          </a:p>
          <a:p>
            <a:r>
              <a:rPr kumimoji="1" lang="ja-JP" altLang="en-US" sz="1100" dirty="0">
                <a:solidFill>
                  <a:schemeClr val="tx1"/>
                </a:solidFill>
                <a:latin typeface="Yu Gothic UI" panose="020B0500000000000000" pitchFamily="50" charset="-128"/>
                <a:ea typeface="Yu Gothic UI" panose="020B0500000000000000" pitchFamily="50" charset="-128"/>
              </a:rPr>
              <a:t>・不正プログラム対策</a:t>
            </a:r>
          </a:p>
        </p:txBody>
      </p:sp>
      <p:sp>
        <p:nvSpPr>
          <p:cNvPr id="19" name="正方形/長方形 18">
            <a:extLst>
              <a:ext uri="{FF2B5EF4-FFF2-40B4-BE49-F238E27FC236}">
                <a16:creationId xmlns:a16="http://schemas.microsoft.com/office/drawing/2014/main" id="{D5F41411-10B6-3F78-10AD-539EACD8E97D}"/>
              </a:ext>
            </a:extLst>
          </p:cNvPr>
          <p:cNvSpPr/>
          <p:nvPr/>
        </p:nvSpPr>
        <p:spPr>
          <a:xfrm>
            <a:off x="3871269" y="4741816"/>
            <a:ext cx="6494888" cy="900000"/>
          </a:xfrm>
          <a:prstGeom prst="rect">
            <a:avLst/>
          </a:prstGeom>
          <a:solidFill>
            <a:schemeClr val="bg1"/>
          </a:solidFill>
          <a:ln w="1270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a:solidFill>
                  <a:schemeClr val="tx1"/>
                </a:solidFill>
                <a:latin typeface="Yu Gothic UI" panose="020B0500000000000000" pitchFamily="50" charset="-128"/>
                <a:ea typeface="Yu Gothic UI" panose="020B0500000000000000" pitchFamily="50" charset="-128"/>
              </a:rPr>
              <a:t>・ピーク時の月間最大</a:t>
            </a:r>
            <a:r>
              <a:rPr kumimoji="1" lang="en-US" altLang="ja-JP" sz="1100" dirty="0">
                <a:solidFill>
                  <a:schemeClr val="tx1"/>
                </a:solidFill>
                <a:latin typeface="Yu Gothic UI" panose="020B0500000000000000" pitchFamily="50" charset="-128"/>
                <a:ea typeface="Yu Gothic UI" panose="020B0500000000000000" pitchFamily="50" charset="-128"/>
              </a:rPr>
              <a:t>PV</a:t>
            </a:r>
          </a:p>
          <a:p>
            <a:r>
              <a:rPr kumimoji="1" lang="ja-JP" altLang="en-US" sz="1100" dirty="0">
                <a:solidFill>
                  <a:schemeClr val="tx1"/>
                </a:solidFill>
                <a:latin typeface="Yu Gothic UI" panose="020B0500000000000000" pitchFamily="50" charset="-128"/>
                <a:ea typeface="Yu Gothic UI" panose="020B0500000000000000" pitchFamily="50" charset="-128"/>
              </a:rPr>
              <a:t>・サイトコンテンツとアセットの総量</a:t>
            </a:r>
          </a:p>
          <a:p>
            <a:r>
              <a:rPr kumimoji="1" lang="ja-JP" altLang="en-US" sz="1100" dirty="0">
                <a:solidFill>
                  <a:schemeClr val="tx1"/>
                </a:solidFill>
                <a:latin typeface="Yu Gothic UI" panose="020B0500000000000000" pitchFamily="50" charset="-128"/>
                <a:ea typeface="Yu Gothic UI" panose="020B0500000000000000" pitchFamily="50" charset="-128"/>
              </a:rPr>
              <a:t>・画面応答時間</a:t>
            </a:r>
          </a:p>
          <a:p>
            <a:r>
              <a:rPr kumimoji="1" lang="ja-JP" altLang="en-US" sz="1100" dirty="0">
                <a:solidFill>
                  <a:schemeClr val="tx1"/>
                </a:solidFill>
                <a:latin typeface="Yu Gothic UI" panose="020B0500000000000000" pitchFamily="50" charset="-128"/>
                <a:ea typeface="Yu Gothic UI" panose="020B0500000000000000" pitchFamily="50" charset="-128"/>
              </a:rPr>
              <a:t>・最大同時アクセス数</a:t>
            </a:r>
          </a:p>
          <a:p>
            <a:r>
              <a:rPr kumimoji="1" lang="ja-JP" altLang="en-US" sz="1100" dirty="0">
                <a:solidFill>
                  <a:schemeClr val="tx1"/>
                </a:solidFill>
                <a:latin typeface="Yu Gothic UI" panose="020B0500000000000000" pitchFamily="50" charset="-128"/>
                <a:ea typeface="Yu Gothic UI" panose="020B0500000000000000" pitchFamily="50" charset="-128"/>
              </a:rPr>
              <a:t>・サーバーサイジング方針</a:t>
            </a:r>
          </a:p>
        </p:txBody>
      </p:sp>
      <p:sp>
        <p:nvSpPr>
          <p:cNvPr id="20" name="正方形/長方形 19">
            <a:extLst>
              <a:ext uri="{FF2B5EF4-FFF2-40B4-BE49-F238E27FC236}">
                <a16:creationId xmlns:a16="http://schemas.microsoft.com/office/drawing/2014/main" id="{F48CB178-BC88-F6F8-4C64-077C9189DBCD}"/>
              </a:ext>
            </a:extLst>
          </p:cNvPr>
          <p:cNvSpPr/>
          <p:nvPr/>
        </p:nvSpPr>
        <p:spPr>
          <a:xfrm>
            <a:off x="3871269" y="5708502"/>
            <a:ext cx="6494888" cy="648000"/>
          </a:xfrm>
          <a:prstGeom prst="rect">
            <a:avLst/>
          </a:prstGeom>
          <a:solidFill>
            <a:schemeClr val="bg1"/>
          </a:solidFill>
          <a:ln w="1270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a:solidFill>
                  <a:schemeClr val="tx1"/>
                </a:solidFill>
                <a:latin typeface="Yu Gothic UI" panose="020B0500000000000000" pitchFamily="50" charset="-128"/>
                <a:ea typeface="Yu Gothic UI" panose="020B0500000000000000" pitchFamily="50" charset="-128"/>
              </a:rPr>
              <a:t>・監視項目</a:t>
            </a:r>
          </a:p>
          <a:p>
            <a:r>
              <a:rPr kumimoji="1" lang="ja-JP" altLang="en-US" sz="1100" dirty="0">
                <a:solidFill>
                  <a:schemeClr val="tx1"/>
                </a:solidFill>
                <a:latin typeface="Yu Gothic UI" panose="020B0500000000000000" pitchFamily="50" charset="-128"/>
                <a:ea typeface="Yu Gothic UI" panose="020B0500000000000000" pitchFamily="50" charset="-128"/>
              </a:rPr>
              <a:t>・ログ管理</a:t>
            </a:r>
          </a:p>
          <a:p>
            <a:r>
              <a:rPr kumimoji="1" lang="ja-JP" altLang="en-US" sz="1100" dirty="0">
                <a:solidFill>
                  <a:schemeClr val="tx1"/>
                </a:solidFill>
                <a:latin typeface="Yu Gothic UI" panose="020B0500000000000000" pitchFamily="50" charset="-128"/>
                <a:ea typeface="Yu Gothic UI" panose="020B0500000000000000" pitchFamily="50" charset="-128"/>
              </a:rPr>
              <a:t>・バックアップ</a:t>
            </a:r>
          </a:p>
        </p:txBody>
      </p:sp>
    </p:spTree>
    <p:extLst>
      <p:ext uri="{BB962C8B-B14F-4D97-AF65-F5344CB8AC3E}">
        <p14:creationId xmlns:p14="http://schemas.microsoft.com/office/powerpoint/2010/main" val="3817715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F2C39E-82E4-58C4-5A76-55E6EF83DE65}"/>
              </a:ext>
            </a:extLst>
          </p:cNvPr>
          <p:cNvSpPr>
            <a:spLocks noGrp="1"/>
          </p:cNvSpPr>
          <p:nvPr>
            <p:ph type="sldNum" sz="quarter" idx="18"/>
          </p:nvPr>
        </p:nvSpPr>
        <p:spPr/>
        <p:txBody>
          <a:bodyPr/>
          <a:lstStyle/>
          <a:p>
            <a:fld id="{8E309D18-5CEC-4165-B971-DC4DA761F26D}" type="slidenum">
              <a:rPr lang="ja-JP" altLang="en-US" smtClean="0"/>
              <a:pPr/>
              <a:t>13</a:t>
            </a:fld>
            <a:endParaRPr lang="ja-JP" altLang="en-US" dirty="0"/>
          </a:p>
        </p:txBody>
      </p:sp>
      <p:sp>
        <p:nvSpPr>
          <p:cNvPr id="11" name="タイトル 3">
            <a:extLst>
              <a:ext uri="{FF2B5EF4-FFF2-40B4-BE49-F238E27FC236}">
                <a16:creationId xmlns:a16="http://schemas.microsoft.com/office/drawing/2014/main" id="{7917487D-4289-CD26-64FE-2F80C0453E03}"/>
              </a:ext>
            </a:extLst>
          </p:cNvPr>
          <p:cNvSpPr txBox="1">
            <a:spLocks/>
          </p:cNvSpPr>
          <p:nvPr/>
        </p:nvSpPr>
        <p:spPr>
          <a:xfrm>
            <a:off x="1179095" y="12029"/>
            <a:ext cx="9241699" cy="684000"/>
          </a:xfrm>
          <a:prstGeom prst="rect">
            <a:avLst/>
          </a:prstGeom>
        </p:spPr>
        <p:txBody>
          <a:bodyPr vert="horz" lIns="284400" tIns="72000" rIns="284400" bIns="72000" rtlCol="0" anchor="ctr">
            <a:noAutofit/>
          </a:bodyPr>
          <a:lstStyle>
            <a:lvl1pPr algn="l" defTabSz="914400" rtl="0" eaLnBrk="1" latinLnBrk="0" hangingPunct="1">
              <a:lnSpc>
                <a:spcPct val="100000"/>
              </a:lnSpc>
              <a:spcBef>
                <a:spcPct val="0"/>
              </a:spcBef>
              <a:buNone/>
              <a:defRPr kumimoji="1" lang="en-US" altLang="en-US" sz="2000" b="1" kern="1200" spc="300">
                <a:solidFill>
                  <a:schemeClr val="tx1">
                    <a:lumMod val="75000"/>
                    <a:lumOff val="25000"/>
                  </a:schemeClr>
                </a:solidFill>
                <a:latin typeface="Yu Gothic UI" panose="020B0500000000000000" pitchFamily="50" charset="-128"/>
                <a:ea typeface="Yu Gothic UI" panose="020B0500000000000000" pitchFamily="50" charset="-128"/>
                <a:cs typeface="+mj-cs"/>
              </a:defRPr>
            </a:lvl1pPr>
          </a:lstStyle>
          <a:p>
            <a:pPr algn="ctr"/>
            <a:r>
              <a:rPr lang="en-US" altLang="ja-JP" sz="2000" dirty="0">
                <a:latin typeface="+mn-ea"/>
                <a:ea typeface="+mn-ea"/>
              </a:rPr>
              <a:t>2-2.</a:t>
            </a:r>
            <a:r>
              <a:rPr lang="ja-JP" altLang="en-US" sz="2000" dirty="0">
                <a:latin typeface="+mn-ea"/>
                <a:ea typeface="+mn-ea"/>
              </a:rPr>
              <a:t>プロジェクトスコープ</a:t>
            </a:r>
            <a:r>
              <a:rPr lang="en-US" altLang="ja-JP" sz="2000" dirty="0">
                <a:solidFill>
                  <a:srgbClr val="000000"/>
                </a:solidFill>
                <a:latin typeface="+mn-ea"/>
                <a:ea typeface="+mn-ea"/>
              </a:rPr>
              <a:t>&gt;</a:t>
            </a:r>
            <a:br>
              <a:rPr lang="ja-JP" altLang="en-US" sz="2000" dirty="0">
                <a:latin typeface="+mn-ea"/>
                <a:ea typeface="+mn-ea"/>
              </a:rPr>
            </a:br>
            <a:r>
              <a:rPr lang="ja-JP" altLang="en-US" sz="2000" dirty="0">
                <a:latin typeface="+mn-ea"/>
                <a:ea typeface="+mn-ea"/>
              </a:rPr>
              <a:t> システムスコープ</a:t>
            </a:r>
            <a:r>
              <a:rPr lang="en-US" altLang="ja-JP" sz="2000" dirty="0">
                <a:latin typeface="+mn-ea"/>
                <a:ea typeface="+mn-ea"/>
              </a:rPr>
              <a:t>(</a:t>
            </a:r>
            <a:r>
              <a:rPr lang="ja-JP" altLang="en-US" dirty="0">
                <a:latin typeface="+mn-ea"/>
                <a:ea typeface="+mn-ea"/>
              </a:rPr>
              <a:t>想定規模</a:t>
            </a:r>
            <a:r>
              <a:rPr lang="en-US" altLang="ja-JP" dirty="0">
                <a:latin typeface="+mn-ea"/>
                <a:ea typeface="+mn-ea"/>
              </a:rPr>
              <a:t>)</a:t>
            </a:r>
            <a:endParaRPr lang="ja-JP" altLang="en-US" dirty="0">
              <a:latin typeface="+mn-ea"/>
              <a:ea typeface="+mn-ea"/>
            </a:endParaRPr>
          </a:p>
        </p:txBody>
      </p:sp>
      <p:sp>
        <p:nvSpPr>
          <p:cNvPr id="2" name="Text Placeholder 2">
            <a:extLst>
              <a:ext uri="{FF2B5EF4-FFF2-40B4-BE49-F238E27FC236}">
                <a16:creationId xmlns:a16="http://schemas.microsoft.com/office/drawing/2014/main" id="{D0ECB01D-D01D-3491-A308-05AEE9EF0C49}"/>
              </a:ext>
            </a:extLst>
          </p:cNvPr>
          <p:cNvSpPr txBox="1">
            <a:spLocks/>
          </p:cNvSpPr>
          <p:nvPr/>
        </p:nvSpPr>
        <p:spPr>
          <a:xfrm>
            <a:off x="839971" y="830747"/>
            <a:ext cx="10421587" cy="631498"/>
          </a:xfrm>
          <a:prstGeom prst="rect">
            <a:avLst/>
          </a:prstGeom>
        </p:spPr>
        <p:txBody>
          <a:bodyPr>
            <a:normAutofit/>
          </a:bodyPr>
          <a:lstStyle>
            <a:lvl1pPr marL="228600" indent="-228600" algn="l" defTabSz="914400" rtl="0" eaLnBrk="1" latinLnBrk="0" hangingPunct="1">
              <a:lnSpc>
                <a:spcPct val="130000"/>
              </a:lnSpc>
              <a:spcBef>
                <a:spcPts val="1000"/>
              </a:spcBef>
              <a:buFont typeface="Arial" panose="020B0604020202020204" pitchFamily="34" charset="0"/>
              <a:buChar char="•"/>
              <a:defRPr kumimoji="1" lang="ja-JP" altLang="en-US" sz="1600" kern="1200" dirty="0">
                <a:solidFill>
                  <a:schemeClr val="tx1"/>
                </a:solidFill>
                <a:latin typeface="Meiryo UI" panose="020B0604030504040204" pitchFamily="34" charset="-128"/>
                <a:ea typeface="Meiryo UI" panose="020B0604030504040204" pitchFamily="34" charset="-128"/>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kumimoji="1" lang="ja-JP" altLang="en-US" sz="1400" kern="1200" dirty="0">
                <a:solidFill>
                  <a:schemeClr val="tx1"/>
                </a:solidFill>
                <a:latin typeface="Meiryo UI" panose="020B0604030504040204" pitchFamily="34" charset="-128"/>
                <a:ea typeface="Meiryo UI" panose="020B0604030504040204" pitchFamily="34" charset="-128"/>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kumimoji="1" lang="ja-JP" altLang="en-US" sz="1200" kern="1200" dirty="0">
                <a:solidFill>
                  <a:schemeClr val="tx1"/>
                </a:solidFill>
                <a:latin typeface="Meiryo UI" panose="020B0604030504040204" pitchFamily="34" charset="-128"/>
                <a:ea typeface="Meiryo UI" panose="020B0604030504040204" pitchFamily="34" charset="-128"/>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kumimoji="1" lang="ja-JP" altLang="en-US" sz="1100" kern="1200" dirty="0">
                <a:solidFill>
                  <a:schemeClr val="tx1"/>
                </a:solidFill>
                <a:latin typeface="Meiryo UI" panose="020B0604030504040204" pitchFamily="34" charset="-128"/>
                <a:ea typeface="Meiryo UI" panose="020B0604030504040204" pitchFamily="34"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1400" dirty="0">
                <a:solidFill>
                  <a:srgbClr val="000000"/>
                </a:solidFill>
                <a:latin typeface="+mn-ea"/>
                <a:ea typeface="+mn-ea"/>
              </a:rPr>
              <a:t>現行ベンダの実績から想定される対応規模感</a:t>
            </a:r>
          </a:p>
        </p:txBody>
      </p:sp>
      <p:sp>
        <p:nvSpPr>
          <p:cNvPr id="5" name="テキスト ボックス 4">
            <a:extLst>
              <a:ext uri="{FF2B5EF4-FFF2-40B4-BE49-F238E27FC236}">
                <a16:creationId xmlns:a16="http://schemas.microsoft.com/office/drawing/2014/main" id="{6894179F-468B-AFF0-874F-6D2AF8FF0B61}"/>
              </a:ext>
            </a:extLst>
          </p:cNvPr>
          <p:cNvSpPr txBox="1"/>
          <p:nvPr/>
        </p:nvSpPr>
        <p:spPr>
          <a:xfrm>
            <a:off x="1081720" y="1245983"/>
            <a:ext cx="10543092" cy="1569660"/>
          </a:xfrm>
          <a:prstGeom prst="rect">
            <a:avLst/>
          </a:prstGeom>
          <a:noFill/>
        </p:spPr>
        <p:txBody>
          <a:bodyPr wrap="square">
            <a:spAutoFit/>
          </a:bodyPr>
          <a:lstStyle/>
          <a:p>
            <a:pPr marL="285750" indent="-285750">
              <a:buFont typeface="Wingdings" panose="05000000000000000000" pitchFamily="2" charset="2"/>
              <a:buChar char="n"/>
            </a:pPr>
            <a:r>
              <a:rPr lang="ja-JP" altLang="en-US" sz="1200" dirty="0">
                <a:solidFill>
                  <a:srgbClr val="000000"/>
                </a:solidFill>
                <a:latin typeface="+mn-ea"/>
              </a:rPr>
              <a:t>発生件数（問合せ・作業依頼）：</a:t>
            </a:r>
            <a:r>
              <a:rPr lang="en-US" altLang="ja-JP" sz="1200" dirty="0">
                <a:solidFill>
                  <a:srgbClr val="000000"/>
                </a:solidFill>
                <a:latin typeface="+mn-ea"/>
              </a:rPr>
              <a:t>25</a:t>
            </a:r>
            <a:r>
              <a:rPr lang="ja-JP" altLang="en-US" sz="1200" dirty="0">
                <a:solidFill>
                  <a:srgbClr val="000000"/>
                </a:solidFill>
                <a:latin typeface="+mn-ea"/>
              </a:rPr>
              <a:t>件</a:t>
            </a:r>
            <a:r>
              <a:rPr lang="en-US" altLang="ja-JP" sz="1200" dirty="0">
                <a:solidFill>
                  <a:srgbClr val="000000"/>
                </a:solidFill>
                <a:latin typeface="+mn-ea"/>
              </a:rPr>
              <a:t>/</a:t>
            </a:r>
            <a:r>
              <a:rPr lang="ja-JP" altLang="en-US" sz="1200" dirty="0">
                <a:solidFill>
                  <a:srgbClr val="000000"/>
                </a:solidFill>
                <a:latin typeface="+mn-ea"/>
              </a:rPr>
              <a:t>月</a:t>
            </a:r>
            <a:endParaRPr lang="en-US" altLang="ja-JP" sz="1200" dirty="0">
              <a:solidFill>
                <a:srgbClr val="000000"/>
              </a:solidFill>
              <a:latin typeface="+mn-ea"/>
            </a:endParaRPr>
          </a:p>
          <a:p>
            <a:pPr marL="285750" indent="-285750">
              <a:buFont typeface="Wingdings" panose="05000000000000000000" pitchFamily="2" charset="2"/>
              <a:buChar char="n"/>
            </a:pPr>
            <a:endParaRPr lang="en-US" altLang="ja-JP" sz="1200" dirty="0">
              <a:solidFill>
                <a:srgbClr val="000000"/>
              </a:solidFill>
              <a:latin typeface="+mn-ea"/>
            </a:endParaRPr>
          </a:p>
          <a:p>
            <a:pPr marL="285750" indent="-285750">
              <a:buFont typeface="Wingdings" panose="05000000000000000000" pitchFamily="2" charset="2"/>
              <a:buChar char="n"/>
            </a:pPr>
            <a:r>
              <a:rPr lang="ja-JP" altLang="en-US" sz="1200" dirty="0">
                <a:solidFill>
                  <a:srgbClr val="000000"/>
                </a:solidFill>
                <a:latin typeface="+mn-ea"/>
              </a:rPr>
              <a:t>対応件数　：</a:t>
            </a:r>
            <a:r>
              <a:rPr lang="en-US" altLang="ja-JP" sz="1200" dirty="0">
                <a:solidFill>
                  <a:srgbClr val="000000"/>
                </a:solidFill>
                <a:latin typeface="+mn-ea"/>
              </a:rPr>
              <a:t>49</a:t>
            </a:r>
            <a:r>
              <a:rPr lang="ja-JP" altLang="en-US" sz="1200" dirty="0">
                <a:solidFill>
                  <a:srgbClr val="000000"/>
                </a:solidFill>
                <a:latin typeface="+mn-ea"/>
              </a:rPr>
              <a:t>件</a:t>
            </a:r>
            <a:r>
              <a:rPr lang="en-US" altLang="ja-JP" sz="1200" dirty="0">
                <a:solidFill>
                  <a:srgbClr val="000000"/>
                </a:solidFill>
                <a:latin typeface="+mn-ea"/>
              </a:rPr>
              <a:t>/</a:t>
            </a:r>
            <a:r>
              <a:rPr lang="ja-JP" altLang="en-US" sz="1200" dirty="0">
                <a:solidFill>
                  <a:srgbClr val="000000"/>
                </a:solidFill>
                <a:latin typeface="+mn-ea"/>
              </a:rPr>
              <a:t>月</a:t>
            </a:r>
          </a:p>
          <a:p>
            <a:pPr marL="285750" indent="-285750">
              <a:buFont typeface="Wingdings" panose="05000000000000000000" pitchFamily="2" charset="2"/>
              <a:buChar char="n"/>
            </a:pPr>
            <a:endParaRPr lang="ja-JP" altLang="en-US" sz="1200" dirty="0">
              <a:solidFill>
                <a:srgbClr val="000000"/>
              </a:solidFill>
              <a:latin typeface="+mn-ea"/>
            </a:endParaRPr>
          </a:p>
          <a:p>
            <a:pPr marL="285750" indent="-285750">
              <a:buFont typeface="Wingdings" panose="05000000000000000000" pitchFamily="2" charset="2"/>
              <a:buChar char="n"/>
            </a:pPr>
            <a:r>
              <a:rPr lang="ja-JP" altLang="en-US" sz="1200" dirty="0">
                <a:solidFill>
                  <a:srgbClr val="000000"/>
                </a:solidFill>
                <a:latin typeface="+mn-ea"/>
              </a:rPr>
              <a:t>作業工数：</a:t>
            </a:r>
            <a:r>
              <a:rPr lang="en-US" altLang="ja-JP" sz="1200" dirty="0">
                <a:solidFill>
                  <a:srgbClr val="000000"/>
                </a:solidFill>
                <a:latin typeface="+mn-ea"/>
              </a:rPr>
              <a:t>1030</a:t>
            </a:r>
            <a:r>
              <a:rPr lang="ja-JP" altLang="en-US" sz="1200" dirty="0">
                <a:solidFill>
                  <a:srgbClr val="000000"/>
                </a:solidFill>
                <a:latin typeface="+mn-ea"/>
              </a:rPr>
              <a:t> </a:t>
            </a:r>
            <a:r>
              <a:rPr lang="en-US" altLang="ja-JP" sz="1200" dirty="0">
                <a:solidFill>
                  <a:srgbClr val="000000"/>
                </a:solidFill>
                <a:latin typeface="+mn-ea"/>
              </a:rPr>
              <a:t>h</a:t>
            </a:r>
            <a:r>
              <a:rPr lang="ja-JP" altLang="en-US" sz="1200" dirty="0">
                <a:solidFill>
                  <a:srgbClr val="000000"/>
                </a:solidFill>
                <a:latin typeface="+mn-ea"/>
              </a:rPr>
              <a:t> </a:t>
            </a:r>
            <a:r>
              <a:rPr lang="en-US" altLang="ja-JP" sz="1200" dirty="0">
                <a:solidFill>
                  <a:srgbClr val="000000"/>
                </a:solidFill>
                <a:latin typeface="+mn-ea"/>
              </a:rPr>
              <a:t>/</a:t>
            </a:r>
            <a:r>
              <a:rPr lang="ja-JP" altLang="en-US" sz="1200" dirty="0">
                <a:solidFill>
                  <a:srgbClr val="000000"/>
                </a:solidFill>
                <a:latin typeface="+mn-ea"/>
              </a:rPr>
              <a:t>月</a:t>
            </a:r>
            <a:endParaRPr lang="en-US" altLang="ja-JP" sz="1200" dirty="0">
              <a:solidFill>
                <a:srgbClr val="000000"/>
              </a:solidFill>
              <a:latin typeface="+mn-ea"/>
            </a:endParaRPr>
          </a:p>
          <a:p>
            <a:pPr marL="285750" indent="-285750">
              <a:buFont typeface="Wingdings" panose="05000000000000000000" pitchFamily="2" charset="2"/>
              <a:buChar char="n"/>
            </a:pPr>
            <a:endParaRPr lang="en-US" altLang="ja-JP" sz="1200" dirty="0">
              <a:solidFill>
                <a:srgbClr val="000000"/>
              </a:solidFill>
              <a:latin typeface="+mn-ea"/>
            </a:endParaRPr>
          </a:p>
          <a:p>
            <a:pPr marL="285750" indent="-285750">
              <a:buFont typeface="Wingdings" panose="05000000000000000000" pitchFamily="2" charset="2"/>
              <a:buChar char="n"/>
            </a:pPr>
            <a:r>
              <a:rPr lang="ja-JP" altLang="en-US" sz="1200" dirty="0">
                <a:solidFill>
                  <a:srgbClr val="000000"/>
                </a:solidFill>
                <a:latin typeface="+mn-ea"/>
              </a:rPr>
              <a:t>問合せ例：ダウンロード画面の外形図・</a:t>
            </a:r>
            <a:r>
              <a:rPr lang="en-US" altLang="ja-JP" sz="1200" dirty="0">
                <a:solidFill>
                  <a:srgbClr val="000000"/>
                </a:solidFill>
                <a:latin typeface="+mn-ea"/>
              </a:rPr>
              <a:t>CAD</a:t>
            </a:r>
            <a:r>
              <a:rPr lang="ja-JP" altLang="en-US" sz="1200" dirty="0">
                <a:solidFill>
                  <a:srgbClr val="000000"/>
                </a:solidFill>
                <a:latin typeface="+mn-ea"/>
              </a:rPr>
              <a:t>で、ダウンロードできないファイルがある</a:t>
            </a:r>
            <a:r>
              <a:rPr lang="en-US" altLang="ja-JP" sz="1200" dirty="0">
                <a:solidFill>
                  <a:srgbClr val="000000"/>
                </a:solidFill>
                <a:latin typeface="+mn-ea"/>
              </a:rPr>
              <a:t>(</a:t>
            </a:r>
            <a:r>
              <a:rPr lang="ja-JP" altLang="en-US" sz="1200" dirty="0">
                <a:solidFill>
                  <a:srgbClr val="000000"/>
                </a:solidFill>
                <a:latin typeface="+mn-ea"/>
              </a:rPr>
              <a:t>「お探しのページが見つかりません。」となる</a:t>
            </a:r>
            <a:r>
              <a:rPr lang="en-US" altLang="ja-JP" sz="1200" dirty="0">
                <a:solidFill>
                  <a:srgbClr val="000000"/>
                </a:solidFill>
                <a:latin typeface="+mn-ea"/>
              </a:rPr>
              <a:t>)</a:t>
            </a:r>
            <a:r>
              <a:rPr lang="ja-JP" altLang="en-US" sz="1200" dirty="0">
                <a:solidFill>
                  <a:srgbClr val="000000"/>
                </a:solidFill>
                <a:latin typeface="+mn-ea"/>
              </a:rPr>
              <a:t>、など</a:t>
            </a:r>
          </a:p>
          <a:p>
            <a:pPr marL="285750" indent="-285750">
              <a:buFont typeface="Wingdings" panose="05000000000000000000" pitchFamily="2" charset="2"/>
              <a:buChar char="n"/>
            </a:pPr>
            <a:endParaRPr lang="ja-JP" altLang="en-US" sz="1200" dirty="0">
              <a:solidFill>
                <a:srgbClr val="000000"/>
              </a:solidFill>
              <a:latin typeface="+mn-ea"/>
            </a:endParaRPr>
          </a:p>
        </p:txBody>
      </p:sp>
    </p:spTree>
    <p:extLst>
      <p:ext uri="{BB962C8B-B14F-4D97-AF65-F5344CB8AC3E}">
        <p14:creationId xmlns:p14="http://schemas.microsoft.com/office/powerpoint/2010/main" val="3250240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F95993E6-A597-643F-29E8-A7CC7E6C5124}"/>
              </a:ext>
            </a:extLst>
          </p:cNvPr>
          <p:cNvSpPr>
            <a:spLocks noGrp="1"/>
          </p:cNvSpPr>
          <p:nvPr>
            <p:ph type="sldNum" sz="quarter" idx="11"/>
          </p:nvPr>
        </p:nvSpPr>
        <p:spPr/>
        <p:txBody>
          <a:bodyPr/>
          <a:lstStyle/>
          <a:p>
            <a:fld id="{AA5FCFE5-FE56-4EF1-80A8-07776887C2A1}" type="slidenum">
              <a:rPr lang="ja-JP" altLang="en-US" smtClean="0">
                <a:solidFill>
                  <a:prstClr val="black"/>
                </a:solidFill>
              </a:rPr>
              <a:pPr/>
              <a:t>14</a:t>
            </a:fld>
            <a:endParaRPr lang="ja-JP" altLang="en-US">
              <a:solidFill>
                <a:prstClr val="black"/>
              </a:solidFill>
            </a:endParaRPr>
          </a:p>
        </p:txBody>
      </p:sp>
      <p:graphicFrame>
        <p:nvGraphicFramePr>
          <p:cNvPr id="6" name="Table 26">
            <a:extLst>
              <a:ext uri="{FF2B5EF4-FFF2-40B4-BE49-F238E27FC236}">
                <a16:creationId xmlns:a16="http://schemas.microsoft.com/office/drawing/2014/main" id="{04EFA283-3B16-F4E2-10A8-EB31584484A7}"/>
              </a:ext>
            </a:extLst>
          </p:cNvPr>
          <p:cNvGraphicFramePr>
            <a:graphicFrameLocks noGrp="1"/>
          </p:cNvGraphicFramePr>
          <p:nvPr>
            <p:extLst>
              <p:ext uri="{D42A27DB-BD31-4B8C-83A1-F6EECF244321}">
                <p14:modId xmlns:p14="http://schemas.microsoft.com/office/powerpoint/2010/main" val="4248963330"/>
              </p:ext>
            </p:extLst>
          </p:nvPr>
        </p:nvGraphicFramePr>
        <p:xfrm>
          <a:off x="935895" y="1185680"/>
          <a:ext cx="10309259" cy="3065491"/>
        </p:xfrm>
        <a:graphic>
          <a:graphicData uri="http://schemas.openxmlformats.org/drawingml/2006/table">
            <a:tbl>
              <a:tblPr firstRow="1" bandRow="1">
                <a:tableStyleId>{5C22544A-7EE6-4342-B048-85BDC9FD1C3A}</a:tableStyleId>
              </a:tblPr>
              <a:tblGrid>
                <a:gridCol w="886506">
                  <a:extLst>
                    <a:ext uri="{9D8B030D-6E8A-4147-A177-3AD203B41FA5}">
                      <a16:colId xmlns:a16="http://schemas.microsoft.com/office/drawing/2014/main" val="1070150912"/>
                    </a:ext>
                  </a:extLst>
                </a:gridCol>
                <a:gridCol w="978748">
                  <a:extLst>
                    <a:ext uri="{9D8B030D-6E8A-4147-A177-3AD203B41FA5}">
                      <a16:colId xmlns:a16="http://schemas.microsoft.com/office/drawing/2014/main" val="114013100"/>
                    </a:ext>
                  </a:extLst>
                </a:gridCol>
                <a:gridCol w="978748">
                  <a:extLst>
                    <a:ext uri="{9D8B030D-6E8A-4147-A177-3AD203B41FA5}">
                      <a16:colId xmlns:a16="http://schemas.microsoft.com/office/drawing/2014/main" val="2393358133"/>
                    </a:ext>
                  </a:extLst>
                </a:gridCol>
                <a:gridCol w="978748">
                  <a:extLst>
                    <a:ext uri="{9D8B030D-6E8A-4147-A177-3AD203B41FA5}">
                      <a16:colId xmlns:a16="http://schemas.microsoft.com/office/drawing/2014/main" val="1054238221"/>
                    </a:ext>
                  </a:extLst>
                </a:gridCol>
                <a:gridCol w="978748">
                  <a:extLst>
                    <a:ext uri="{9D8B030D-6E8A-4147-A177-3AD203B41FA5}">
                      <a16:colId xmlns:a16="http://schemas.microsoft.com/office/drawing/2014/main" val="4060150137"/>
                    </a:ext>
                  </a:extLst>
                </a:gridCol>
                <a:gridCol w="978748">
                  <a:extLst>
                    <a:ext uri="{9D8B030D-6E8A-4147-A177-3AD203B41FA5}">
                      <a16:colId xmlns:a16="http://schemas.microsoft.com/office/drawing/2014/main" val="3000285104"/>
                    </a:ext>
                  </a:extLst>
                </a:gridCol>
                <a:gridCol w="978748">
                  <a:extLst>
                    <a:ext uri="{9D8B030D-6E8A-4147-A177-3AD203B41FA5}">
                      <a16:colId xmlns:a16="http://schemas.microsoft.com/office/drawing/2014/main" val="2575144572"/>
                    </a:ext>
                  </a:extLst>
                </a:gridCol>
                <a:gridCol w="978748">
                  <a:extLst>
                    <a:ext uri="{9D8B030D-6E8A-4147-A177-3AD203B41FA5}">
                      <a16:colId xmlns:a16="http://schemas.microsoft.com/office/drawing/2014/main" val="1845419619"/>
                    </a:ext>
                  </a:extLst>
                </a:gridCol>
                <a:gridCol w="978748">
                  <a:extLst>
                    <a:ext uri="{9D8B030D-6E8A-4147-A177-3AD203B41FA5}">
                      <a16:colId xmlns:a16="http://schemas.microsoft.com/office/drawing/2014/main" val="303546986"/>
                    </a:ext>
                  </a:extLst>
                </a:gridCol>
                <a:gridCol w="180531">
                  <a:extLst>
                    <a:ext uri="{9D8B030D-6E8A-4147-A177-3AD203B41FA5}">
                      <a16:colId xmlns:a16="http://schemas.microsoft.com/office/drawing/2014/main" val="2273193415"/>
                    </a:ext>
                  </a:extLst>
                </a:gridCol>
                <a:gridCol w="470746">
                  <a:extLst>
                    <a:ext uri="{9D8B030D-6E8A-4147-A177-3AD203B41FA5}">
                      <a16:colId xmlns:a16="http://schemas.microsoft.com/office/drawing/2014/main" val="1287572171"/>
                    </a:ext>
                  </a:extLst>
                </a:gridCol>
                <a:gridCol w="470746">
                  <a:extLst>
                    <a:ext uri="{9D8B030D-6E8A-4147-A177-3AD203B41FA5}">
                      <a16:colId xmlns:a16="http://schemas.microsoft.com/office/drawing/2014/main" val="1496146826"/>
                    </a:ext>
                  </a:extLst>
                </a:gridCol>
                <a:gridCol w="470746">
                  <a:extLst>
                    <a:ext uri="{9D8B030D-6E8A-4147-A177-3AD203B41FA5}">
                      <a16:colId xmlns:a16="http://schemas.microsoft.com/office/drawing/2014/main" val="878508541"/>
                    </a:ext>
                  </a:extLst>
                </a:gridCol>
              </a:tblGrid>
              <a:tr h="334908">
                <a:tc row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ctr"/>
                      <a:r>
                        <a:rPr lang="en-US" sz="1000" dirty="0">
                          <a:solidFill>
                            <a:schemeClr val="bg1"/>
                          </a:solidFill>
                          <a:latin typeface="Yu Gothic UI" panose="020B0500000000000000" pitchFamily="34" charset="-128"/>
                          <a:ea typeface="Yu Gothic UI" panose="020B0500000000000000" pitchFamily="34" charset="-128"/>
                        </a:rPr>
                        <a:t>F</a:t>
                      </a:r>
                      <a:r>
                        <a:rPr lang="en-GB" sz="1000" dirty="0">
                          <a:solidFill>
                            <a:schemeClr val="bg1"/>
                          </a:solidFill>
                          <a:latin typeface="Yu Gothic UI" panose="020B0500000000000000" pitchFamily="34" charset="-128"/>
                          <a:ea typeface="Yu Gothic UI" panose="020B0500000000000000" pitchFamily="34" charset="-128"/>
                        </a:rPr>
                        <a:t>Y25</a:t>
                      </a:r>
                      <a:r>
                        <a:rPr lang="en-US" altLang="ja-JP" sz="1000" dirty="0">
                          <a:solidFill>
                            <a:schemeClr val="bg1"/>
                          </a:solidFill>
                          <a:latin typeface="Yu Gothic UI" panose="020B0500000000000000" pitchFamily="34" charset="-128"/>
                          <a:ea typeface="Yu Gothic UI" panose="020B0500000000000000" pitchFamily="34" charset="-128"/>
                        </a:rPr>
                        <a:t>/6</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gridSpan="2">
                  <a:txBody>
                    <a:bodyPr/>
                    <a:lstStyle/>
                    <a:p>
                      <a:pPr algn="ctr"/>
                      <a:r>
                        <a:rPr lang="en-US" altLang="ja-JP" sz="1000" dirty="0">
                          <a:solidFill>
                            <a:schemeClr val="bg1"/>
                          </a:solidFill>
                          <a:latin typeface="Yu Gothic UI" panose="020B0500000000000000" pitchFamily="34" charset="-128"/>
                          <a:ea typeface="Yu Gothic UI" panose="020B0500000000000000" pitchFamily="34" charset="-128"/>
                        </a:rPr>
                        <a:t>7</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gridSpan="2">
                  <a:txBody>
                    <a:bodyPr/>
                    <a:lstStyle/>
                    <a:p>
                      <a:pPr algn="ctr"/>
                      <a:r>
                        <a:rPr lang="en-US" altLang="ja-JP" sz="1000" dirty="0">
                          <a:solidFill>
                            <a:schemeClr val="bg1"/>
                          </a:solidFill>
                          <a:latin typeface="Yu Gothic UI" panose="020B0500000000000000" pitchFamily="34" charset="-128"/>
                          <a:ea typeface="Yu Gothic UI" panose="020B0500000000000000" pitchFamily="34" charset="-128"/>
                        </a:rPr>
                        <a:t>8</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gridSpan="2">
                  <a:txBody>
                    <a:bodyPr/>
                    <a:lstStyle/>
                    <a:p>
                      <a:pPr algn="ctr"/>
                      <a:r>
                        <a:rPr lang="en-US" altLang="ja-JP" sz="1000" dirty="0">
                          <a:solidFill>
                            <a:schemeClr val="bg1"/>
                          </a:solidFill>
                          <a:latin typeface="Yu Gothic UI" panose="020B0500000000000000" pitchFamily="34" charset="-128"/>
                          <a:ea typeface="Yu Gothic UI" panose="020B0500000000000000" pitchFamily="34" charset="-128"/>
                        </a:rPr>
                        <a:t>9</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a:txBody>
                    <a:bodyPr/>
                    <a:lstStyle/>
                    <a:p>
                      <a:pPr algn="ctr"/>
                      <a:r>
                        <a:rPr lang="en-US" altLang="ja-JP" sz="1000" dirty="0">
                          <a:solidFill>
                            <a:schemeClr val="bg1"/>
                          </a:solidFill>
                          <a:latin typeface="Yu Gothic UI" panose="020B0500000000000000" pitchFamily="34" charset="-128"/>
                          <a:ea typeface="Yu Gothic UI" panose="020B0500000000000000" pitchFamily="34" charset="-128"/>
                        </a:rPr>
                        <a:t>~</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GB" sz="1000" dirty="0">
                          <a:solidFill>
                            <a:schemeClr val="bg1"/>
                          </a:solidFill>
                          <a:latin typeface="Yu Gothic UI" panose="020B0500000000000000" pitchFamily="34" charset="-128"/>
                          <a:ea typeface="Yu Gothic UI" panose="020B0500000000000000" pitchFamily="34" charset="-128"/>
                        </a:rPr>
                        <a:t>FY26</a:t>
                      </a: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GB" sz="1000" dirty="0">
                          <a:solidFill>
                            <a:schemeClr val="bg1"/>
                          </a:solidFill>
                          <a:latin typeface="Yu Gothic UI" panose="020B0500000000000000" pitchFamily="34" charset="-128"/>
                          <a:ea typeface="Yu Gothic UI" panose="020B0500000000000000" pitchFamily="34" charset="-128"/>
                        </a:rPr>
                        <a:t>FY27</a:t>
                      </a: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00" dirty="0">
                          <a:solidFill>
                            <a:schemeClr val="bg1"/>
                          </a:solidFill>
                          <a:latin typeface="Yu Gothic UI" panose="020B0500000000000000" pitchFamily="34" charset="-128"/>
                          <a:ea typeface="Yu Gothic UI" panose="020B0500000000000000" pitchFamily="34" charset="-128"/>
                        </a:rPr>
                        <a:t>F</a:t>
                      </a:r>
                      <a:r>
                        <a:rPr lang="en-GB" altLang="ja-JP" sz="1000" dirty="0">
                          <a:solidFill>
                            <a:schemeClr val="bg1"/>
                          </a:solidFill>
                          <a:latin typeface="Yu Gothic UI" panose="020B0500000000000000" pitchFamily="34" charset="-128"/>
                          <a:ea typeface="Yu Gothic UI" panose="020B0500000000000000" pitchFamily="34" charset="-128"/>
                        </a:rPr>
                        <a:t>Y2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1851026"/>
                  </a:ext>
                </a:extLst>
              </a:tr>
              <a:tr h="317230">
                <a:tc vMerge="1">
                  <a:txBody>
                    <a:bodyPr/>
                    <a:lstStyle/>
                    <a:p>
                      <a:endParaRPr lang="en-GB" sz="800" dirty="0">
                        <a:latin typeface="Yu Gothic UI" panose="020B0500000000000000" pitchFamily="34" charset="-128"/>
                        <a:ea typeface="Yu Gothic UI" panose="020B0500000000000000" pitchFamily="34"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Yu Gothic UI" panose="020B0500000000000000" pitchFamily="34" charset="-128"/>
                          <a:ea typeface="Yu Gothic UI" panose="020B0500000000000000" pitchFamily="34" charset="-128"/>
                        </a:rPr>
                        <a:t>1</a:t>
                      </a:r>
                      <a:r>
                        <a:rPr lang="en-US" altLang="ja-JP" sz="1000" b="1" baseline="30000" dirty="0">
                          <a:solidFill>
                            <a:schemeClr val="bg1"/>
                          </a:solidFill>
                          <a:latin typeface="Yu Gothic UI" panose="020B0500000000000000" pitchFamily="34" charset="-128"/>
                          <a:ea typeface="Yu Gothic UI" panose="020B0500000000000000" pitchFamily="34" charset="-128"/>
                        </a:rPr>
                        <a:t>st</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altLang="ja-JP" sz="1000" b="1" dirty="0">
                          <a:solidFill>
                            <a:schemeClr val="bg1"/>
                          </a:solidFill>
                          <a:latin typeface="Yu Gothic UI" panose="020B0500000000000000" pitchFamily="34" charset="-128"/>
                          <a:ea typeface="Yu Gothic UI" panose="020B0500000000000000" pitchFamily="34" charset="-128"/>
                        </a:rPr>
                        <a:t>2</a:t>
                      </a:r>
                      <a:r>
                        <a:rPr lang="en-US" altLang="ja-JP" sz="1000" b="1" baseline="30000" dirty="0">
                          <a:solidFill>
                            <a:schemeClr val="bg1"/>
                          </a:solidFill>
                          <a:latin typeface="Yu Gothic UI" panose="020B0500000000000000" pitchFamily="34" charset="-128"/>
                          <a:ea typeface="Yu Gothic UI" panose="020B0500000000000000" pitchFamily="34" charset="-128"/>
                        </a:rPr>
                        <a:t>nd</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1000" b="1" dirty="0">
                          <a:solidFill>
                            <a:schemeClr val="bg1"/>
                          </a:solidFill>
                          <a:latin typeface="Yu Gothic UI" panose="020B0500000000000000" pitchFamily="34" charset="-128"/>
                          <a:ea typeface="Yu Gothic UI" panose="020B0500000000000000" pitchFamily="34" charset="-128"/>
                        </a:rPr>
                        <a:t>1</a:t>
                      </a:r>
                      <a:r>
                        <a:rPr lang="en-US" altLang="ja-JP" sz="1000" b="1" baseline="30000" dirty="0">
                          <a:solidFill>
                            <a:schemeClr val="bg1"/>
                          </a:solidFill>
                          <a:latin typeface="Yu Gothic UI" panose="020B0500000000000000" pitchFamily="34" charset="-128"/>
                          <a:ea typeface="Yu Gothic UI" panose="020B0500000000000000" pitchFamily="34" charset="-128"/>
                        </a:rPr>
                        <a:t>st</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altLang="ja-JP" sz="1000" b="1" dirty="0">
                          <a:solidFill>
                            <a:schemeClr val="bg1"/>
                          </a:solidFill>
                          <a:latin typeface="Yu Gothic UI" panose="020B0500000000000000" pitchFamily="34" charset="-128"/>
                          <a:ea typeface="Yu Gothic UI" panose="020B0500000000000000" pitchFamily="34" charset="-128"/>
                        </a:rPr>
                        <a:t>2</a:t>
                      </a:r>
                      <a:r>
                        <a:rPr lang="en-US" altLang="ja-JP" sz="1000" b="1" baseline="30000" dirty="0">
                          <a:solidFill>
                            <a:schemeClr val="bg1"/>
                          </a:solidFill>
                          <a:latin typeface="Yu Gothic UI" panose="020B0500000000000000" pitchFamily="34" charset="-128"/>
                          <a:ea typeface="Yu Gothic UI" panose="020B0500000000000000" pitchFamily="34" charset="-128"/>
                        </a:rPr>
                        <a:t>nd</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1000" b="1" dirty="0">
                          <a:solidFill>
                            <a:schemeClr val="bg1"/>
                          </a:solidFill>
                          <a:latin typeface="Yu Gothic UI" panose="020B0500000000000000" pitchFamily="34" charset="-128"/>
                          <a:ea typeface="Yu Gothic UI" panose="020B0500000000000000" pitchFamily="34" charset="-128"/>
                        </a:rPr>
                        <a:t>1</a:t>
                      </a:r>
                      <a:r>
                        <a:rPr lang="en-US" altLang="ja-JP" sz="1000" b="1" baseline="30000" dirty="0">
                          <a:solidFill>
                            <a:schemeClr val="bg1"/>
                          </a:solidFill>
                          <a:latin typeface="Yu Gothic UI" panose="020B0500000000000000" pitchFamily="34" charset="-128"/>
                          <a:ea typeface="Yu Gothic UI" panose="020B0500000000000000" pitchFamily="34" charset="-128"/>
                        </a:rPr>
                        <a:t>st</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altLang="ja-JP" sz="1000" b="1" dirty="0">
                          <a:solidFill>
                            <a:schemeClr val="bg1"/>
                          </a:solidFill>
                          <a:latin typeface="Yu Gothic UI" panose="020B0500000000000000" pitchFamily="34" charset="-128"/>
                          <a:ea typeface="Yu Gothic UI" panose="020B0500000000000000" pitchFamily="34" charset="-128"/>
                        </a:rPr>
                        <a:t>2</a:t>
                      </a:r>
                      <a:r>
                        <a:rPr lang="en-US" altLang="ja-JP" sz="1000" b="1" baseline="30000" dirty="0">
                          <a:solidFill>
                            <a:schemeClr val="bg1"/>
                          </a:solidFill>
                          <a:latin typeface="Yu Gothic UI" panose="020B0500000000000000" pitchFamily="34" charset="-128"/>
                          <a:ea typeface="Yu Gothic UI" panose="020B0500000000000000" pitchFamily="34" charset="-128"/>
                        </a:rPr>
                        <a:t>nd</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1000" b="1" dirty="0">
                          <a:solidFill>
                            <a:schemeClr val="bg1"/>
                          </a:solidFill>
                          <a:latin typeface="Yu Gothic UI" panose="020B0500000000000000" pitchFamily="34" charset="-128"/>
                          <a:ea typeface="Yu Gothic UI" panose="020B0500000000000000" pitchFamily="34" charset="-128"/>
                        </a:rPr>
                        <a:t>1</a:t>
                      </a:r>
                      <a:r>
                        <a:rPr lang="en-US" altLang="ja-JP" sz="1000" b="1" baseline="30000" dirty="0">
                          <a:solidFill>
                            <a:schemeClr val="bg1"/>
                          </a:solidFill>
                          <a:latin typeface="Yu Gothic UI" panose="020B0500000000000000" pitchFamily="34" charset="-128"/>
                          <a:ea typeface="Yu Gothic UI" panose="020B0500000000000000" pitchFamily="34" charset="-128"/>
                        </a:rPr>
                        <a:t>st</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altLang="ja-JP" sz="1000" b="1" dirty="0">
                          <a:solidFill>
                            <a:schemeClr val="bg1"/>
                          </a:solidFill>
                          <a:latin typeface="Yu Gothic UI" panose="020B0500000000000000" pitchFamily="34" charset="-128"/>
                          <a:ea typeface="Yu Gothic UI" panose="020B0500000000000000" pitchFamily="34" charset="-128"/>
                        </a:rPr>
                        <a:t>2</a:t>
                      </a:r>
                      <a:r>
                        <a:rPr lang="en-US" altLang="ja-JP" sz="1000" b="1" baseline="30000" dirty="0">
                          <a:solidFill>
                            <a:schemeClr val="bg1"/>
                          </a:solidFill>
                          <a:latin typeface="Yu Gothic UI" panose="020B0500000000000000" pitchFamily="34" charset="-128"/>
                          <a:ea typeface="Yu Gothic UI" panose="020B0500000000000000" pitchFamily="34" charset="-128"/>
                        </a:rPr>
                        <a:t>nd</a:t>
                      </a:r>
                      <a:r>
                        <a:rPr lang="ja-JP" altLang="en-US" sz="1000" b="1" dirty="0">
                          <a:solidFill>
                            <a:schemeClr val="bg1"/>
                          </a:solidFill>
                          <a:latin typeface="Yu Gothic UI" panose="020B0500000000000000" pitchFamily="34" charset="-128"/>
                          <a:ea typeface="Yu Gothic UI" panose="020B0500000000000000" pitchFamily="34" charset="-128"/>
                        </a:rPr>
                        <a:t> </a:t>
                      </a:r>
                      <a:r>
                        <a:rPr lang="en-US" altLang="ja-JP" sz="1000" b="1" dirty="0">
                          <a:solidFill>
                            <a:schemeClr val="bg1"/>
                          </a:solidFill>
                          <a:latin typeface="Yu Gothic UI" panose="020B0500000000000000" pitchFamily="34" charset="-128"/>
                          <a:ea typeface="Yu Gothic UI" panose="020B0500000000000000" pitchFamily="34" charset="-128"/>
                        </a:rPr>
                        <a:t>h</a:t>
                      </a: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2">
                          <a:lumMod val="9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endParaRPr lang="en-GB"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681059997"/>
                  </a:ext>
                </a:extLst>
              </a:tr>
              <a:tr h="418493">
                <a:tc>
                  <a:txBody>
                    <a:bodyPr/>
                    <a:lstStyle/>
                    <a:p>
                      <a:pPr algn="ctr"/>
                      <a:r>
                        <a:rPr lang="ja-JP" altLang="en-US" sz="1000" dirty="0">
                          <a:latin typeface="Yu Gothic UI" panose="020B0500000000000000" pitchFamily="34" charset="-128"/>
                          <a:ea typeface="Yu Gothic UI" panose="020B0500000000000000" pitchFamily="34" charset="-128"/>
                        </a:rPr>
                        <a:t>マイルストーン</a:t>
                      </a:r>
                      <a:endParaRPr lang="en-GB" sz="1000" dirty="0">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gridSpan="2">
                  <a:txBody>
                    <a:bodyPr/>
                    <a:lstStyle/>
                    <a:p>
                      <a:r>
                        <a:rPr lang="ja-JP" altLang="en-US" sz="1000" dirty="0">
                          <a:latin typeface="Yu Gothic UI" panose="020B0500000000000000" pitchFamily="34" charset="-128"/>
                          <a:ea typeface="Yu Gothic UI" panose="020B0500000000000000" pitchFamily="34" charset="-128"/>
                        </a:rPr>
                        <a:t>　</a:t>
                      </a:r>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hMerge="1">
                  <a:txBody>
                    <a:bodyPr/>
                    <a:lstStyle/>
                    <a:p>
                      <a:endParaRPr lang="en-GB"/>
                    </a:p>
                  </a:txBody>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248122501"/>
                  </a:ext>
                </a:extLst>
              </a:tr>
              <a:tr h="1994860">
                <a:tc>
                  <a:txBody>
                    <a:bodyPr/>
                    <a:lstStyle/>
                    <a:p>
                      <a:pPr algn="ctr">
                        <a:lnSpc>
                          <a:spcPct val="106000"/>
                        </a:lnSpc>
                        <a:buFont typeface="Wingdings 2" pitchFamily="18" charset="2"/>
                        <a:buNone/>
                      </a:pPr>
                      <a:r>
                        <a:rPr lang="ja-JP" altLang="en-US" sz="1050" b="1" dirty="0">
                          <a:solidFill>
                            <a:schemeClr val="bg1"/>
                          </a:solidFill>
                          <a:latin typeface="Yu Gothic UI" panose="020B0500000000000000" pitchFamily="34" charset="-128"/>
                          <a:ea typeface="Yu Gothic UI" panose="020B0500000000000000" pitchFamily="34" charset="-128"/>
                        </a:rPr>
                        <a:t>計画</a:t>
                      </a:r>
                      <a:endParaRPr lang="en-US" altLang="ja-JP" sz="105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2">
                          <a:lumMod val="9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3230868"/>
                  </a:ext>
                </a:extLst>
              </a:tr>
            </a:tbl>
          </a:graphicData>
        </a:graphic>
      </p:graphicFrame>
      <p:sp>
        <p:nvSpPr>
          <p:cNvPr id="7" name="Title 3">
            <a:extLst>
              <a:ext uri="{FF2B5EF4-FFF2-40B4-BE49-F238E27FC236}">
                <a16:creationId xmlns:a16="http://schemas.microsoft.com/office/drawing/2014/main" id="{715EA797-40F3-6A3B-CBC5-24FE757097C7}"/>
              </a:ext>
            </a:extLst>
          </p:cNvPr>
          <p:cNvSpPr>
            <a:spLocks noGrp="1"/>
          </p:cNvSpPr>
          <p:nvPr>
            <p:ph type="title"/>
          </p:nvPr>
        </p:nvSpPr>
        <p:spPr>
          <a:xfrm>
            <a:off x="513232" y="76640"/>
            <a:ext cx="11165539" cy="597356"/>
          </a:xfrm>
        </p:spPr>
        <p:txBody>
          <a:bodyPr vert="horz" anchor="ctr"/>
          <a:lstStyle/>
          <a:p>
            <a:r>
              <a:rPr lang="en-US" altLang="ja-JP" dirty="0">
                <a:latin typeface="+mn-ea"/>
                <a:ea typeface="+mn-ea"/>
              </a:rPr>
              <a:t>2-3.</a:t>
            </a:r>
            <a:r>
              <a:rPr lang="ja-JP" altLang="en-US" dirty="0">
                <a:latin typeface="+mn-ea"/>
                <a:ea typeface="+mn-ea"/>
              </a:rPr>
              <a:t>プロジェクトスケジュール</a:t>
            </a:r>
            <a:endParaRPr lang="en-US" dirty="0">
              <a:latin typeface="+mn-ea"/>
              <a:ea typeface="+mn-ea"/>
            </a:endParaRPr>
          </a:p>
        </p:txBody>
      </p:sp>
      <p:sp>
        <p:nvSpPr>
          <p:cNvPr id="162" name="Arrow: Pentagon 80">
            <a:extLst>
              <a:ext uri="{FF2B5EF4-FFF2-40B4-BE49-F238E27FC236}">
                <a16:creationId xmlns:a16="http://schemas.microsoft.com/office/drawing/2014/main" id="{53A7B8B2-D855-3256-A3A6-FA646FADCDFD}"/>
              </a:ext>
            </a:extLst>
          </p:cNvPr>
          <p:cNvSpPr/>
          <p:nvPr/>
        </p:nvSpPr>
        <p:spPr bwMode="gray">
          <a:xfrm>
            <a:off x="2812824" y="2330365"/>
            <a:ext cx="954000" cy="412337"/>
          </a:xfrm>
          <a:prstGeom prst="homePlate">
            <a:avLst>
              <a:gd name="adj" fmla="val 29558"/>
            </a:avLst>
          </a:prstGeom>
          <a:solidFill>
            <a:srgbClr val="F3DDE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50" b="1" dirty="0">
                <a:latin typeface="Yu Gothic UI" panose="020B0500000000000000" pitchFamily="34" charset="-128"/>
                <a:ea typeface="Yu Gothic UI" panose="020B0500000000000000" pitchFamily="34" charset="-128"/>
              </a:rPr>
              <a:t>契約手続き</a:t>
            </a:r>
            <a:endParaRPr lang="en-GB" sz="1000" b="1" dirty="0">
              <a:latin typeface="Yu Gothic UI" panose="020B0500000000000000" pitchFamily="34" charset="-128"/>
              <a:ea typeface="Yu Gothic UI" panose="020B0500000000000000" pitchFamily="34" charset="-128"/>
            </a:endParaRPr>
          </a:p>
        </p:txBody>
      </p:sp>
      <p:sp>
        <p:nvSpPr>
          <p:cNvPr id="8" name="Rectangle 64">
            <a:extLst>
              <a:ext uri="{FF2B5EF4-FFF2-40B4-BE49-F238E27FC236}">
                <a16:creationId xmlns:a16="http://schemas.microsoft.com/office/drawing/2014/main" id="{BE15D18E-B39F-02D1-32E7-E816FD40F9EA}"/>
              </a:ext>
            </a:extLst>
          </p:cNvPr>
          <p:cNvSpPr/>
          <p:nvPr/>
        </p:nvSpPr>
        <p:spPr bwMode="gray">
          <a:xfrm>
            <a:off x="3631516" y="1929298"/>
            <a:ext cx="1346803" cy="26429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000" b="1" dirty="0">
                <a:solidFill>
                  <a:schemeClr val="tx2"/>
                </a:solidFill>
                <a:latin typeface="Yu Gothic UI" panose="020B0500000000000000" pitchFamily="34" charset="-128"/>
                <a:ea typeface="Yu Gothic UI" panose="020B0500000000000000" pitchFamily="34" charset="-128"/>
              </a:rPr>
              <a:t>△ 業務引継ぎ開始</a:t>
            </a:r>
            <a:endParaRPr lang="en-GB" altLang="ja-JP" sz="1000" b="1" dirty="0">
              <a:solidFill>
                <a:schemeClr val="tx2"/>
              </a:solidFill>
              <a:latin typeface="Yu Gothic UI" panose="020B0500000000000000" pitchFamily="34" charset="-128"/>
              <a:ea typeface="Yu Gothic UI" panose="020B0500000000000000" pitchFamily="34" charset="-128"/>
            </a:endParaRPr>
          </a:p>
        </p:txBody>
      </p:sp>
      <p:sp>
        <p:nvSpPr>
          <p:cNvPr id="9" name="Rectangle 64">
            <a:extLst>
              <a:ext uri="{FF2B5EF4-FFF2-40B4-BE49-F238E27FC236}">
                <a16:creationId xmlns:a16="http://schemas.microsoft.com/office/drawing/2014/main" id="{4E566139-E209-5670-235A-8DA4F0FDF403}"/>
              </a:ext>
            </a:extLst>
          </p:cNvPr>
          <p:cNvSpPr/>
          <p:nvPr/>
        </p:nvSpPr>
        <p:spPr bwMode="gray">
          <a:xfrm>
            <a:off x="8564170" y="1929298"/>
            <a:ext cx="1307191" cy="26429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000" b="1" dirty="0">
                <a:solidFill>
                  <a:schemeClr val="tx2"/>
                </a:solidFill>
                <a:latin typeface="Yu Gothic UI" panose="020B0500000000000000" pitchFamily="34" charset="-128"/>
                <a:ea typeface="Yu Gothic UI" panose="020B0500000000000000" pitchFamily="34" charset="-128"/>
              </a:rPr>
              <a:t>業務移管完了△ </a:t>
            </a:r>
            <a:endParaRPr lang="en-GB" altLang="ja-JP" sz="1000" b="1" dirty="0">
              <a:solidFill>
                <a:schemeClr val="tx2"/>
              </a:solidFill>
              <a:latin typeface="Yu Gothic UI" panose="020B0500000000000000" pitchFamily="34" charset="-128"/>
              <a:ea typeface="Yu Gothic UI" panose="020B0500000000000000" pitchFamily="34" charset="-128"/>
            </a:endParaRPr>
          </a:p>
        </p:txBody>
      </p:sp>
      <p:sp>
        <p:nvSpPr>
          <p:cNvPr id="10" name="Arrow: Pentagon 80">
            <a:extLst>
              <a:ext uri="{FF2B5EF4-FFF2-40B4-BE49-F238E27FC236}">
                <a16:creationId xmlns:a16="http://schemas.microsoft.com/office/drawing/2014/main" id="{B5E490C1-C75E-38B2-BD48-A5D5732D1F47}"/>
              </a:ext>
            </a:extLst>
          </p:cNvPr>
          <p:cNvSpPr/>
          <p:nvPr/>
        </p:nvSpPr>
        <p:spPr bwMode="gray">
          <a:xfrm>
            <a:off x="1825624" y="2330365"/>
            <a:ext cx="954000" cy="412337"/>
          </a:xfrm>
          <a:prstGeom prst="homePlate">
            <a:avLst>
              <a:gd name="adj" fmla="val 29558"/>
            </a:avLst>
          </a:prstGeom>
          <a:solidFill>
            <a:schemeClr val="bg1">
              <a:lumMod val="85000"/>
            </a:schemeClr>
          </a:solidFill>
          <a:ln w="19050" algn="ctr">
            <a:solidFill>
              <a:schemeClr val="bg1">
                <a:lumMod val="75000"/>
              </a:schemeClr>
            </a:solidFill>
            <a:prstDash val="dash"/>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50" b="1" dirty="0">
                <a:latin typeface="Yu Gothic UI" panose="020B0500000000000000" pitchFamily="34" charset="-128"/>
                <a:ea typeface="Yu Gothic UI" panose="020B0500000000000000" pitchFamily="34" charset="-128"/>
              </a:rPr>
              <a:t>（選定期間）</a:t>
            </a:r>
            <a:endParaRPr lang="en-GB" sz="1000" b="1" dirty="0">
              <a:latin typeface="Yu Gothic UI" panose="020B0500000000000000" pitchFamily="34" charset="-128"/>
              <a:ea typeface="Yu Gothic UI" panose="020B0500000000000000" pitchFamily="34" charset="-128"/>
            </a:endParaRPr>
          </a:p>
        </p:txBody>
      </p:sp>
      <p:sp>
        <p:nvSpPr>
          <p:cNvPr id="12" name="Arrow: Pentagon 80">
            <a:extLst>
              <a:ext uri="{FF2B5EF4-FFF2-40B4-BE49-F238E27FC236}">
                <a16:creationId xmlns:a16="http://schemas.microsoft.com/office/drawing/2014/main" id="{0FF73F41-0ED1-2EDD-8C76-CC7DA3A0864A}"/>
              </a:ext>
            </a:extLst>
          </p:cNvPr>
          <p:cNvSpPr/>
          <p:nvPr/>
        </p:nvSpPr>
        <p:spPr bwMode="gray">
          <a:xfrm>
            <a:off x="5756866" y="3165145"/>
            <a:ext cx="3877200" cy="412337"/>
          </a:xfrm>
          <a:prstGeom prst="homePlate">
            <a:avLst>
              <a:gd name="adj" fmla="val 29558"/>
            </a:avLst>
          </a:prstGeom>
          <a:solidFill>
            <a:srgbClr val="F3DDE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50" b="1" dirty="0">
                <a:latin typeface="Yu Gothic UI" panose="020B0500000000000000" pitchFamily="34" charset="-128"/>
                <a:ea typeface="Yu Gothic UI" panose="020B0500000000000000" pitchFamily="34" charset="-128"/>
              </a:rPr>
              <a:t>現行ベンダと並行して業務実施</a:t>
            </a:r>
            <a:endParaRPr lang="en-GB" sz="1000" b="1" dirty="0">
              <a:latin typeface="Yu Gothic UI" panose="020B0500000000000000" pitchFamily="34" charset="-128"/>
              <a:ea typeface="Yu Gothic UI" panose="020B0500000000000000" pitchFamily="34" charset="-128"/>
            </a:endParaRPr>
          </a:p>
        </p:txBody>
      </p:sp>
      <p:sp>
        <p:nvSpPr>
          <p:cNvPr id="13" name="Arrow: Pentagon 80">
            <a:extLst>
              <a:ext uri="{FF2B5EF4-FFF2-40B4-BE49-F238E27FC236}">
                <a16:creationId xmlns:a16="http://schemas.microsoft.com/office/drawing/2014/main" id="{CE51C38D-EC22-A945-B44B-712071AE3547}"/>
              </a:ext>
            </a:extLst>
          </p:cNvPr>
          <p:cNvSpPr/>
          <p:nvPr/>
        </p:nvSpPr>
        <p:spPr bwMode="gray">
          <a:xfrm>
            <a:off x="3800024" y="2742702"/>
            <a:ext cx="1926000" cy="414000"/>
          </a:xfrm>
          <a:prstGeom prst="homePlate">
            <a:avLst>
              <a:gd name="adj" fmla="val 29558"/>
            </a:avLst>
          </a:prstGeom>
          <a:solidFill>
            <a:srgbClr val="F3DDE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50" b="1" dirty="0">
                <a:latin typeface="Yu Gothic UI" panose="020B0500000000000000" pitchFamily="34" charset="-128"/>
                <a:ea typeface="Yu Gothic UI" panose="020B0500000000000000" pitchFamily="34" charset="-128"/>
              </a:rPr>
              <a:t>現行ベンダから引継ぎ説明</a:t>
            </a:r>
            <a:endParaRPr lang="en-GB" sz="1000" b="1" dirty="0">
              <a:latin typeface="Yu Gothic UI" panose="020B0500000000000000" pitchFamily="34" charset="-128"/>
              <a:ea typeface="Yu Gothic UI" panose="020B0500000000000000" pitchFamily="34" charset="-128"/>
            </a:endParaRPr>
          </a:p>
        </p:txBody>
      </p:sp>
      <p:sp>
        <p:nvSpPr>
          <p:cNvPr id="16" name="Text Placeholder 2">
            <a:extLst>
              <a:ext uri="{FF2B5EF4-FFF2-40B4-BE49-F238E27FC236}">
                <a16:creationId xmlns:a16="http://schemas.microsoft.com/office/drawing/2014/main" id="{FB135442-F892-7304-0E98-878E8B62C258}"/>
              </a:ext>
            </a:extLst>
          </p:cNvPr>
          <p:cNvSpPr>
            <a:spLocks noGrp="1"/>
          </p:cNvSpPr>
          <p:nvPr>
            <p:ph type="body" sz="quarter" idx="15"/>
          </p:nvPr>
        </p:nvSpPr>
        <p:spPr>
          <a:xfrm>
            <a:off x="839971" y="830747"/>
            <a:ext cx="10421587" cy="631498"/>
          </a:xfrm>
        </p:spPr>
        <p:txBody>
          <a:bodyPr>
            <a:normAutofit/>
          </a:bodyPr>
          <a:lstStyle/>
          <a:p>
            <a:r>
              <a:rPr lang="ja-JP" altLang="en-US" sz="1200" b="0" i="0" u="none" strike="noStrike" dirty="0">
                <a:solidFill>
                  <a:srgbClr val="000000"/>
                </a:solidFill>
                <a:effectLst/>
                <a:latin typeface="+mn-ea"/>
                <a:ea typeface="+mn-ea"/>
              </a:rPr>
              <a:t>本プロジェクトのスケジュール（仮）　</a:t>
            </a:r>
            <a:endParaRPr lang="en-US" altLang="ja-JP" sz="1200" b="0" i="0" u="none" strike="noStrike" dirty="0">
              <a:solidFill>
                <a:srgbClr val="000000"/>
              </a:solidFill>
              <a:effectLst/>
              <a:latin typeface="+mn-ea"/>
              <a:ea typeface="+mn-ea"/>
            </a:endParaRPr>
          </a:p>
        </p:txBody>
      </p:sp>
      <p:sp>
        <p:nvSpPr>
          <p:cNvPr id="17" name="Rectangle 64">
            <a:extLst>
              <a:ext uri="{FF2B5EF4-FFF2-40B4-BE49-F238E27FC236}">
                <a16:creationId xmlns:a16="http://schemas.microsoft.com/office/drawing/2014/main" id="{9313A79F-FE0E-BEF1-E811-A3D3A41A753B}"/>
              </a:ext>
            </a:extLst>
          </p:cNvPr>
          <p:cNvSpPr/>
          <p:nvPr/>
        </p:nvSpPr>
        <p:spPr bwMode="gray">
          <a:xfrm>
            <a:off x="9956144" y="1862702"/>
            <a:ext cx="1440000" cy="4248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ja-JP" sz="1000" b="1" dirty="0">
                <a:solidFill>
                  <a:schemeClr val="tx2"/>
                </a:solidFill>
                <a:latin typeface="Yu Gothic UI" panose="020B0500000000000000" pitchFamily="34" charset="-128"/>
                <a:ea typeface="Yu Gothic UI" panose="020B0500000000000000" pitchFamily="34" charset="-128"/>
              </a:rPr>
              <a:t>‘29/2</a:t>
            </a:r>
          </a:p>
          <a:p>
            <a:pPr algn="ctr">
              <a:lnSpc>
                <a:spcPct val="106000"/>
              </a:lnSpc>
              <a:buFont typeface="Wingdings 2" pitchFamily="18" charset="2"/>
              <a:buNone/>
            </a:pPr>
            <a:r>
              <a:rPr lang="ja-JP" altLang="en-US" sz="1000" b="1" dirty="0">
                <a:solidFill>
                  <a:schemeClr val="tx2"/>
                </a:solidFill>
                <a:latin typeface="Yu Gothic UI" panose="020B0500000000000000" pitchFamily="34" charset="-128"/>
                <a:ea typeface="Yu Gothic UI" panose="020B0500000000000000" pitchFamily="34" charset="-128"/>
              </a:rPr>
              <a:t>現環境保守終了△ </a:t>
            </a:r>
            <a:endParaRPr lang="en-GB" altLang="ja-JP" sz="1000" b="1" dirty="0">
              <a:solidFill>
                <a:schemeClr val="tx2"/>
              </a:solidFill>
              <a:latin typeface="Yu Gothic UI" panose="020B0500000000000000" pitchFamily="34" charset="-128"/>
              <a:ea typeface="Yu Gothic UI" panose="020B0500000000000000" pitchFamily="34" charset="-128"/>
            </a:endParaRPr>
          </a:p>
        </p:txBody>
      </p:sp>
      <p:sp>
        <p:nvSpPr>
          <p:cNvPr id="18" name="Arrow: Pentagon 80">
            <a:extLst>
              <a:ext uri="{FF2B5EF4-FFF2-40B4-BE49-F238E27FC236}">
                <a16:creationId xmlns:a16="http://schemas.microsoft.com/office/drawing/2014/main" id="{9A3B2AC3-8FD7-7EBD-5E51-E80AA32A200C}"/>
              </a:ext>
            </a:extLst>
          </p:cNvPr>
          <p:cNvSpPr/>
          <p:nvPr/>
        </p:nvSpPr>
        <p:spPr bwMode="gray">
          <a:xfrm>
            <a:off x="9681566" y="3577482"/>
            <a:ext cx="1512000" cy="412337"/>
          </a:xfrm>
          <a:prstGeom prst="homePlate">
            <a:avLst>
              <a:gd name="adj" fmla="val 29558"/>
            </a:avLst>
          </a:prstGeom>
          <a:solidFill>
            <a:srgbClr val="F3DDE6"/>
          </a:solidFill>
          <a:ln w="12700" algn="ctr">
            <a:solidFill>
              <a:schemeClr val="accent1">
                <a:lumMod val="20000"/>
                <a:lumOff val="80000"/>
              </a:schemeClr>
            </a:solidFill>
            <a:prstDash val="sysDash"/>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50" b="1" dirty="0">
                <a:latin typeface="Yu Gothic UI" panose="020B0500000000000000" pitchFamily="34" charset="-128"/>
                <a:ea typeface="Yu Gothic UI" panose="020B0500000000000000" pitchFamily="34" charset="-128"/>
              </a:rPr>
              <a:t>業務実施</a:t>
            </a:r>
            <a:endParaRPr lang="en-GB" sz="1000" b="1" dirty="0">
              <a:latin typeface="Yu Gothic UI" panose="020B0500000000000000" pitchFamily="34" charset="-128"/>
              <a:ea typeface="Yu Gothic UI" panose="020B0500000000000000" pitchFamily="34" charset="-128"/>
            </a:endParaRPr>
          </a:p>
        </p:txBody>
      </p:sp>
      <p:sp>
        <p:nvSpPr>
          <p:cNvPr id="3" name="Text Placeholder 2">
            <a:extLst>
              <a:ext uri="{FF2B5EF4-FFF2-40B4-BE49-F238E27FC236}">
                <a16:creationId xmlns:a16="http://schemas.microsoft.com/office/drawing/2014/main" id="{E5D729AE-3E28-039A-6810-647F8E0EC699}"/>
              </a:ext>
            </a:extLst>
          </p:cNvPr>
          <p:cNvSpPr txBox="1">
            <a:spLocks/>
          </p:cNvSpPr>
          <p:nvPr/>
        </p:nvSpPr>
        <p:spPr bwMode="gray">
          <a:xfrm>
            <a:off x="771979" y="4482656"/>
            <a:ext cx="10421587" cy="63149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lang="ja-JP" altLang="en-US" sz="1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lang="ja-JP" altLang="en-US" sz="12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lang="ja-JP" altLang="en-US" sz="11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solidFill>
                  <a:srgbClr val="000000"/>
                </a:solidFill>
                <a:latin typeface="Yu Gothic UI" panose="020B0500000000000000" pitchFamily="50" charset="-128"/>
                <a:ea typeface="Yu Gothic UI" panose="020B0500000000000000" pitchFamily="50" charset="-128"/>
              </a:rPr>
              <a:t>仮のスケジュールのため、引継ぎ開始時に適切なスケジュールをご提示いただく予定です。</a:t>
            </a:r>
          </a:p>
        </p:txBody>
      </p:sp>
    </p:spTree>
    <p:extLst>
      <p:ext uri="{BB962C8B-B14F-4D97-AF65-F5344CB8AC3E}">
        <p14:creationId xmlns:p14="http://schemas.microsoft.com/office/powerpoint/2010/main" val="62908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36E7B94A-5353-C312-6776-6D0B70E6F34B}"/>
              </a:ext>
            </a:extLst>
          </p:cNvPr>
          <p:cNvSpPr>
            <a:spLocks noGrp="1"/>
          </p:cNvSpPr>
          <p:nvPr>
            <p:ph type="sldNum" sz="quarter" idx="18"/>
          </p:nvPr>
        </p:nvSpPr>
        <p:spPr/>
        <p:txBody>
          <a:bodyPr/>
          <a:lstStyle/>
          <a:p>
            <a:fld id="{8E309D18-5CEC-4165-B971-DC4DA761F26D}" type="slidenum">
              <a:rPr lang="ja-JP" altLang="en-US" smtClean="0"/>
              <a:pPr/>
              <a:t>15</a:t>
            </a:fld>
            <a:endParaRPr lang="ja-JP" altLang="en-US" dirty="0"/>
          </a:p>
        </p:txBody>
      </p:sp>
      <p:sp>
        <p:nvSpPr>
          <p:cNvPr id="4" name="タイトル 3">
            <a:extLst>
              <a:ext uri="{FF2B5EF4-FFF2-40B4-BE49-F238E27FC236}">
                <a16:creationId xmlns:a16="http://schemas.microsoft.com/office/drawing/2014/main" id="{AB8D14D7-15FF-D625-1593-57AC1DDF70F5}"/>
              </a:ext>
            </a:extLst>
          </p:cNvPr>
          <p:cNvSpPr>
            <a:spLocks noGrp="1"/>
          </p:cNvSpPr>
          <p:nvPr>
            <p:ph type="title"/>
          </p:nvPr>
        </p:nvSpPr>
        <p:spPr/>
        <p:txBody>
          <a:bodyPr>
            <a:normAutofit/>
          </a:bodyPr>
          <a:lstStyle/>
          <a:p>
            <a:pPr algn="ctr"/>
            <a:r>
              <a:rPr lang="en-US" altLang="ja-JP" sz="1800" dirty="0">
                <a:sym typeface="+mj-lt"/>
              </a:rPr>
              <a:t>3-1.</a:t>
            </a:r>
            <a:r>
              <a:rPr lang="ja-JP" altLang="en-US" sz="1800" dirty="0">
                <a:sym typeface="+mj-lt"/>
              </a:rPr>
              <a:t>提案依頼事項</a:t>
            </a:r>
            <a:r>
              <a:rPr lang="en-US" altLang="ja-JP" sz="1800" dirty="0">
                <a:sym typeface="+mj-lt"/>
              </a:rPr>
              <a:t>(1/2)</a:t>
            </a:r>
            <a:endParaRPr kumimoji="1" lang="ja-JP" altLang="en-US" sz="1800" dirty="0"/>
          </a:p>
        </p:txBody>
      </p:sp>
      <p:sp>
        <p:nvSpPr>
          <p:cNvPr id="6" name="テキスト ボックス 5">
            <a:extLst>
              <a:ext uri="{FF2B5EF4-FFF2-40B4-BE49-F238E27FC236}">
                <a16:creationId xmlns:a16="http://schemas.microsoft.com/office/drawing/2014/main" id="{4114DAB1-5049-1D12-3CB1-9721B461D3C3}"/>
              </a:ext>
            </a:extLst>
          </p:cNvPr>
          <p:cNvSpPr txBox="1"/>
          <p:nvPr/>
        </p:nvSpPr>
        <p:spPr>
          <a:xfrm>
            <a:off x="1825625" y="685779"/>
            <a:ext cx="8531225" cy="523220"/>
          </a:xfrm>
          <a:prstGeom prst="rect">
            <a:avLst/>
          </a:prstGeom>
          <a:noFill/>
        </p:spPr>
        <p:txBody>
          <a:bodyPr wrap="square">
            <a:spAutoFit/>
          </a:bodyPr>
          <a:lstStyle/>
          <a:p>
            <a:r>
              <a:rPr lang="ja-JP" altLang="en-US" sz="1400" dirty="0">
                <a:solidFill>
                  <a:srgbClr val="000000"/>
                </a:solidFill>
                <a:latin typeface="Yu Gothic UI" panose="020B0500000000000000" pitchFamily="50" charset="-128"/>
                <a:ea typeface="Yu Gothic UI" panose="020B0500000000000000" pitchFamily="50" charset="-128"/>
              </a:rPr>
              <a:t>以下の項目を網羅した提案書の作成および各回答シートへの記載をお願いします</a:t>
            </a:r>
          </a:p>
          <a:p>
            <a:r>
              <a:rPr lang="ja-JP" altLang="en-US" sz="1400" dirty="0">
                <a:solidFill>
                  <a:srgbClr val="000000"/>
                </a:solidFill>
                <a:latin typeface="Yu Gothic UI" panose="020B0500000000000000" pitchFamily="50" charset="-128"/>
                <a:ea typeface="Yu Gothic UI" panose="020B0500000000000000" pitchFamily="50" charset="-128"/>
              </a:rPr>
              <a:t>貴社提案書の目次と下記の提案依頼</a:t>
            </a:r>
            <a:r>
              <a:rPr lang="en-US" altLang="ja-JP" sz="1400" dirty="0">
                <a:solidFill>
                  <a:srgbClr val="000000"/>
                </a:solidFill>
                <a:latin typeface="Yu Gothic UI" panose="020B0500000000000000" pitchFamily="50" charset="-128"/>
                <a:ea typeface="Yu Gothic UI" panose="020B0500000000000000" pitchFamily="50" charset="-128"/>
              </a:rPr>
              <a:t>No</a:t>
            </a:r>
            <a:r>
              <a:rPr lang="ja-JP" altLang="en-US" sz="1400" dirty="0">
                <a:solidFill>
                  <a:srgbClr val="000000"/>
                </a:solidFill>
                <a:latin typeface="Yu Gothic UI" panose="020B0500000000000000" pitchFamily="50" charset="-128"/>
                <a:ea typeface="Yu Gothic UI" panose="020B0500000000000000" pitchFamily="50" charset="-128"/>
              </a:rPr>
              <a:t>との関連性を明示したインデックスの提示をお願いします</a:t>
            </a:r>
            <a:endParaRPr lang="ja-JP" altLang="en-US" sz="1400" dirty="0"/>
          </a:p>
        </p:txBody>
      </p:sp>
      <p:graphicFrame>
        <p:nvGraphicFramePr>
          <p:cNvPr id="7" name="表 5">
            <a:extLst>
              <a:ext uri="{FF2B5EF4-FFF2-40B4-BE49-F238E27FC236}">
                <a16:creationId xmlns:a16="http://schemas.microsoft.com/office/drawing/2014/main" id="{D3128B08-1C8C-17BC-CC8F-E3BB948B11F8}"/>
              </a:ext>
            </a:extLst>
          </p:cNvPr>
          <p:cNvGraphicFramePr>
            <a:graphicFrameLocks noGrp="1"/>
          </p:cNvGraphicFramePr>
          <p:nvPr>
            <p:extLst>
              <p:ext uri="{D42A27DB-BD31-4B8C-83A1-F6EECF244321}">
                <p14:modId xmlns:p14="http://schemas.microsoft.com/office/powerpoint/2010/main" val="735780845"/>
              </p:ext>
            </p:extLst>
          </p:nvPr>
        </p:nvGraphicFramePr>
        <p:xfrm>
          <a:off x="523523" y="1208999"/>
          <a:ext cx="10994063" cy="4983480"/>
        </p:xfrm>
        <a:graphic>
          <a:graphicData uri="http://schemas.openxmlformats.org/drawingml/2006/table">
            <a:tbl>
              <a:tblPr firstRow="1" bandRow="1">
                <a:tableStyleId>{93296810-A885-4BE3-A3E7-6D5BEEA58F35}</a:tableStyleId>
              </a:tblPr>
              <a:tblGrid>
                <a:gridCol w="1412155">
                  <a:extLst>
                    <a:ext uri="{9D8B030D-6E8A-4147-A177-3AD203B41FA5}">
                      <a16:colId xmlns:a16="http://schemas.microsoft.com/office/drawing/2014/main" val="2681986333"/>
                    </a:ext>
                  </a:extLst>
                </a:gridCol>
                <a:gridCol w="296883">
                  <a:extLst>
                    <a:ext uri="{9D8B030D-6E8A-4147-A177-3AD203B41FA5}">
                      <a16:colId xmlns:a16="http://schemas.microsoft.com/office/drawing/2014/main" val="2672396361"/>
                    </a:ext>
                  </a:extLst>
                </a:gridCol>
                <a:gridCol w="2161309">
                  <a:extLst>
                    <a:ext uri="{9D8B030D-6E8A-4147-A177-3AD203B41FA5}">
                      <a16:colId xmlns:a16="http://schemas.microsoft.com/office/drawing/2014/main" val="94626035"/>
                    </a:ext>
                  </a:extLst>
                </a:gridCol>
                <a:gridCol w="5462649">
                  <a:extLst>
                    <a:ext uri="{9D8B030D-6E8A-4147-A177-3AD203B41FA5}">
                      <a16:colId xmlns:a16="http://schemas.microsoft.com/office/drawing/2014/main" val="1445513295"/>
                    </a:ext>
                  </a:extLst>
                </a:gridCol>
                <a:gridCol w="1661067">
                  <a:extLst>
                    <a:ext uri="{9D8B030D-6E8A-4147-A177-3AD203B41FA5}">
                      <a16:colId xmlns:a16="http://schemas.microsoft.com/office/drawing/2014/main" val="2644441268"/>
                    </a:ext>
                  </a:extLst>
                </a:gridCol>
              </a:tblGrid>
              <a:tr h="249895">
                <a:tc gridSpan="3">
                  <a:txBody>
                    <a:bodyPr/>
                    <a:lstStyle/>
                    <a:p>
                      <a:pPr algn="ctr"/>
                      <a:r>
                        <a:rPr kumimoji="1" lang="ja-JP" altLang="en-US" sz="1200" dirty="0"/>
                        <a:t>項目</a:t>
                      </a:r>
                      <a:endParaRPr kumimoji="1" lang="ja-JP" altLang="en-US" sz="1200" dirty="0">
                        <a:latin typeface="Yu Gothic UI" panose="020B0500000000000000" pitchFamily="50" charset="-128"/>
                        <a:ea typeface="Yu Gothic UI" panose="020B0500000000000000" pitchFamily="50" charset="-128"/>
                      </a:endParaRPr>
                    </a:p>
                  </a:txBody>
                  <a:tcPr anchor="ctr">
                    <a:solidFill>
                      <a:srgbClr val="9D90A0"/>
                    </a:solidFill>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algn="ctr"/>
                      <a:r>
                        <a:rPr kumimoji="1" lang="ja-JP" altLang="en-US" sz="1200" dirty="0">
                          <a:latin typeface="Yu Gothic UI" panose="020B0500000000000000" pitchFamily="50" charset="-128"/>
                          <a:ea typeface="Yu Gothic UI" panose="020B0500000000000000" pitchFamily="50" charset="-128"/>
                        </a:rPr>
                        <a:t>説明</a:t>
                      </a:r>
                      <a:endParaRPr kumimoji="1" lang="en-US" altLang="ja-JP" sz="1200" dirty="0">
                        <a:latin typeface="Yu Gothic UI" panose="020B0500000000000000" pitchFamily="50" charset="-128"/>
                        <a:ea typeface="Yu Gothic UI" panose="020B0500000000000000" pitchFamily="50" charset="-128"/>
                      </a:endParaRPr>
                    </a:p>
                  </a:txBody>
                  <a:tcPr anchor="ctr">
                    <a:solidFill>
                      <a:srgbClr val="9D9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t>指定フォーム</a:t>
                      </a:r>
                      <a:endParaRPr kumimoji="1" lang="ja-JP" altLang="en-US" sz="1200" dirty="0">
                        <a:latin typeface="Yu Gothic UI" panose="020B0500000000000000" pitchFamily="50" charset="-128"/>
                        <a:ea typeface="Yu Gothic UI" panose="020B0500000000000000" pitchFamily="50" charset="-128"/>
                      </a:endParaRPr>
                    </a:p>
                  </a:txBody>
                  <a:tcPr anchor="ctr">
                    <a:solidFill>
                      <a:srgbClr val="9D90A0"/>
                    </a:solidFill>
                  </a:tcPr>
                </a:tc>
                <a:extLst>
                  <a:ext uri="{0D108BD9-81ED-4DB2-BD59-A6C34878D82A}">
                    <a16:rowId xmlns:a16="http://schemas.microsoft.com/office/drawing/2014/main" val="1456887574"/>
                  </a:ext>
                </a:extLst>
              </a:tr>
              <a:tr h="430541">
                <a:tc>
                  <a:txBody>
                    <a:bodyPr/>
                    <a:lstStyle/>
                    <a:p>
                      <a:r>
                        <a:rPr kumimoji="1" lang="ja-JP" altLang="en-US" sz="1200" dirty="0">
                          <a:latin typeface="Yu Gothic UI" panose="020B0500000000000000" pitchFamily="50" charset="-128"/>
                          <a:ea typeface="Yu Gothic UI" panose="020B0500000000000000" pitchFamily="50" charset="-128"/>
                        </a:rPr>
                        <a:t>保守・運用に関する</a:t>
                      </a:r>
                      <a:endParaRPr kumimoji="1" lang="en-US" altLang="ja-JP" sz="1200" dirty="0">
                        <a:latin typeface="Yu Gothic UI" panose="020B0500000000000000" pitchFamily="50" charset="-128"/>
                        <a:ea typeface="Yu Gothic UI" panose="020B0500000000000000" pitchFamily="50" charset="-128"/>
                      </a:endParaRPr>
                    </a:p>
                    <a:p>
                      <a:r>
                        <a:rPr kumimoji="1" lang="ja-JP" altLang="en-US" sz="1200" dirty="0">
                          <a:latin typeface="Yu Gothic UI" panose="020B0500000000000000" pitchFamily="50" charset="-128"/>
                          <a:ea typeface="Yu Gothic UI" panose="020B0500000000000000" pitchFamily="50" charset="-128"/>
                        </a:rPr>
                        <a:t>依頼事項</a:t>
                      </a:r>
                    </a:p>
                  </a:txBody>
                  <a:tcPr/>
                </a:tc>
                <a:tc>
                  <a:txBody>
                    <a:bodyPr/>
                    <a:lstStyle/>
                    <a:p>
                      <a:r>
                        <a:rPr kumimoji="1" lang="ja-JP" altLang="en-US" sz="1200" dirty="0"/>
                        <a:t>①</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Yu Gothic UI" panose="020B0500000000000000" pitchFamily="50" charset="-128"/>
                          <a:ea typeface="Yu Gothic UI" panose="020B0500000000000000" pitchFamily="50" charset="-128"/>
                        </a:rPr>
                        <a:t>提案のサマリ・ポイント</a:t>
                      </a:r>
                    </a:p>
                  </a:txBody>
                  <a:tcPr/>
                </a:tc>
                <a:tc>
                  <a:txBody>
                    <a:bodyPr/>
                    <a:lstStyle/>
                    <a:p>
                      <a:r>
                        <a:rPr kumimoji="1" lang="ja-JP" altLang="en-US" sz="1100" dirty="0">
                          <a:latin typeface="Yu Gothic UI" panose="020B0500000000000000" pitchFamily="50" charset="-128"/>
                          <a:ea typeface="Yu Gothic UI" panose="020B0500000000000000" pitchFamily="50" charset="-128"/>
                        </a:rPr>
                        <a:t>・貴社提案内容の骨子</a:t>
                      </a:r>
                      <a:br>
                        <a:rPr kumimoji="1" lang="ja-JP" altLang="en-US" sz="1100" dirty="0">
                          <a:latin typeface="Yu Gothic UI" panose="020B0500000000000000" pitchFamily="50" charset="-128"/>
                          <a:ea typeface="Yu Gothic UI" panose="020B0500000000000000" pitchFamily="50" charset="-128"/>
                        </a:rPr>
                      </a:br>
                      <a:r>
                        <a:rPr kumimoji="1" lang="ja-JP" altLang="en-US" sz="1100" dirty="0">
                          <a:latin typeface="Yu Gothic UI" panose="020B0500000000000000" pitchFamily="50" charset="-128"/>
                          <a:ea typeface="Yu Gothic UI" panose="020B0500000000000000" pitchFamily="50" charset="-128"/>
                        </a:rPr>
                        <a:t>・ご提案の中で一番伝えたいアピールポイント　　など</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9790651"/>
                  </a:ext>
                </a:extLst>
              </a:tr>
              <a:tr h="475918">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t>②</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Yu Gothic UI" panose="020B0500000000000000" pitchFamily="50" charset="-128"/>
                          <a:ea typeface="Yu Gothic UI" panose="020B0500000000000000" pitchFamily="50" charset="-128"/>
                        </a:rPr>
                        <a:t>体制図・役割</a:t>
                      </a:r>
                    </a:p>
                  </a:txBody>
                  <a:tcPr/>
                </a:tc>
                <a:tc>
                  <a:txBody>
                    <a:bodyPr/>
                    <a:lstStyle/>
                    <a:p>
                      <a:r>
                        <a:rPr kumimoji="1" lang="ja-JP" altLang="en-US" sz="1100" dirty="0">
                          <a:latin typeface="Yu Gothic UI" panose="020B0500000000000000" pitchFamily="50" charset="-128"/>
                          <a:ea typeface="Yu Gothic UI" panose="020B0500000000000000" pitchFamily="50" charset="-128"/>
                        </a:rPr>
                        <a:t>・体制図、プロジェクトマネジャー氏名、主要担当者氏名、協力会社名を明確にし、記載すること</a:t>
                      </a:r>
                      <a:br>
                        <a:rPr kumimoji="1" lang="ja-JP" altLang="en-US" sz="1100" dirty="0">
                          <a:latin typeface="Yu Gothic UI" panose="020B0500000000000000" pitchFamily="50" charset="-128"/>
                          <a:ea typeface="Yu Gothic UI" panose="020B0500000000000000" pitchFamily="50" charset="-128"/>
                        </a:rPr>
                      </a:br>
                      <a:r>
                        <a:rPr kumimoji="1" lang="ja-JP" altLang="en-US" sz="1100" dirty="0">
                          <a:latin typeface="Yu Gothic UI" panose="020B0500000000000000" pitchFamily="50" charset="-128"/>
                          <a:ea typeface="Yu Gothic UI" panose="020B0500000000000000" pitchFamily="50" charset="-128"/>
                        </a:rPr>
                        <a:t>・職務経歴情報（マネジメント</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リーダ経験年数、経験業種・経験システムの種類、経験年数、知識、スキル等）</a:t>
                      </a:r>
                      <a:endParaRPr kumimoji="1" lang="en-US" altLang="ja-JP" sz="1100" dirty="0">
                        <a:latin typeface="Yu Gothic UI" panose="020B0500000000000000" pitchFamily="50" charset="-128"/>
                        <a:ea typeface="Yu Gothic UI" panose="020B0500000000000000" pitchFamily="50" charset="-128"/>
                      </a:endParaRPr>
                    </a:p>
                    <a:p>
                      <a:r>
                        <a:rPr kumimoji="1" lang="ja-JP" altLang="en-US" sz="1100" dirty="0">
                          <a:latin typeface="Yu Gothic UI" panose="020B0500000000000000" pitchFamily="50" charset="-128"/>
                          <a:ea typeface="Yu Gothic UI" panose="020B0500000000000000" pitchFamily="50" charset="-128"/>
                        </a:rPr>
                        <a:t>・</a:t>
                      </a:r>
                      <a:r>
                        <a:rPr lang="ja-JP" altLang="en-US" sz="1100" dirty="0">
                          <a:solidFill>
                            <a:srgbClr val="000000"/>
                          </a:solidFill>
                          <a:latin typeface="Yu Gothic UI" panose="020B0500000000000000" pitchFamily="50" charset="-128"/>
                          <a:ea typeface="Yu Gothic UI" panose="020B0500000000000000" pitchFamily="50" charset="-128"/>
                        </a:rPr>
                        <a:t>体制図は</a:t>
                      </a:r>
                      <a:r>
                        <a:rPr lang="en-US" altLang="ja-JP" sz="1100" dirty="0">
                          <a:solidFill>
                            <a:srgbClr val="000000"/>
                          </a:solidFill>
                          <a:latin typeface="Yu Gothic UI" panose="020B0500000000000000" pitchFamily="50" charset="-128"/>
                          <a:ea typeface="Yu Gothic UI" panose="020B0500000000000000" pitchFamily="50" charset="-128"/>
                        </a:rPr>
                        <a:t>PM[PMO]</a:t>
                      </a:r>
                      <a:r>
                        <a:rPr lang="ja-JP" altLang="en-US" sz="1100" dirty="0">
                          <a:solidFill>
                            <a:srgbClr val="000000"/>
                          </a:solidFill>
                          <a:latin typeface="Yu Gothic UI" panose="020B0500000000000000" pitchFamily="50" charset="-128"/>
                          <a:ea typeface="Yu Gothic UI" panose="020B0500000000000000" pitchFamily="50" charset="-128"/>
                        </a:rPr>
                        <a:t>・保守・運用</a:t>
                      </a:r>
                      <a:r>
                        <a:rPr lang="ja-JP" altLang="en-US" sz="1100">
                          <a:solidFill>
                            <a:srgbClr val="000000"/>
                          </a:solidFill>
                          <a:latin typeface="Yu Gothic UI" panose="020B0500000000000000" pitchFamily="50" charset="-128"/>
                          <a:ea typeface="Yu Gothic UI" panose="020B0500000000000000" pitchFamily="50" charset="-128"/>
                        </a:rPr>
                        <a:t>に分ける構造とし、</a:t>
                      </a:r>
                      <a:r>
                        <a:rPr lang="ja-JP" altLang="en-US" sz="1100" dirty="0">
                          <a:solidFill>
                            <a:srgbClr val="000000"/>
                          </a:solidFill>
                          <a:latin typeface="Yu Gothic UI" panose="020B0500000000000000" pitchFamily="50" charset="-128"/>
                          <a:ea typeface="Yu Gothic UI" panose="020B0500000000000000" pitchFamily="50" charset="-128"/>
                        </a:rPr>
                        <a:t>弊社の体制・役割分担についても</a:t>
                      </a:r>
                      <a:r>
                        <a:rPr kumimoji="1" lang="ja-JP" altLang="en-US" sz="1100" dirty="0">
                          <a:latin typeface="Yu Gothic UI" panose="020B0500000000000000" pitchFamily="50" charset="-128"/>
                          <a:ea typeface="Yu Gothic UI" panose="020B0500000000000000" pitchFamily="50" charset="-128"/>
                        </a:rPr>
                        <a:t>期待する内容があればご提示願います</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1226237852"/>
                  </a:ext>
                </a:extLst>
              </a:tr>
              <a:tr h="460678">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t>③</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Yu Gothic UI" panose="020B0500000000000000" pitchFamily="50" charset="-128"/>
                          <a:ea typeface="Yu Gothic UI" panose="020B0500000000000000" pitchFamily="50" charset="-128"/>
                        </a:rPr>
                        <a:t>保守・運用内容</a:t>
                      </a:r>
                      <a:endParaRPr kumimoji="1" lang="en-US" altLang="ja-JP" sz="1200" dirty="0">
                        <a:latin typeface="Yu Gothic UI" panose="020B0500000000000000" pitchFamily="50" charset="-128"/>
                        <a:ea typeface="Yu Gothic UI" panose="020B0500000000000000" pitchFamily="50" charset="-128"/>
                      </a:endParaRPr>
                    </a:p>
                    <a:p>
                      <a:r>
                        <a:rPr kumimoji="1" lang="ja-JP" altLang="en-US" sz="1200" dirty="0"/>
                        <a:t>　</a:t>
                      </a:r>
                      <a:r>
                        <a:rPr kumimoji="1" lang="en-US" altLang="ja-JP" sz="1200" dirty="0"/>
                        <a:t>-</a:t>
                      </a:r>
                      <a:r>
                        <a:rPr kumimoji="1" lang="ja-JP" altLang="en-US" sz="1200" dirty="0"/>
                        <a:t> </a:t>
                      </a:r>
                      <a:r>
                        <a:rPr kumimoji="1" lang="ja-JP" altLang="en-US" sz="1100" dirty="0">
                          <a:latin typeface="Yu Gothic UI" panose="020B0500000000000000" pitchFamily="50" charset="-128"/>
                          <a:ea typeface="Yu Gothic UI" panose="020B0500000000000000" pitchFamily="50" charset="-128"/>
                        </a:rPr>
                        <a:t>想定される作業工程と成果物</a:t>
                      </a:r>
                      <a:endParaRPr kumimoji="1" lang="en-US" altLang="ja-JP"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100" dirty="0">
                          <a:latin typeface="Yu Gothic UI" panose="020B0500000000000000" pitchFamily="50" charset="-128"/>
                          <a:ea typeface="Yu Gothic UI" panose="020B0500000000000000" pitchFamily="50" charset="-128"/>
                        </a:rPr>
                        <a:t>・対応可能な保守内容とその詳細についてご提案ください</a:t>
                      </a:r>
                      <a:br>
                        <a:rPr kumimoji="1" lang="ja-JP" altLang="en-US" sz="1100" dirty="0">
                          <a:latin typeface="Yu Gothic UI" panose="020B0500000000000000" pitchFamily="50" charset="-128"/>
                          <a:ea typeface="Yu Gothic UI" panose="020B0500000000000000" pitchFamily="50" charset="-128"/>
                        </a:rPr>
                      </a:br>
                      <a:r>
                        <a:rPr kumimoji="1" lang="ja-JP" altLang="en-US" sz="1100" dirty="0">
                          <a:latin typeface="Yu Gothic UI" panose="020B0500000000000000" pitchFamily="50" charset="-128"/>
                          <a:ea typeface="Yu Gothic UI" panose="020B0500000000000000" pitchFamily="50" charset="-128"/>
                        </a:rPr>
                        <a:t>システム運用面で弊社が実施すべき事項へのご指摘がある場合には、その旨の記載をお願いします</a:t>
                      </a:r>
                    </a:p>
                    <a:p>
                      <a:r>
                        <a:rPr kumimoji="1" lang="ja-JP" altLang="en-US" sz="1100" dirty="0">
                          <a:latin typeface="Yu Gothic UI" panose="020B0500000000000000" pitchFamily="50" charset="-128"/>
                          <a:ea typeface="Yu Gothic UI" panose="020B0500000000000000" pitchFamily="50" charset="-128"/>
                        </a:rPr>
                        <a:t>・貴社メンバーの一部常駐</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本番稼動後一定期間</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アプリに関するヘルプデスク、</a:t>
                      </a:r>
                      <a:r>
                        <a:rPr kumimoji="1" lang="en-US" altLang="ja-JP" sz="1100" dirty="0">
                          <a:latin typeface="Yu Gothic UI" panose="020B0500000000000000" pitchFamily="50" charset="-128"/>
                          <a:ea typeface="Yu Gothic UI" panose="020B0500000000000000" pitchFamily="50" charset="-128"/>
                        </a:rPr>
                        <a:t>24</a:t>
                      </a:r>
                      <a:r>
                        <a:rPr kumimoji="1" lang="ja-JP" altLang="en-US" sz="1100" dirty="0">
                          <a:latin typeface="Yu Gothic UI" panose="020B0500000000000000" pitchFamily="50" charset="-128"/>
                          <a:ea typeface="Yu Gothic UI" panose="020B0500000000000000" pitchFamily="50" charset="-128"/>
                        </a:rPr>
                        <a:t>時間障害対応、その他提供可能な保守・運用サービスがあればご提案ください</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2563851824"/>
                  </a:ext>
                </a:extLst>
              </a:tr>
              <a:tr h="272891">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mn-ea"/>
                          <a:ea typeface="+mn-ea"/>
                        </a:rPr>
                        <a:t>④</a:t>
                      </a:r>
                    </a:p>
                  </a:txBody>
                  <a:tcPr/>
                </a:tc>
                <a:tc>
                  <a:txBody>
                    <a:bodyPr/>
                    <a:lstStyle/>
                    <a:p>
                      <a:r>
                        <a:rPr kumimoji="1" lang="ja-JP" altLang="en-US" sz="1200" dirty="0">
                          <a:latin typeface="Yu Gothic UI" panose="020B0500000000000000" pitchFamily="50" charset="-128"/>
                          <a:ea typeface="Yu Gothic UI" panose="020B0500000000000000" pitchFamily="50" charset="-128"/>
                        </a:rPr>
                        <a:t>プロジェクト運用・管理内容</a:t>
                      </a:r>
                      <a:endParaRPr kumimoji="1" lang="en-US" altLang="ja-JP"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100" dirty="0">
                          <a:latin typeface="Yu Gothic UI" panose="020B0500000000000000" pitchFamily="50" charset="-128"/>
                          <a:ea typeface="Yu Gothic UI" panose="020B0500000000000000" pitchFamily="50" charset="-128"/>
                        </a:rPr>
                        <a:t>各作業における進捗管理方法、品質管理方法、変更管理方法など</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2254073190"/>
                  </a:ext>
                </a:extLst>
              </a:tr>
              <a:tr h="419643">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mn-ea"/>
                          <a:ea typeface="+mn-ea"/>
                        </a:rPr>
                        <a:t>⑤</a:t>
                      </a:r>
                    </a:p>
                  </a:txBody>
                  <a:tcPr/>
                </a:tc>
                <a:tc>
                  <a:txBody>
                    <a:bodyPr/>
                    <a:lstStyle/>
                    <a:p>
                      <a:r>
                        <a:rPr kumimoji="1" lang="ja-JP" altLang="en-US" sz="1200" dirty="0">
                          <a:latin typeface="Yu Gothic UI" panose="020B0500000000000000" pitchFamily="50" charset="-128"/>
                          <a:ea typeface="Yu Gothic UI" panose="020B0500000000000000" pitchFamily="50" charset="-128"/>
                        </a:rPr>
                        <a:t>費用見積り</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必要とされる費用を見積りのうえ、別紙「</a:t>
                      </a:r>
                      <a:r>
                        <a:rPr kumimoji="1" lang="en-US" altLang="ja-JP" sz="1100" dirty="0">
                          <a:latin typeface="Yu Gothic UI" panose="020B0500000000000000" pitchFamily="50" charset="-128"/>
                          <a:ea typeface="Yu Gothic UI" panose="020B0500000000000000" pitchFamily="50" charset="-128"/>
                        </a:rPr>
                        <a:t>102_(</a:t>
                      </a:r>
                      <a:r>
                        <a:rPr kumimoji="1" lang="ja-JP" altLang="en-US" sz="1100" dirty="0">
                          <a:latin typeface="Yu Gothic UI" panose="020B0500000000000000" pitchFamily="50" charset="-128"/>
                          <a:ea typeface="Yu Gothic UI" panose="020B0500000000000000" pitchFamily="50" charset="-128"/>
                        </a:rPr>
                        <a:t>回答用</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費用見積フォーマット」に記載くださ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見積の前提とした貴社の作業範囲やその他の見積金額を算出するにあたっての前提事項があれば提案書に明記すること</a:t>
                      </a:r>
                      <a:endParaRPr kumimoji="1" lang="en-US" altLang="ja-JP" sz="1100"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業務内容③開発については本提案書記載の事例</a:t>
                      </a:r>
                      <a:r>
                        <a:rPr kumimoji="1" lang="ja-JP" altLang="en-US" sz="1100" baseline="30000" dirty="0">
                          <a:latin typeface="Yu Gothic UI" panose="020B0500000000000000" pitchFamily="50" charset="-128"/>
                          <a:ea typeface="Yu Gothic UI" panose="020B0500000000000000" pitchFamily="50" charset="-128"/>
                        </a:rPr>
                        <a:t>*</a:t>
                      </a:r>
                      <a:r>
                        <a:rPr kumimoji="1" lang="en-US" altLang="ja-JP" sz="1100" baseline="30000" dirty="0">
                          <a:latin typeface="Yu Gothic UI" panose="020B0500000000000000" pitchFamily="50" charset="-128"/>
                          <a:ea typeface="Yu Gothic UI" panose="020B0500000000000000" pitchFamily="50" charset="-128"/>
                        </a:rPr>
                        <a:t>2</a:t>
                      </a:r>
                      <a:r>
                        <a:rPr kumimoji="1" lang="ja-JP" altLang="en-US" sz="1100" dirty="0">
                          <a:latin typeface="Yu Gothic UI" panose="020B0500000000000000" pitchFamily="50" charset="-128"/>
                          <a:ea typeface="Yu Gothic UI" panose="020B0500000000000000" pitchFamily="50" charset="-128"/>
                        </a:rPr>
                        <a:t>に対する見積もり金額を算出ください</a:t>
                      </a:r>
                      <a:endParaRPr kumimoji="1" lang="en-US" altLang="ja-JP" sz="1100" dirty="0">
                        <a:latin typeface="Yu Gothic UI" panose="020B0500000000000000" pitchFamily="50" charset="-128"/>
                        <a:ea typeface="Yu Gothic UI" panose="020B0500000000000000"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Yu Gothic UI" panose="020B0500000000000000" pitchFamily="50" charset="-128"/>
                          <a:ea typeface="Yu Gothic UI" panose="020B0500000000000000" pitchFamily="50" charset="-128"/>
                        </a:rPr>
                        <a:t>費用「</a:t>
                      </a:r>
                      <a:r>
                        <a:rPr kumimoji="1" lang="en-US" altLang="ja-JP" sz="1100" dirty="0">
                          <a:latin typeface="Yu Gothic UI" panose="020B0500000000000000" pitchFamily="50" charset="-128"/>
                          <a:ea typeface="Yu Gothic UI" panose="020B0500000000000000" pitchFamily="50" charset="-128"/>
                        </a:rPr>
                        <a:t>102_(</a:t>
                      </a:r>
                      <a:r>
                        <a:rPr kumimoji="1" lang="ja-JP" altLang="en-US" sz="1100" dirty="0">
                          <a:latin typeface="Yu Gothic UI" panose="020B0500000000000000" pitchFamily="50" charset="-128"/>
                          <a:ea typeface="Yu Gothic UI" panose="020B0500000000000000" pitchFamily="50" charset="-128"/>
                        </a:rPr>
                        <a:t>回答用</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費用見積フォーマット」</a:t>
                      </a:r>
                    </a:p>
                  </a:txBody>
                  <a:tcPr/>
                </a:tc>
                <a:extLst>
                  <a:ext uri="{0D108BD9-81ED-4DB2-BD59-A6C34878D82A}">
                    <a16:rowId xmlns:a16="http://schemas.microsoft.com/office/drawing/2014/main" val="1915143191"/>
                  </a:ext>
                </a:extLst>
              </a:tr>
              <a:tr h="419643">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mn-ea"/>
                          <a:ea typeface="+mn-ea"/>
                        </a:rPr>
                        <a:t>⑥</a:t>
                      </a:r>
                    </a:p>
                  </a:txBody>
                  <a:tcPr/>
                </a:tc>
                <a:tc>
                  <a:txBody>
                    <a:bodyPr/>
                    <a:lstStyle/>
                    <a:p>
                      <a:r>
                        <a:rPr kumimoji="1" lang="ja-JP" altLang="en-US" sz="1200" dirty="0">
                          <a:latin typeface="Yu Gothic UI" panose="020B0500000000000000" pitchFamily="50" charset="-128"/>
                          <a:ea typeface="Yu Gothic UI" panose="020B0500000000000000" pitchFamily="50" charset="-128"/>
                        </a:rPr>
                        <a:t>リスク</a:t>
                      </a:r>
                    </a:p>
                  </a:txBody>
                  <a:tcPr/>
                </a:tc>
                <a:tc>
                  <a:txBody>
                    <a:bodyPr/>
                    <a:lstStyle/>
                    <a:p>
                      <a:r>
                        <a:rPr lang="ja-JP" altLang="en-US" sz="1100" kern="0" dirty="0">
                          <a:solidFill>
                            <a:schemeClr val="tx1"/>
                          </a:solidFill>
                          <a:latin typeface="Yu Gothic UI" panose="020B0500000000000000" pitchFamily="50" charset="-128"/>
                          <a:ea typeface="Yu Gothic UI" panose="020B0500000000000000" pitchFamily="50" charset="-128"/>
                        </a:rPr>
                        <a:t>・貴社において本プロジェクトを進めるうえで想定されるリスクがあればその内容と想定される対策について</a:t>
                      </a:r>
                      <a:endParaRPr kumimoji="1" lang="ja-JP" altLang="en-US" sz="1100" dirty="0">
                        <a:latin typeface="Yu Gothic UI" panose="020B0500000000000000" pitchFamily="50" charset="-128"/>
                        <a:ea typeface="Yu Gothic UI" panose="020B0500000000000000" pitchFamily="50" charset="-128"/>
                      </a:endParaRP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1668360553"/>
                  </a:ext>
                </a:extLst>
              </a:tr>
              <a:tr h="419643">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mn-ea"/>
                          <a:ea typeface="+mn-ea"/>
                        </a:rPr>
                        <a:t>⑦</a:t>
                      </a:r>
                    </a:p>
                  </a:txBody>
                  <a:tcPr/>
                </a:tc>
                <a:tc>
                  <a:txBody>
                    <a:bodyPr/>
                    <a:lstStyle/>
                    <a:p>
                      <a:r>
                        <a:rPr kumimoji="1" lang="ja-JP" altLang="en-US" sz="1200" dirty="0">
                          <a:latin typeface="Yu Gothic UI" panose="020B0500000000000000" pitchFamily="50" charset="-128"/>
                          <a:ea typeface="Yu Gothic UI" panose="020B0500000000000000" pitchFamily="50" charset="-128"/>
                        </a:rPr>
                        <a:t>契約条件・権利関係</a:t>
                      </a:r>
                    </a:p>
                  </a:txBody>
                  <a:tcPr/>
                </a:tc>
                <a:tc>
                  <a:txBody>
                    <a:bodyPr/>
                    <a:lstStyle/>
                    <a:p>
                      <a:r>
                        <a:rPr kumimoji="1" lang="ja-JP" altLang="en-US" sz="1100" dirty="0">
                          <a:latin typeface="Yu Gothic UI" panose="020B0500000000000000" pitchFamily="50" charset="-128"/>
                          <a:ea typeface="Yu Gothic UI" panose="020B0500000000000000" pitchFamily="50" charset="-128"/>
                        </a:rPr>
                        <a:t>・契約条件</a:t>
                      </a:r>
                      <a:r>
                        <a:rPr kumimoji="1" lang="en-US" altLang="ja-JP" sz="1100" dirty="0">
                          <a:latin typeface="Yu Gothic UI" panose="020B0500000000000000" pitchFamily="50" charset="-128"/>
                          <a:ea typeface="Yu Gothic UI" panose="020B0500000000000000" pitchFamily="50" charset="-128"/>
                        </a:rPr>
                        <a:t>(</a:t>
                      </a:r>
                      <a:r>
                        <a:rPr kumimoji="1" lang="ja-JP" altLang="en-US" sz="1100" dirty="0">
                          <a:latin typeface="Yu Gothic UI" panose="020B0500000000000000" pitchFamily="50" charset="-128"/>
                          <a:ea typeface="Yu Gothic UI" panose="020B0500000000000000" pitchFamily="50" charset="-128"/>
                        </a:rPr>
                        <a:t>契約形態、支払方法、瑕疵担保期間・費用など</a:t>
                      </a:r>
                      <a:r>
                        <a:rPr kumimoji="1" lang="en-US" altLang="ja-JP" sz="1100" dirty="0">
                          <a:latin typeface="Yu Gothic UI" panose="020B0500000000000000" pitchFamily="50" charset="-128"/>
                          <a:ea typeface="Yu Gothic UI" panose="020B0500000000000000" pitchFamily="50" charset="-128"/>
                        </a:rPr>
                        <a:t>)</a:t>
                      </a:r>
                    </a:p>
                    <a:p>
                      <a:r>
                        <a:rPr kumimoji="1" lang="ja-JP" altLang="en-US" sz="1100" dirty="0">
                          <a:latin typeface="Yu Gothic UI" panose="020B0500000000000000" pitchFamily="50" charset="-128"/>
                          <a:ea typeface="Yu Gothic UI" panose="020B0500000000000000" pitchFamily="50" charset="-128"/>
                        </a:rPr>
                        <a:t>・提案内容に上記以外の著作権、工業所有権等の知的所有権が含まれる場合は、その旨を明記する</a:t>
                      </a:r>
                      <a:endParaRPr kumimoji="1" lang="en-US" altLang="ja-JP" sz="1100" dirty="0">
                        <a:latin typeface="Yu Gothic UI" panose="020B0500000000000000" pitchFamily="50" charset="-128"/>
                        <a:ea typeface="Yu Gothic UI" panose="020B0500000000000000" pitchFamily="50" charset="-128"/>
                      </a:endParaRPr>
                    </a:p>
                    <a:p>
                      <a:r>
                        <a:rPr kumimoji="1" lang="ja-JP" altLang="en-US" sz="1100" dirty="0">
                          <a:latin typeface="Yu Gothic UI" panose="020B0500000000000000" pitchFamily="50" charset="-128"/>
                          <a:ea typeface="Yu Gothic UI" panose="020B0500000000000000" pitchFamily="50" charset="-128"/>
                        </a:rPr>
                        <a:t>・オープンソース製品が提案に含まれる場合は、その使用部分の明確化と著作権や特許権問題についての対応を明示する</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3251952020"/>
                  </a:ext>
                </a:extLst>
              </a:tr>
            </a:tbl>
          </a:graphicData>
        </a:graphic>
      </p:graphicFrame>
      <p:sp>
        <p:nvSpPr>
          <p:cNvPr id="2" name="テキスト ボックス 1">
            <a:extLst>
              <a:ext uri="{FF2B5EF4-FFF2-40B4-BE49-F238E27FC236}">
                <a16:creationId xmlns:a16="http://schemas.microsoft.com/office/drawing/2014/main" id="{6E39170D-D01C-8882-F215-0C65A87B102A}"/>
              </a:ext>
            </a:extLst>
          </p:cNvPr>
          <p:cNvSpPr txBox="1"/>
          <p:nvPr/>
        </p:nvSpPr>
        <p:spPr>
          <a:xfrm>
            <a:off x="4354944" y="6216666"/>
            <a:ext cx="8653957" cy="246221"/>
          </a:xfrm>
          <a:prstGeom prst="rect">
            <a:avLst/>
          </a:prstGeom>
          <a:noFill/>
        </p:spPr>
        <p:txBody>
          <a:bodyPr wrap="square" rtlCol="0">
            <a:spAutoFit/>
          </a:bodyPr>
          <a:lstStyle/>
          <a:p>
            <a:r>
              <a:rPr kumimoji="1" lang="en-US" altLang="ja-JP" sz="1000" dirty="0">
                <a:latin typeface="Yu Gothic UI" panose="020B0500000000000000" pitchFamily="50" charset="-128"/>
                <a:ea typeface="Yu Gothic UI" panose="020B0500000000000000" pitchFamily="50" charset="-128"/>
              </a:rPr>
              <a:t>*2 : </a:t>
            </a:r>
            <a:r>
              <a:rPr kumimoji="1" lang="ja-JP" altLang="en-US" sz="1000" dirty="0">
                <a:latin typeface="Yu Gothic UI" panose="020B0500000000000000" pitchFamily="50" charset="-128"/>
                <a:ea typeface="Yu Gothic UI" panose="020B0500000000000000" pitchFamily="50" charset="-128"/>
              </a:rPr>
              <a:t>事例は</a:t>
            </a:r>
            <a:r>
              <a:rPr kumimoji="1" lang="en-US" altLang="ja-JP" sz="1000" dirty="0">
                <a:latin typeface="Yu Gothic UI" panose="020B0500000000000000" pitchFamily="50" charset="-128"/>
                <a:ea typeface="Yu Gothic UI" panose="020B0500000000000000" pitchFamily="50" charset="-128"/>
              </a:rPr>
              <a:t>Appendix</a:t>
            </a:r>
            <a:r>
              <a:rPr kumimoji="1" lang="ja-JP" altLang="en-US" sz="1000" dirty="0">
                <a:latin typeface="Yu Gothic UI" panose="020B0500000000000000" pitchFamily="50" charset="-128"/>
                <a:ea typeface="Yu Gothic UI" panose="020B0500000000000000" pitchFamily="50" charset="-128"/>
              </a:rPr>
              <a:t>参照</a:t>
            </a:r>
          </a:p>
        </p:txBody>
      </p:sp>
    </p:spTree>
    <p:extLst>
      <p:ext uri="{BB962C8B-B14F-4D97-AF65-F5344CB8AC3E}">
        <p14:creationId xmlns:p14="http://schemas.microsoft.com/office/powerpoint/2010/main" val="3984369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36E7B94A-5353-C312-6776-6D0B70E6F34B}"/>
              </a:ext>
            </a:extLst>
          </p:cNvPr>
          <p:cNvSpPr>
            <a:spLocks noGrp="1"/>
          </p:cNvSpPr>
          <p:nvPr>
            <p:ph type="sldNum" sz="quarter" idx="18"/>
          </p:nvPr>
        </p:nvSpPr>
        <p:spPr/>
        <p:txBody>
          <a:bodyPr/>
          <a:lstStyle/>
          <a:p>
            <a:fld id="{8E309D18-5CEC-4165-B971-DC4DA761F26D}" type="slidenum">
              <a:rPr lang="ja-JP" altLang="en-US" smtClean="0"/>
              <a:pPr/>
              <a:t>16</a:t>
            </a:fld>
            <a:endParaRPr lang="ja-JP" altLang="en-US" dirty="0"/>
          </a:p>
        </p:txBody>
      </p:sp>
      <p:sp>
        <p:nvSpPr>
          <p:cNvPr id="4" name="タイトル 3">
            <a:extLst>
              <a:ext uri="{FF2B5EF4-FFF2-40B4-BE49-F238E27FC236}">
                <a16:creationId xmlns:a16="http://schemas.microsoft.com/office/drawing/2014/main" id="{AB8D14D7-15FF-D625-1593-57AC1DDF70F5}"/>
              </a:ext>
            </a:extLst>
          </p:cNvPr>
          <p:cNvSpPr>
            <a:spLocks noGrp="1"/>
          </p:cNvSpPr>
          <p:nvPr>
            <p:ph type="title"/>
          </p:nvPr>
        </p:nvSpPr>
        <p:spPr/>
        <p:txBody>
          <a:bodyPr>
            <a:normAutofit/>
          </a:bodyPr>
          <a:lstStyle/>
          <a:p>
            <a:pPr algn="ctr"/>
            <a:r>
              <a:rPr lang="en-US" altLang="ja-JP" sz="1800" dirty="0">
                <a:sym typeface="+mj-lt"/>
              </a:rPr>
              <a:t>3-1.</a:t>
            </a:r>
            <a:r>
              <a:rPr lang="ja-JP" altLang="en-US" sz="1800" dirty="0">
                <a:sym typeface="+mj-lt"/>
              </a:rPr>
              <a:t>提案依頼事項</a:t>
            </a:r>
            <a:r>
              <a:rPr lang="en-US" altLang="ja-JP" sz="1800" dirty="0">
                <a:sym typeface="+mj-lt"/>
              </a:rPr>
              <a:t>(2/2)</a:t>
            </a:r>
            <a:endParaRPr kumimoji="1" lang="ja-JP" altLang="en-US" sz="1800" dirty="0"/>
          </a:p>
        </p:txBody>
      </p:sp>
      <p:sp>
        <p:nvSpPr>
          <p:cNvPr id="6" name="テキスト ボックス 5">
            <a:extLst>
              <a:ext uri="{FF2B5EF4-FFF2-40B4-BE49-F238E27FC236}">
                <a16:creationId xmlns:a16="http://schemas.microsoft.com/office/drawing/2014/main" id="{4114DAB1-5049-1D12-3CB1-9721B461D3C3}"/>
              </a:ext>
            </a:extLst>
          </p:cNvPr>
          <p:cNvSpPr txBox="1"/>
          <p:nvPr/>
        </p:nvSpPr>
        <p:spPr>
          <a:xfrm>
            <a:off x="1825625" y="685779"/>
            <a:ext cx="8531225" cy="523220"/>
          </a:xfrm>
          <a:prstGeom prst="rect">
            <a:avLst/>
          </a:prstGeom>
          <a:noFill/>
        </p:spPr>
        <p:txBody>
          <a:bodyPr wrap="square">
            <a:spAutoFit/>
          </a:bodyPr>
          <a:lstStyle/>
          <a:p>
            <a:r>
              <a:rPr lang="ja-JP" altLang="en-US" sz="1400" dirty="0">
                <a:solidFill>
                  <a:srgbClr val="000000"/>
                </a:solidFill>
                <a:latin typeface="Yu Gothic UI" panose="020B0500000000000000" pitchFamily="50" charset="-128"/>
                <a:ea typeface="Yu Gothic UI" panose="020B0500000000000000" pitchFamily="50" charset="-128"/>
              </a:rPr>
              <a:t>以下の項目を網羅した提案書の作成および各回答シートへの記載をお願いします</a:t>
            </a:r>
          </a:p>
          <a:p>
            <a:r>
              <a:rPr lang="ja-JP" altLang="en-US" sz="1400" dirty="0">
                <a:solidFill>
                  <a:srgbClr val="000000"/>
                </a:solidFill>
                <a:latin typeface="Yu Gothic UI" panose="020B0500000000000000" pitchFamily="50" charset="-128"/>
                <a:ea typeface="Yu Gothic UI" panose="020B0500000000000000" pitchFamily="50" charset="-128"/>
              </a:rPr>
              <a:t>貴社提案書の目次と下記の提案依頼</a:t>
            </a:r>
            <a:r>
              <a:rPr lang="en-US" altLang="ja-JP" sz="1400" dirty="0">
                <a:solidFill>
                  <a:srgbClr val="000000"/>
                </a:solidFill>
                <a:latin typeface="Yu Gothic UI" panose="020B0500000000000000" pitchFamily="50" charset="-128"/>
                <a:ea typeface="Yu Gothic UI" panose="020B0500000000000000" pitchFamily="50" charset="-128"/>
              </a:rPr>
              <a:t>No</a:t>
            </a:r>
            <a:r>
              <a:rPr lang="ja-JP" altLang="en-US" sz="1400" dirty="0">
                <a:solidFill>
                  <a:srgbClr val="000000"/>
                </a:solidFill>
                <a:latin typeface="Yu Gothic UI" panose="020B0500000000000000" pitchFamily="50" charset="-128"/>
                <a:ea typeface="Yu Gothic UI" panose="020B0500000000000000" pitchFamily="50" charset="-128"/>
              </a:rPr>
              <a:t>との関連性を明示したインデックスの提示をお願いします</a:t>
            </a:r>
            <a:endParaRPr lang="ja-JP" altLang="en-US" sz="1400" dirty="0"/>
          </a:p>
        </p:txBody>
      </p:sp>
      <p:graphicFrame>
        <p:nvGraphicFramePr>
          <p:cNvPr id="10" name="表 5">
            <a:extLst>
              <a:ext uri="{FF2B5EF4-FFF2-40B4-BE49-F238E27FC236}">
                <a16:creationId xmlns:a16="http://schemas.microsoft.com/office/drawing/2014/main" id="{9E2423A4-3BC4-1038-4173-3A3BA55A5D3C}"/>
              </a:ext>
            </a:extLst>
          </p:cNvPr>
          <p:cNvGraphicFramePr>
            <a:graphicFrameLocks noGrp="1"/>
          </p:cNvGraphicFramePr>
          <p:nvPr>
            <p:extLst>
              <p:ext uri="{D42A27DB-BD31-4B8C-83A1-F6EECF244321}">
                <p14:modId xmlns:p14="http://schemas.microsoft.com/office/powerpoint/2010/main" val="378343161"/>
              </p:ext>
            </p:extLst>
          </p:nvPr>
        </p:nvGraphicFramePr>
        <p:xfrm>
          <a:off x="523522" y="1201487"/>
          <a:ext cx="10994063" cy="1263028"/>
        </p:xfrm>
        <a:graphic>
          <a:graphicData uri="http://schemas.openxmlformats.org/drawingml/2006/table">
            <a:tbl>
              <a:tblPr firstRow="1" bandRow="1">
                <a:tableStyleId>{93296810-A885-4BE3-A3E7-6D5BEEA58F35}</a:tableStyleId>
              </a:tblPr>
              <a:tblGrid>
                <a:gridCol w="1605515">
                  <a:extLst>
                    <a:ext uri="{9D8B030D-6E8A-4147-A177-3AD203B41FA5}">
                      <a16:colId xmlns:a16="http://schemas.microsoft.com/office/drawing/2014/main" val="2681986333"/>
                    </a:ext>
                  </a:extLst>
                </a:gridCol>
                <a:gridCol w="329609">
                  <a:extLst>
                    <a:ext uri="{9D8B030D-6E8A-4147-A177-3AD203B41FA5}">
                      <a16:colId xmlns:a16="http://schemas.microsoft.com/office/drawing/2014/main" val="2672396361"/>
                    </a:ext>
                  </a:extLst>
                </a:gridCol>
                <a:gridCol w="2219679">
                  <a:extLst>
                    <a:ext uri="{9D8B030D-6E8A-4147-A177-3AD203B41FA5}">
                      <a16:colId xmlns:a16="http://schemas.microsoft.com/office/drawing/2014/main" val="94626035"/>
                    </a:ext>
                  </a:extLst>
                </a:gridCol>
                <a:gridCol w="5156790">
                  <a:extLst>
                    <a:ext uri="{9D8B030D-6E8A-4147-A177-3AD203B41FA5}">
                      <a16:colId xmlns:a16="http://schemas.microsoft.com/office/drawing/2014/main" val="1445513295"/>
                    </a:ext>
                  </a:extLst>
                </a:gridCol>
                <a:gridCol w="1682470">
                  <a:extLst>
                    <a:ext uri="{9D8B030D-6E8A-4147-A177-3AD203B41FA5}">
                      <a16:colId xmlns:a16="http://schemas.microsoft.com/office/drawing/2014/main" val="2644441268"/>
                    </a:ext>
                  </a:extLst>
                </a:gridCol>
              </a:tblGrid>
              <a:tr h="287074">
                <a:tc gridSpan="3">
                  <a:txBody>
                    <a:bodyPr/>
                    <a:lstStyle/>
                    <a:p>
                      <a:pPr algn="ctr"/>
                      <a:r>
                        <a:rPr kumimoji="1" lang="ja-JP" altLang="en-US" sz="1200" dirty="0"/>
                        <a:t>項目</a:t>
                      </a:r>
                      <a:endParaRPr kumimoji="1" lang="ja-JP" altLang="en-US" sz="1200" dirty="0">
                        <a:latin typeface="Yu Gothic UI" panose="020B0500000000000000" pitchFamily="50" charset="-128"/>
                        <a:ea typeface="Yu Gothic UI" panose="020B0500000000000000" pitchFamily="50" charset="-128"/>
                      </a:endParaRPr>
                    </a:p>
                  </a:txBody>
                  <a:tcPr anchor="ctr">
                    <a:solidFill>
                      <a:srgbClr val="9D90A0"/>
                    </a:solidFill>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algn="ctr"/>
                      <a:r>
                        <a:rPr kumimoji="1" lang="ja-JP" altLang="en-US" sz="1200" dirty="0">
                          <a:latin typeface="Yu Gothic UI" panose="020B0500000000000000" pitchFamily="50" charset="-128"/>
                          <a:ea typeface="Yu Gothic UI" panose="020B0500000000000000" pitchFamily="50" charset="-128"/>
                        </a:rPr>
                        <a:t>説明</a:t>
                      </a:r>
                      <a:endParaRPr kumimoji="1" lang="en-US" altLang="ja-JP" sz="1200" dirty="0">
                        <a:latin typeface="Yu Gothic UI" panose="020B0500000000000000" pitchFamily="50" charset="-128"/>
                        <a:ea typeface="Yu Gothic UI" panose="020B0500000000000000" pitchFamily="50" charset="-128"/>
                      </a:endParaRPr>
                    </a:p>
                  </a:txBody>
                  <a:tcPr anchor="ctr">
                    <a:solidFill>
                      <a:srgbClr val="9D9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t>指定フォーム</a:t>
                      </a:r>
                      <a:endParaRPr kumimoji="1" lang="ja-JP" altLang="en-US" sz="1200" dirty="0">
                        <a:latin typeface="Yu Gothic UI" panose="020B0500000000000000" pitchFamily="50" charset="-128"/>
                        <a:ea typeface="Yu Gothic UI" panose="020B0500000000000000" pitchFamily="50" charset="-128"/>
                      </a:endParaRPr>
                    </a:p>
                  </a:txBody>
                  <a:tcPr anchor="ctr">
                    <a:solidFill>
                      <a:srgbClr val="9D90A0"/>
                    </a:solidFill>
                  </a:tcPr>
                </a:tc>
                <a:extLst>
                  <a:ext uri="{0D108BD9-81ED-4DB2-BD59-A6C34878D82A}">
                    <a16:rowId xmlns:a16="http://schemas.microsoft.com/office/drawing/2014/main" val="1456887574"/>
                  </a:ext>
                </a:extLst>
              </a:tr>
              <a:tr h="487977">
                <a:tc>
                  <a:txBody>
                    <a:bodyPr/>
                    <a:lstStyle/>
                    <a:p>
                      <a:r>
                        <a:rPr kumimoji="1" lang="ja-JP" altLang="en-US" sz="1200" dirty="0"/>
                        <a:t>貴社について</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Yu Gothic UI" panose="020B0500000000000000" pitchFamily="50" charset="-128"/>
                          <a:ea typeface="Yu Gothic UI" panose="020B0500000000000000" pitchFamily="50" charset="-128"/>
                        </a:rPr>
                        <a:t>⑧</a:t>
                      </a:r>
                    </a:p>
                  </a:txBody>
                  <a:tcPr/>
                </a:tc>
                <a:tc>
                  <a:txBody>
                    <a:bodyPr/>
                    <a:lstStyle/>
                    <a:p>
                      <a:r>
                        <a:rPr kumimoji="1" lang="ja-JP" altLang="en-US" sz="1200" dirty="0"/>
                        <a:t>保守・運用 実績</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100" dirty="0">
                          <a:latin typeface="Yu Gothic UI" panose="020B0500000000000000" pitchFamily="50" charset="-128"/>
                          <a:ea typeface="Yu Gothic UI" panose="020B0500000000000000" pitchFamily="50" charset="-128"/>
                        </a:rPr>
                        <a:t>貴社の導入実績について</a:t>
                      </a:r>
                      <a:br>
                        <a:rPr kumimoji="1" lang="ja-JP" altLang="en-US" sz="1100" dirty="0">
                          <a:latin typeface="Yu Gothic UI" panose="020B0500000000000000" pitchFamily="50" charset="-128"/>
                          <a:ea typeface="Yu Gothic UI" panose="020B0500000000000000" pitchFamily="50" charset="-128"/>
                        </a:rPr>
                      </a:br>
                      <a:r>
                        <a:rPr kumimoji="1" lang="en-US" altLang="ja-JP" sz="1100" dirty="0">
                          <a:latin typeface="Yu Gothic UI" panose="020B0500000000000000" pitchFamily="50" charset="-128"/>
                          <a:ea typeface="Yu Gothic UI" panose="020B0500000000000000" pitchFamily="50" charset="-128"/>
                        </a:rPr>
                        <a:t>※</a:t>
                      </a:r>
                      <a:r>
                        <a:rPr kumimoji="1" lang="en-US" altLang="ja-JP" sz="1100" dirty="0" err="1">
                          <a:latin typeface="Yu Gothic UI" panose="020B0500000000000000" pitchFamily="50" charset="-128"/>
                          <a:ea typeface="Yu Gothic UI" panose="020B0500000000000000" pitchFamily="50" charset="-128"/>
                        </a:rPr>
                        <a:t>BtoB</a:t>
                      </a:r>
                      <a:r>
                        <a:rPr kumimoji="1" lang="ja-JP" altLang="en-US" sz="1100" dirty="0">
                          <a:latin typeface="Yu Gothic UI" panose="020B0500000000000000" pitchFamily="50" charset="-128"/>
                          <a:ea typeface="Yu Gothic UI" panose="020B0500000000000000" pitchFamily="50" charset="-128"/>
                        </a:rPr>
                        <a:t>での事例を紹介いただけますと幸いです</a:t>
                      </a: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3007011424"/>
                  </a:ext>
                </a:extLst>
              </a:tr>
              <a:tr h="487977">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r>
                        <a:rPr kumimoji="1" lang="ja-JP" altLang="en-US" sz="1200" dirty="0">
                          <a:latin typeface="Yu Gothic UI" panose="020B0500000000000000" pitchFamily="50" charset="-128"/>
                          <a:ea typeface="Yu Gothic UI" panose="020B0500000000000000" pitchFamily="50" charset="-128"/>
                        </a:rPr>
                        <a:t>⑨</a:t>
                      </a:r>
                    </a:p>
                  </a:txBody>
                  <a:tcPr/>
                </a:tc>
                <a:tc>
                  <a:txBody>
                    <a:bodyPr/>
                    <a:lstStyle/>
                    <a:p>
                      <a:r>
                        <a:rPr kumimoji="1" lang="ja-JP" altLang="en-US" sz="1200" dirty="0"/>
                        <a:t>付加価値サービス・その他強み</a:t>
                      </a:r>
                      <a:endParaRPr kumimoji="1" lang="ja-JP" altLang="en-US" sz="1200" dirty="0">
                        <a:latin typeface="Yu Gothic UI" panose="020B0500000000000000" pitchFamily="50" charset="-128"/>
                        <a:ea typeface="Yu Gothic UI" panose="020B0500000000000000"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0000"/>
                          </a:solidFill>
                          <a:latin typeface="Yu Gothic UI" panose="020B0500000000000000" pitchFamily="50" charset="-128"/>
                          <a:ea typeface="Yu Gothic UI" panose="020B0500000000000000" pitchFamily="50" charset="-128"/>
                        </a:rPr>
                        <a:t>貴社において付加価値サービスや保守・運用に付帯するその他強み</a:t>
                      </a:r>
                      <a:endParaRPr kumimoji="1" lang="en-US" altLang="ja-JP" sz="1100" dirty="0">
                        <a:solidFill>
                          <a:srgbClr val="000000"/>
                        </a:solidFill>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0000"/>
                          </a:solidFill>
                          <a:latin typeface="Yu Gothic UI" panose="020B0500000000000000" pitchFamily="50" charset="-128"/>
                          <a:ea typeface="Yu Gothic UI" panose="020B0500000000000000" pitchFamily="50" charset="-128"/>
                        </a:rPr>
                        <a:t>　</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こちらは必須の資料ではありませんので、貴社にお任せいたします</a:t>
                      </a:r>
                      <a:endParaRPr kumimoji="1" lang="en-US" altLang="ja-JP" sz="1100" dirty="0">
                        <a:solidFill>
                          <a:schemeClr val="tx1"/>
                        </a:solidFill>
                        <a:latin typeface="Yu Gothic UI" panose="020B0500000000000000" pitchFamily="50" charset="-128"/>
                        <a:ea typeface="Yu Gothic UI" panose="020B0500000000000000" pitchFamily="50" charset="-128"/>
                      </a:endParaRPr>
                    </a:p>
                  </a:txBody>
                  <a:tcPr/>
                </a:tc>
                <a:tc>
                  <a:txBody>
                    <a:bodyPr/>
                    <a:lstStyle/>
                    <a:p>
                      <a:endParaRPr kumimoji="1" lang="ja-JP" altLang="en-US" sz="12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3865708702"/>
                  </a:ext>
                </a:extLst>
              </a:tr>
            </a:tbl>
          </a:graphicData>
        </a:graphic>
      </p:graphicFrame>
    </p:spTree>
    <p:extLst>
      <p:ext uri="{BB962C8B-B14F-4D97-AF65-F5344CB8AC3E}">
        <p14:creationId xmlns:p14="http://schemas.microsoft.com/office/powerpoint/2010/main" val="2711347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36E7B94A-5353-C312-6776-6D0B70E6F34B}"/>
              </a:ext>
            </a:extLst>
          </p:cNvPr>
          <p:cNvSpPr>
            <a:spLocks noGrp="1"/>
          </p:cNvSpPr>
          <p:nvPr>
            <p:ph type="sldNum" sz="quarter" idx="18"/>
          </p:nvPr>
        </p:nvSpPr>
        <p:spPr/>
        <p:txBody>
          <a:bodyPr/>
          <a:lstStyle/>
          <a:p>
            <a:fld id="{8E309D18-5CEC-4165-B971-DC4DA761F26D}" type="slidenum">
              <a:rPr lang="ja-JP" altLang="en-US" smtClean="0"/>
              <a:pPr/>
              <a:t>17</a:t>
            </a:fld>
            <a:endParaRPr lang="ja-JP" altLang="en-US" dirty="0"/>
          </a:p>
        </p:txBody>
      </p:sp>
      <p:sp>
        <p:nvSpPr>
          <p:cNvPr id="4" name="タイトル 3">
            <a:extLst>
              <a:ext uri="{FF2B5EF4-FFF2-40B4-BE49-F238E27FC236}">
                <a16:creationId xmlns:a16="http://schemas.microsoft.com/office/drawing/2014/main" id="{AB8D14D7-15FF-D625-1593-57AC1DDF70F5}"/>
              </a:ext>
            </a:extLst>
          </p:cNvPr>
          <p:cNvSpPr>
            <a:spLocks noGrp="1"/>
          </p:cNvSpPr>
          <p:nvPr>
            <p:ph type="title"/>
          </p:nvPr>
        </p:nvSpPr>
        <p:spPr/>
        <p:txBody>
          <a:bodyPr>
            <a:normAutofit/>
          </a:bodyPr>
          <a:lstStyle/>
          <a:p>
            <a:pPr algn="ctr"/>
            <a:r>
              <a:rPr lang="en-US" altLang="ja-JP" sz="1800" dirty="0">
                <a:sym typeface="+mj-lt"/>
              </a:rPr>
              <a:t>3-1.</a:t>
            </a:r>
            <a:r>
              <a:rPr lang="ja-JP" altLang="en-US" sz="1800" dirty="0">
                <a:sym typeface="+mj-lt"/>
              </a:rPr>
              <a:t>提案依頼事項</a:t>
            </a:r>
            <a:r>
              <a:rPr lang="en-US" altLang="ja-JP" sz="1800" dirty="0">
                <a:sym typeface="+mj-lt"/>
              </a:rPr>
              <a:t>(</a:t>
            </a:r>
            <a:r>
              <a:rPr lang="ja-JP" altLang="en-US" sz="1800" dirty="0">
                <a:sym typeface="+mj-lt"/>
              </a:rPr>
              <a:t>前提条件</a:t>
            </a:r>
            <a:r>
              <a:rPr lang="en-US" altLang="ja-JP" sz="1800" dirty="0">
                <a:sym typeface="+mj-lt"/>
              </a:rPr>
              <a:t>)</a:t>
            </a:r>
            <a:endParaRPr kumimoji="1" lang="ja-JP" altLang="en-US" sz="1800" dirty="0"/>
          </a:p>
        </p:txBody>
      </p:sp>
      <p:sp>
        <p:nvSpPr>
          <p:cNvPr id="6" name="テキスト ボックス 5">
            <a:extLst>
              <a:ext uri="{FF2B5EF4-FFF2-40B4-BE49-F238E27FC236}">
                <a16:creationId xmlns:a16="http://schemas.microsoft.com/office/drawing/2014/main" id="{4114DAB1-5049-1D12-3CB1-9721B461D3C3}"/>
              </a:ext>
            </a:extLst>
          </p:cNvPr>
          <p:cNvSpPr txBox="1"/>
          <p:nvPr/>
        </p:nvSpPr>
        <p:spPr>
          <a:xfrm>
            <a:off x="1208936" y="972858"/>
            <a:ext cx="8531225" cy="2246769"/>
          </a:xfrm>
          <a:prstGeom prst="rect">
            <a:avLst/>
          </a:prstGeom>
          <a:noFill/>
        </p:spPr>
        <p:txBody>
          <a:bodyPr wrap="square">
            <a:spAutoFit/>
          </a:bodyPr>
          <a:lstStyle/>
          <a:p>
            <a:pPr marL="285750" indent="-285750">
              <a:buFont typeface="Wingdings" panose="05000000000000000000" pitchFamily="2" charset="2"/>
              <a:buChar char="n"/>
            </a:pPr>
            <a:r>
              <a:rPr lang="ja-JP" altLang="en-US" sz="1400" dirty="0">
                <a:solidFill>
                  <a:srgbClr val="000000"/>
                </a:solidFill>
                <a:latin typeface="Yu Gothic UI" panose="020B0500000000000000" pitchFamily="50" charset="-128"/>
                <a:ea typeface="Yu Gothic UI" panose="020B0500000000000000" pitchFamily="50" charset="-128"/>
              </a:rPr>
              <a:t>プロジェクト作業環境</a:t>
            </a:r>
          </a:p>
          <a:p>
            <a:pPr lvl="1"/>
            <a:r>
              <a:rPr lang="ja-JP" altLang="en-US" sz="1400" dirty="0">
                <a:solidFill>
                  <a:srgbClr val="000000"/>
                </a:solidFill>
                <a:latin typeface="Yu Gothic UI" panose="020B0500000000000000" pitchFamily="50" charset="-128"/>
                <a:ea typeface="Yu Gothic UI" panose="020B0500000000000000" pitchFamily="50" charset="-128"/>
              </a:rPr>
              <a:t>弊社は様々なロケーションで業務しており、関係者も多く存在しています。そのため、ミーティングの開催などは、基本的には</a:t>
            </a:r>
            <a:r>
              <a:rPr lang="en-US" altLang="ja-JP" sz="1400" dirty="0">
                <a:solidFill>
                  <a:srgbClr val="000000"/>
                </a:solidFill>
                <a:latin typeface="Yu Gothic UI" panose="020B0500000000000000" pitchFamily="50" charset="-128"/>
                <a:ea typeface="Yu Gothic UI" panose="020B0500000000000000" pitchFamily="50" charset="-128"/>
              </a:rPr>
              <a:t>Teams</a:t>
            </a:r>
            <a:r>
              <a:rPr lang="ja-JP" altLang="en-US" sz="1400" dirty="0">
                <a:solidFill>
                  <a:srgbClr val="000000"/>
                </a:solidFill>
                <a:latin typeface="Yu Gothic UI" panose="020B0500000000000000" pitchFamily="50" charset="-128"/>
                <a:ea typeface="Yu Gothic UI" panose="020B0500000000000000" pitchFamily="50" charset="-128"/>
              </a:rPr>
              <a:t>を利用したオンラインとなります。</a:t>
            </a:r>
          </a:p>
          <a:p>
            <a:pPr lvl="1"/>
            <a:r>
              <a:rPr lang="ja-JP" altLang="en-US" sz="1400" dirty="0">
                <a:solidFill>
                  <a:srgbClr val="000000"/>
                </a:solidFill>
                <a:latin typeface="Yu Gothic UI" panose="020B0500000000000000" pitchFamily="50" charset="-128"/>
                <a:ea typeface="Yu Gothic UI" panose="020B0500000000000000" pitchFamily="50" charset="-128"/>
              </a:rPr>
              <a:t>大量データなどのやり取りが発生することを想定し、クラウドストレージ </a:t>
            </a:r>
            <a:r>
              <a:rPr lang="en-US" altLang="ja-JP" sz="1400" dirty="0">
                <a:solidFill>
                  <a:srgbClr val="000000"/>
                </a:solidFill>
                <a:latin typeface="Yu Gothic UI" panose="020B0500000000000000" pitchFamily="50" charset="-128"/>
                <a:ea typeface="Yu Gothic UI" panose="020B0500000000000000" pitchFamily="50" charset="-128"/>
              </a:rPr>
              <a:t>BOX</a:t>
            </a:r>
            <a:r>
              <a:rPr lang="ja-JP" altLang="en-US" sz="1400" dirty="0">
                <a:solidFill>
                  <a:srgbClr val="000000"/>
                </a:solidFill>
                <a:latin typeface="Yu Gothic UI" panose="020B0500000000000000" pitchFamily="50" charset="-128"/>
                <a:ea typeface="Yu Gothic UI" panose="020B0500000000000000" pitchFamily="50" charset="-128"/>
              </a:rPr>
              <a:t>を利用します。</a:t>
            </a:r>
          </a:p>
          <a:p>
            <a:pPr marL="285750" indent="-285750">
              <a:buFont typeface="Wingdings" panose="05000000000000000000" pitchFamily="2" charset="2"/>
              <a:buChar char="n"/>
            </a:pPr>
            <a:endParaRPr lang="ja-JP" altLang="en-US" sz="1400" dirty="0">
              <a:solidFill>
                <a:srgbClr val="000000"/>
              </a:solidFill>
              <a:latin typeface="Yu Gothic UI" panose="020B0500000000000000" pitchFamily="50" charset="-128"/>
              <a:ea typeface="Yu Gothic UI" panose="020B0500000000000000" pitchFamily="50" charset="-128"/>
            </a:endParaRPr>
          </a:p>
          <a:p>
            <a:pPr marL="285750" indent="-285750">
              <a:buFont typeface="Wingdings" panose="05000000000000000000" pitchFamily="2" charset="2"/>
              <a:buChar char="n"/>
            </a:pPr>
            <a:r>
              <a:rPr lang="ja-JP" altLang="en-US" sz="1400" dirty="0">
                <a:solidFill>
                  <a:srgbClr val="000000"/>
                </a:solidFill>
                <a:latin typeface="Yu Gothic UI" panose="020B0500000000000000" pitchFamily="50" charset="-128"/>
                <a:ea typeface="Yu Gothic UI" panose="020B0500000000000000" pitchFamily="50" charset="-128"/>
              </a:rPr>
              <a:t>開発ツールの指定</a:t>
            </a:r>
          </a:p>
          <a:p>
            <a:pPr lvl="1"/>
            <a:r>
              <a:rPr lang="ja-JP" altLang="en-US" sz="1400" dirty="0">
                <a:solidFill>
                  <a:srgbClr val="000000"/>
                </a:solidFill>
                <a:latin typeface="Yu Gothic UI" panose="020B0500000000000000" pitchFamily="50" charset="-128"/>
                <a:ea typeface="Yu Gothic UI" panose="020B0500000000000000" pitchFamily="50" charset="-128"/>
              </a:rPr>
              <a:t>特に指定なし</a:t>
            </a:r>
          </a:p>
          <a:p>
            <a:pPr marL="285750" indent="-285750">
              <a:buFont typeface="Wingdings" panose="05000000000000000000" pitchFamily="2" charset="2"/>
              <a:buChar char="n"/>
            </a:pPr>
            <a:endParaRPr lang="ja-JP" altLang="en-US" sz="1400" dirty="0">
              <a:solidFill>
                <a:srgbClr val="000000"/>
              </a:solidFill>
              <a:latin typeface="Yu Gothic UI" panose="020B0500000000000000" pitchFamily="50" charset="-128"/>
              <a:ea typeface="Yu Gothic UI" panose="020B0500000000000000" pitchFamily="50" charset="-128"/>
            </a:endParaRPr>
          </a:p>
          <a:p>
            <a:pPr marL="285750" indent="-285750">
              <a:buFont typeface="Wingdings" panose="05000000000000000000" pitchFamily="2" charset="2"/>
              <a:buChar char="n"/>
            </a:pPr>
            <a:r>
              <a:rPr lang="ja-JP" altLang="en-US" sz="1400" dirty="0">
                <a:solidFill>
                  <a:srgbClr val="000000"/>
                </a:solidFill>
                <a:latin typeface="Yu Gothic UI" panose="020B0500000000000000" pitchFamily="50" charset="-128"/>
                <a:ea typeface="Yu Gothic UI" panose="020B0500000000000000" pitchFamily="50" charset="-128"/>
              </a:rPr>
              <a:t>コミュニケ</a:t>
            </a:r>
            <a:r>
              <a:rPr lang="en-US" altLang="ja-JP" sz="1400" dirty="0">
                <a:solidFill>
                  <a:srgbClr val="000000"/>
                </a:solidFill>
                <a:latin typeface="Yu Gothic UI" panose="020B0500000000000000" pitchFamily="50" charset="-128"/>
                <a:ea typeface="Yu Gothic UI" panose="020B0500000000000000" pitchFamily="50" charset="-128"/>
              </a:rPr>
              <a:t>―</a:t>
            </a:r>
            <a:r>
              <a:rPr lang="ja-JP" altLang="en-US" sz="1400" dirty="0">
                <a:solidFill>
                  <a:srgbClr val="000000"/>
                </a:solidFill>
                <a:latin typeface="Yu Gothic UI" panose="020B0500000000000000" pitchFamily="50" charset="-128"/>
                <a:ea typeface="Yu Gothic UI" panose="020B0500000000000000" pitchFamily="50" charset="-128"/>
              </a:rPr>
              <a:t>ションツールの指定</a:t>
            </a:r>
          </a:p>
          <a:p>
            <a:pPr lvl="1"/>
            <a:r>
              <a:rPr lang="ja-JP" altLang="en-US" sz="1400" dirty="0">
                <a:solidFill>
                  <a:srgbClr val="000000"/>
                </a:solidFill>
                <a:latin typeface="Yu Gothic UI" panose="020B0500000000000000" pitchFamily="50" charset="-128"/>
                <a:ea typeface="Yu Gothic UI" panose="020B0500000000000000" pitchFamily="50" charset="-128"/>
              </a:rPr>
              <a:t>課題管理等、コミュニケーションツールの要望があれば、別途ご相談ください</a:t>
            </a:r>
          </a:p>
        </p:txBody>
      </p:sp>
    </p:spTree>
    <p:extLst>
      <p:ext uri="{BB962C8B-B14F-4D97-AF65-F5344CB8AC3E}">
        <p14:creationId xmlns:p14="http://schemas.microsoft.com/office/powerpoint/2010/main" val="247074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F2C39E-82E4-58C4-5A76-55E6EF83DE65}"/>
              </a:ext>
            </a:extLst>
          </p:cNvPr>
          <p:cNvSpPr>
            <a:spLocks noGrp="1"/>
          </p:cNvSpPr>
          <p:nvPr>
            <p:ph type="sldNum" sz="quarter" idx="18"/>
          </p:nvPr>
        </p:nvSpPr>
        <p:spPr/>
        <p:txBody>
          <a:bodyPr/>
          <a:lstStyle/>
          <a:p>
            <a:fld id="{8E309D18-5CEC-4165-B971-DC4DA761F26D}" type="slidenum">
              <a:rPr lang="ja-JP" altLang="en-US" smtClean="0"/>
              <a:pPr/>
              <a:t>18</a:t>
            </a:fld>
            <a:endParaRPr lang="ja-JP" altLang="en-US" dirty="0"/>
          </a:p>
        </p:txBody>
      </p:sp>
      <p:sp>
        <p:nvSpPr>
          <p:cNvPr id="4" name="タイトル 3">
            <a:extLst>
              <a:ext uri="{FF2B5EF4-FFF2-40B4-BE49-F238E27FC236}">
                <a16:creationId xmlns:a16="http://schemas.microsoft.com/office/drawing/2014/main" id="{32930CCA-FBF3-467C-08F4-899B29CF6B79}"/>
              </a:ext>
            </a:extLst>
          </p:cNvPr>
          <p:cNvSpPr>
            <a:spLocks noGrp="1"/>
          </p:cNvSpPr>
          <p:nvPr>
            <p:ph type="title"/>
          </p:nvPr>
        </p:nvSpPr>
        <p:spPr/>
        <p:txBody>
          <a:bodyPr>
            <a:normAutofit/>
          </a:bodyPr>
          <a:lstStyle/>
          <a:p>
            <a:pPr algn="ctr"/>
            <a:r>
              <a:rPr kumimoji="1" lang="en-US" altLang="ja-JP" sz="1800" dirty="0">
                <a:latin typeface="+mn-ea"/>
                <a:ea typeface="+mn-ea"/>
              </a:rPr>
              <a:t>3-2.RFP</a:t>
            </a:r>
            <a:r>
              <a:rPr kumimoji="1" lang="ja-JP" altLang="en-US" sz="1800" dirty="0">
                <a:latin typeface="+mn-ea"/>
                <a:ea typeface="+mn-ea"/>
              </a:rPr>
              <a:t>に関する弊社提供資料</a:t>
            </a:r>
            <a:r>
              <a:rPr kumimoji="1" lang="en-US" altLang="ja-JP" sz="1800" dirty="0">
                <a:latin typeface="+mn-ea"/>
                <a:ea typeface="+mn-ea"/>
              </a:rPr>
              <a:t>(</a:t>
            </a:r>
            <a:r>
              <a:rPr lang="en-US" altLang="ja-JP" sz="1800" dirty="0">
                <a:latin typeface="+mn-ea"/>
                <a:ea typeface="+mn-ea"/>
              </a:rPr>
              <a:t>RFP</a:t>
            </a:r>
            <a:r>
              <a:rPr lang="ja-JP" altLang="en-US" sz="1800" dirty="0">
                <a:latin typeface="+mn-ea"/>
                <a:ea typeface="+mn-ea"/>
              </a:rPr>
              <a:t>説明用</a:t>
            </a:r>
            <a:r>
              <a:rPr lang="en-US" altLang="ja-JP" sz="1800" dirty="0">
                <a:latin typeface="+mn-ea"/>
                <a:ea typeface="+mn-ea"/>
              </a:rPr>
              <a:t>)</a:t>
            </a:r>
            <a:endParaRPr kumimoji="1" lang="ja-JP" altLang="en-US" sz="1800" dirty="0">
              <a:latin typeface="+mn-ea"/>
              <a:ea typeface="+mn-ea"/>
            </a:endParaRPr>
          </a:p>
        </p:txBody>
      </p:sp>
      <p:graphicFrame>
        <p:nvGraphicFramePr>
          <p:cNvPr id="5" name="表 5">
            <a:extLst>
              <a:ext uri="{FF2B5EF4-FFF2-40B4-BE49-F238E27FC236}">
                <a16:creationId xmlns:a16="http://schemas.microsoft.com/office/drawing/2014/main" id="{E5FB1D60-E856-D634-E406-3A597F0F9BA1}"/>
              </a:ext>
            </a:extLst>
          </p:cNvPr>
          <p:cNvGraphicFramePr>
            <a:graphicFrameLocks noGrp="1"/>
          </p:cNvGraphicFramePr>
          <p:nvPr>
            <p:extLst>
              <p:ext uri="{D42A27DB-BD31-4B8C-83A1-F6EECF244321}">
                <p14:modId xmlns:p14="http://schemas.microsoft.com/office/powerpoint/2010/main" val="495226702"/>
              </p:ext>
            </p:extLst>
          </p:nvPr>
        </p:nvGraphicFramePr>
        <p:xfrm>
          <a:off x="1233377" y="1019125"/>
          <a:ext cx="9675628" cy="2551331"/>
        </p:xfrm>
        <a:graphic>
          <a:graphicData uri="http://schemas.openxmlformats.org/drawingml/2006/table">
            <a:tbl>
              <a:tblPr firstRow="1" bandRow="1">
                <a:tableStyleId>{93296810-A885-4BE3-A3E7-6D5BEEA58F35}</a:tableStyleId>
              </a:tblPr>
              <a:tblGrid>
                <a:gridCol w="1096355">
                  <a:extLst>
                    <a:ext uri="{9D8B030D-6E8A-4147-A177-3AD203B41FA5}">
                      <a16:colId xmlns:a16="http://schemas.microsoft.com/office/drawing/2014/main" val="2681986333"/>
                    </a:ext>
                  </a:extLst>
                </a:gridCol>
                <a:gridCol w="588397">
                  <a:extLst>
                    <a:ext uri="{9D8B030D-6E8A-4147-A177-3AD203B41FA5}">
                      <a16:colId xmlns:a16="http://schemas.microsoft.com/office/drawing/2014/main" val="2672396361"/>
                    </a:ext>
                  </a:extLst>
                </a:gridCol>
                <a:gridCol w="3114536">
                  <a:extLst>
                    <a:ext uri="{9D8B030D-6E8A-4147-A177-3AD203B41FA5}">
                      <a16:colId xmlns:a16="http://schemas.microsoft.com/office/drawing/2014/main" val="94626035"/>
                    </a:ext>
                  </a:extLst>
                </a:gridCol>
                <a:gridCol w="4876340">
                  <a:extLst>
                    <a:ext uri="{9D8B030D-6E8A-4147-A177-3AD203B41FA5}">
                      <a16:colId xmlns:a16="http://schemas.microsoft.com/office/drawing/2014/main" val="1445513295"/>
                    </a:ext>
                  </a:extLst>
                </a:gridCol>
              </a:tblGrid>
              <a:tr h="376704">
                <a:tc gridSpan="3">
                  <a:txBody>
                    <a:bodyPr/>
                    <a:lstStyle/>
                    <a:p>
                      <a:pPr algn="ctr"/>
                      <a:r>
                        <a:rPr kumimoji="1" lang="ja-JP" altLang="en-US" sz="1400" dirty="0"/>
                        <a:t>ドキュメント名</a:t>
                      </a:r>
                      <a:endParaRPr kumimoji="1" lang="ja-JP" altLang="en-US" sz="1400" dirty="0">
                        <a:latin typeface="Yu Gothic UI" panose="020B0500000000000000" pitchFamily="50" charset="-128"/>
                        <a:ea typeface="Yu Gothic UI" panose="020B0500000000000000" pitchFamily="50" charset="-128"/>
                      </a:endParaRPr>
                    </a:p>
                  </a:txBody>
                  <a:tcPr anchor="ctr">
                    <a:solidFill>
                      <a:srgbClr val="9D90A0"/>
                    </a:solidFill>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algn="ctr"/>
                      <a:r>
                        <a:rPr kumimoji="1" lang="ja-JP" altLang="en-US" sz="1400" dirty="0"/>
                        <a:t>説明</a:t>
                      </a:r>
                      <a:endParaRPr kumimoji="1" lang="ja-JP" altLang="en-US" sz="1400" dirty="0">
                        <a:latin typeface="Yu Gothic UI" panose="020B0500000000000000" pitchFamily="50" charset="-128"/>
                        <a:ea typeface="Yu Gothic UI" panose="020B0500000000000000" pitchFamily="50" charset="-128"/>
                      </a:endParaRPr>
                    </a:p>
                  </a:txBody>
                  <a:tcPr anchor="ctr">
                    <a:solidFill>
                      <a:srgbClr val="9D90A0"/>
                    </a:solidFill>
                  </a:tcPr>
                </a:tc>
                <a:extLst>
                  <a:ext uri="{0D108BD9-81ED-4DB2-BD59-A6C34878D82A}">
                    <a16:rowId xmlns:a16="http://schemas.microsoft.com/office/drawing/2014/main" val="1456887574"/>
                  </a:ext>
                </a:extLst>
              </a:tr>
              <a:tr h="526355">
                <a:tc>
                  <a:txBody>
                    <a:bodyPr/>
                    <a:lstStyle/>
                    <a:p>
                      <a:r>
                        <a:rPr kumimoji="1" lang="ja-JP" altLang="en-US" sz="1400" dirty="0"/>
                        <a:t>説明用資料</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t>本編</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00_【</a:t>
                      </a:r>
                      <a:r>
                        <a:rPr kumimoji="1" lang="ja-JP" altLang="en-US" sz="1400" dirty="0"/>
                        <a:t>提案依頼書</a:t>
                      </a:r>
                      <a:r>
                        <a:rPr kumimoji="1" lang="en-US" altLang="ja-JP" sz="1400" dirty="0"/>
                        <a:t>】 FA</a:t>
                      </a:r>
                      <a:r>
                        <a:rPr kumimoji="1" lang="ja-JP" altLang="en-US" sz="1400" dirty="0"/>
                        <a:t>サイト</a:t>
                      </a:r>
                      <a:r>
                        <a:rPr kumimoji="1" lang="en-US" altLang="ja-JP" sz="1400" dirty="0"/>
                        <a:t>_</a:t>
                      </a:r>
                      <a:r>
                        <a:rPr kumimoji="1" lang="ja-JP" altLang="en-US" sz="1400" dirty="0"/>
                        <a:t>保守運用</a:t>
                      </a:r>
                      <a:r>
                        <a:rPr kumimoji="1" lang="en-US" altLang="ja-JP" sz="1400" dirty="0"/>
                        <a:t>.pdf</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a:t>
                      </a:r>
                      <a:r>
                        <a:rPr kumimoji="1" lang="ja-JP" altLang="en-US" sz="1400" dirty="0"/>
                        <a:t>本書</a:t>
                      </a:r>
                      <a:r>
                        <a:rPr kumimoji="1" lang="en-US" altLang="ja-JP" sz="1400" dirty="0"/>
                        <a:t>)</a:t>
                      </a:r>
                      <a:r>
                        <a:rPr kumimoji="1" lang="ja-JP" altLang="en-US" sz="1400" dirty="0"/>
                        <a:t>本プロジェクトの説明および </a:t>
                      </a:r>
                      <a:r>
                        <a:rPr kumimoji="1" lang="en-US" altLang="ja-JP" sz="1400" dirty="0"/>
                        <a:t>RFP </a:t>
                      </a:r>
                      <a:r>
                        <a:rPr kumimoji="1" lang="ja-JP" altLang="en-US" sz="1400" dirty="0"/>
                        <a:t>に関する手順・諸条件を記載した資料</a:t>
                      </a:r>
                      <a:endParaRPr kumimoji="1" lang="ja-JP" altLang="en-US" sz="14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9790651"/>
                  </a:ext>
                </a:extLst>
              </a:tr>
              <a:tr h="376704">
                <a:tc>
                  <a:txBody>
                    <a:bodyPr/>
                    <a:lstStyle/>
                    <a:p>
                      <a:r>
                        <a:rPr kumimoji="1" lang="ja-JP" altLang="en-US" sz="1400" dirty="0"/>
                        <a:t>補足資料</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t>別紙</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lang="en-US" altLang="ja-JP" sz="1400" dirty="0"/>
                        <a:t>10_FA</a:t>
                      </a:r>
                      <a:r>
                        <a:rPr lang="ja-JP" altLang="en-US" sz="1400" dirty="0"/>
                        <a:t>サイト</a:t>
                      </a:r>
                      <a:r>
                        <a:rPr lang="en-US" altLang="ja-JP" sz="1400" dirty="0"/>
                        <a:t>_</a:t>
                      </a:r>
                      <a:r>
                        <a:rPr lang="ja-JP" altLang="en-US" sz="1400" dirty="0"/>
                        <a:t>ネットワーク・システム構成図</a:t>
                      </a:r>
                      <a:r>
                        <a:rPr lang="en-US" altLang="ja-JP" sz="1400" dirty="0"/>
                        <a:t>.xlsx</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latin typeface="+mn-ea"/>
                          <a:ea typeface="+mn-ea"/>
                        </a:rPr>
                        <a:t>ネットワーク、システム構成図、サーバ一覧表</a:t>
                      </a:r>
                      <a:endParaRPr kumimoji="1" lang="en-US" altLang="ja-JP" sz="1400" dirty="0">
                        <a:latin typeface="+mn-ea"/>
                        <a:ea typeface="+mn-ea"/>
                      </a:endParaRPr>
                    </a:p>
                  </a:txBody>
                  <a:tcPr/>
                </a:tc>
                <a:extLst>
                  <a:ext uri="{0D108BD9-81ED-4DB2-BD59-A6C34878D82A}">
                    <a16:rowId xmlns:a16="http://schemas.microsoft.com/office/drawing/2014/main" val="1226237852"/>
                  </a:ext>
                </a:extLst>
              </a:tr>
              <a:tr h="376704">
                <a:tc>
                  <a:txBody>
                    <a:bodyPr/>
                    <a:lstStyle/>
                    <a:p>
                      <a:endParaRPr kumimoji="1" lang="ja-JP" altLang="en-US" sz="1400">
                        <a:latin typeface="Yu Gothic UI" panose="020B0500000000000000" pitchFamily="50" charset="-128"/>
                        <a:ea typeface="Yu Gothic UI" panose="020B0500000000000000" pitchFamily="50" charset="-128"/>
                      </a:endParaRPr>
                    </a:p>
                  </a:txBody>
                  <a:tcPr/>
                </a:tc>
                <a:tc>
                  <a:txBody>
                    <a:bodyPr/>
                    <a:lstStyle/>
                    <a:p>
                      <a:r>
                        <a:rPr kumimoji="1" lang="ja-JP" altLang="en-US" sz="1400" dirty="0"/>
                        <a:t>別紙</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20_</a:t>
                      </a:r>
                      <a:r>
                        <a:rPr kumimoji="1" lang="ja-JP" altLang="en-US" sz="1400" dirty="0"/>
                        <a:t>設計書一式</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latin typeface="+mn-ea"/>
                          <a:ea typeface="+mn-ea"/>
                        </a:rPr>
                        <a:t>システム設計書一式</a:t>
                      </a:r>
                    </a:p>
                  </a:txBody>
                  <a:tcPr/>
                </a:tc>
                <a:extLst>
                  <a:ext uri="{0D108BD9-81ED-4DB2-BD59-A6C34878D82A}">
                    <a16:rowId xmlns:a16="http://schemas.microsoft.com/office/drawing/2014/main" val="2254073190"/>
                  </a:ext>
                </a:extLst>
              </a:tr>
              <a:tr h="376704">
                <a:tc>
                  <a:txBody>
                    <a:bodyPr/>
                    <a:lstStyle/>
                    <a:p>
                      <a:endParaRPr kumimoji="1" lang="ja-JP" altLang="en-US" sz="1400">
                        <a:latin typeface="Yu Gothic UI" panose="020B0500000000000000" pitchFamily="50" charset="-128"/>
                        <a:ea typeface="Yu Gothic UI" panose="020B0500000000000000"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t>別紙</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t>30_</a:t>
                      </a:r>
                      <a:r>
                        <a:rPr kumimoji="1" lang="ja-JP" altLang="en-US" sz="1400" dirty="0"/>
                        <a:t>操作マニュアル一式</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latin typeface="+mn-ea"/>
                          <a:ea typeface="+mn-ea"/>
                        </a:rPr>
                        <a:t>システム操作マニュアル一式</a:t>
                      </a:r>
                    </a:p>
                  </a:txBody>
                  <a:tcPr/>
                </a:tc>
                <a:extLst>
                  <a:ext uri="{0D108BD9-81ED-4DB2-BD59-A6C34878D82A}">
                    <a16:rowId xmlns:a16="http://schemas.microsoft.com/office/drawing/2014/main" val="2707754248"/>
                  </a:ext>
                </a:extLst>
              </a:tr>
              <a:tr h="376704">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n-lt"/>
                          <a:ea typeface="+mn-ea"/>
                          <a:cs typeface="+mn-cs"/>
                        </a:rPr>
                        <a:t>別紙</a:t>
                      </a:r>
                      <a:endParaRPr kumimoji="1" lang="ja-JP" altLang="en-US" sz="14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t>40_</a:t>
                      </a:r>
                      <a:r>
                        <a:rPr kumimoji="1" lang="en-US" altLang="zh-TW" sz="1400" b="0" i="0" u="none" strike="noStrike" kern="1200" cap="none" spc="0" normalizeH="0" baseline="0" noProof="0" dirty="0">
                          <a:ln>
                            <a:noFill/>
                          </a:ln>
                          <a:solidFill>
                            <a:srgbClr val="000000"/>
                          </a:solidFill>
                          <a:effectLst/>
                          <a:uLnTx/>
                          <a:uFillTx/>
                          <a:latin typeface="+mn-lt"/>
                          <a:ea typeface="+mn-ea"/>
                          <a:cs typeface="+mn-cs"/>
                        </a:rPr>
                        <a:t>(</a:t>
                      </a:r>
                      <a:r>
                        <a:rPr kumimoji="1" lang="zh-TW" altLang="en-US" sz="1400" b="0" i="0" u="none" strike="noStrike" kern="1200" cap="none" spc="0" normalizeH="0" baseline="0" noProof="0" dirty="0">
                          <a:ln>
                            <a:noFill/>
                          </a:ln>
                          <a:solidFill>
                            <a:srgbClr val="000000"/>
                          </a:solidFill>
                          <a:effectLst/>
                          <a:uLnTx/>
                          <a:uFillTx/>
                          <a:latin typeface="+mn-lt"/>
                          <a:ea typeface="+mn-ea"/>
                          <a:cs typeface="+mn-cs"/>
                        </a:rPr>
                        <a:t>共通</a:t>
                      </a:r>
                      <a:r>
                        <a:rPr kumimoji="1" lang="en-US" altLang="zh-TW" sz="1400" b="0" i="0" u="none" strike="noStrike" kern="1200" cap="none" spc="0" normalizeH="0" baseline="0" noProof="0" dirty="0">
                          <a:ln>
                            <a:noFill/>
                          </a:ln>
                          <a:solidFill>
                            <a:srgbClr val="000000"/>
                          </a:solidFill>
                          <a:effectLst/>
                          <a:uLnTx/>
                          <a:uFillTx/>
                          <a:latin typeface="+mn-lt"/>
                          <a:ea typeface="+mn-ea"/>
                          <a:cs typeface="+mn-cs"/>
                        </a:rPr>
                        <a:t>)</a:t>
                      </a:r>
                      <a:r>
                        <a:rPr kumimoji="1" lang="zh-TW" altLang="en-US" sz="1400" b="0" i="0" u="none" strike="noStrike" kern="1200" cap="none" spc="0" normalizeH="0" baseline="0" noProof="0" dirty="0">
                          <a:ln>
                            <a:noFill/>
                          </a:ln>
                          <a:solidFill>
                            <a:srgbClr val="000000"/>
                          </a:solidFill>
                          <a:effectLst/>
                          <a:uLnTx/>
                          <a:uFillTx/>
                          <a:latin typeface="+mn-lt"/>
                          <a:ea typeface="+mn-ea"/>
                          <a:cs typeface="+mn-cs"/>
                        </a:rPr>
                        <a:t>非機能要件定義書</a:t>
                      </a:r>
                      <a:r>
                        <a:rPr kumimoji="1" lang="en-US" altLang="ja-JP" sz="1400" b="0" i="0" u="none" strike="noStrike" kern="1200" cap="none" spc="0" normalizeH="0" baseline="0" noProof="0" dirty="0">
                          <a:ln>
                            <a:noFill/>
                          </a:ln>
                          <a:solidFill>
                            <a:srgbClr val="000000"/>
                          </a:solidFill>
                          <a:effectLst/>
                          <a:uLnTx/>
                          <a:uFillTx/>
                          <a:latin typeface="+mn-lt"/>
                          <a:ea typeface="+mn-ea"/>
                          <a:cs typeface="+mn-cs"/>
                        </a:rPr>
                        <a:t>.pptx</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zh-TW" altLang="en-US" sz="1400" dirty="0">
                          <a:latin typeface="+mn-ea"/>
                          <a:ea typeface="+mn-ea"/>
                        </a:rPr>
                        <a:t>非機能要件定義書</a:t>
                      </a:r>
                      <a:endParaRPr kumimoji="1" lang="en-US" altLang="ja-JP" sz="1400" dirty="0">
                        <a:latin typeface="+mn-ea"/>
                        <a:ea typeface="+mn-ea"/>
                      </a:endParaRPr>
                    </a:p>
                  </a:txBody>
                  <a:tcPr/>
                </a:tc>
                <a:extLst>
                  <a:ext uri="{0D108BD9-81ED-4DB2-BD59-A6C34878D82A}">
                    <a16:rowId xmlns:a16="http://schemas.microsoft.com/office/drawing/2014/main" val="1915143191"/>
                  </a:ext>
                </a:extLst>
              </a:tr>
            </a:tbl>
          </a:graphicData>
        </a:graphic>
      </p:graphicFrame>
    </p:spTree>
    <p:extLst>
      <p:ext uri="{BB962C8B-B14F-4D97-AF65-F5344CB8AC3E}">
        <p14:creationId xmlns:p14="http://schemas.microsoft.com/office/powerpoint/2010/main" val="3860104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D0F12564-64DB-74B9-E27A-89084D3DCC44}"/>
              </a:ext>
            </a:extLst>
          </p:cNvPr>
          <p:cNvSpPr>
            <a:spLocks noGrp="1"/>
          </p:cNvSpPr>
          <p:nvPr>
            <p:ph type="sldNum" sz="quarter" idx="18"/>
          </p:nvPr>
        </p:nvSpPr>
        <p:spPr/>
        <p:txBody>
          <a:bodyPr/>
          <a:lstStyle/>
          <a:p>
            <a:fld id="{8E309D18-5CEC-4165-B971-DC4DA761F26D}" type="slidenum">
              <a:rPr lang="ja-JP" altLang="en-US" smtClean="0"/>
              <a:pPr/>
              <a:t>19</a:t>
            </a:fld>
            <a:endParaRPr lang="ja-JP" altLang="en-US" dirty="0"/>
          </a:p>
        </p:txBody>
      </p:sp>
      <p:sp>
        <p:nvSpPr>
          <p:cNvPr id="4" name="タイトル 3">
            <a:extLst>
              <a:ext uri="{FF2B5EF4-FFF2-40B4-BE49-F238E27FC236}">
                <a16:creationId xmlns:a16="http://schemas.microsoft.com/office/drawing/2014/main" id="{CD33FE81-7590-2421-8C2E-A7EADD12285F}"/>
              </a:ext>
            </a:extLst>
          </p:cNvPr>
          <p:cNvSpPr>
            <a:spLocks noGrp="1"/>
          </p:cNvSpPr>
          <p:nvPr>
            <p:ph type="title"/>
          </p:nvPr>
        </p:nvSpPr>
        <p:spPr/>
        <p:txBody>
          <a:bodyPr>
            <a:normAutofit/>
          </a:bodyPr>
          <a:lstStyle/>
          <a:p>
            <a:pPr algn="ctr"/>
            <a:r>
              <a:rPr kumimoji="1" lang="en-US" altLang="ja-JP" sz="1800" dirty="0">
                <a:latin typeface="+mn-ea"/>
                <a:ea typeface="+mn-ea"/>
              </a:rPr>
              <a:t>3-2.RFP</a:t>
            </a:r>
            <a:r>
              <a:rPr kumimoji="1" lang="ja-JP" altLang="en-US" sz="1800" dirty="0">
                <a:latin typeface="+mn-ea"/>
                <a:ea typeface="+mn-ea"/>
              </a:rPr>
              <a:t>に</a:t>
            </a:r>
            <a:r>
              <a:rPr kumimoji="1" lang="ja-JP" altLang="en-US" sz="1800" dirty="0">
                <a:latin typeface="游ゴシック 本文"/>
              </a:rPr>
              <a:t>関する弊社提供資料</a:t>
            </a:r>
            <a:r>
              <a:rPr kumimoji="1" lang="en-US" altLang="ja-JP" sz="1800" dirty="0">
                <a:latin typeface="游ゴシック 本文"/>
              </a:rPr>
              <a:t>(</a:t>
            </a:r>
            <a:r>
              <a:rPr kumimoji="1" lang="ja-JP" altLang="en-US" sz="1800" dirty="0">
                <a:latin typeface="游ゴシック 本文"/>
              </a:rPr>
              <a:t>回答</a:t>
            </a:r>
            <a:r>
              <a:rPr lang="ja-JP" altLang="en-US" sz="1800" dirty="0">
                <a:latin typeface="游ゴシック 本文"/>
              </a:rPr>
              <a:t>用</a:t>
            </a:r>
            <a:r>
              <a:rPr lang="en-US" altLang="ja-JP" sz="1800" dirty="0">
                <a:latin typeface="游ゴシック 本文"/>
              </a:rPr>
              <a:t>)</a:t>
            </a:r>
            <a:endParaRPr kumimoji="1" lang="ja-JP" altLang="en-US" sz="1800" dirty="0">
              <a:latin typeface="游ゴシック 本文"/>
            </a:endParaRPr>
          </a:p>
        </p:txBody>
      </p:sp>
      <p:graphicFrame>
        <p:nvGraphicFramePr>
          <p:cNvPr id="8" name="表 7">
            <a:extLst>
              <a:ext uri="{FF2B5EF4-FFF2-40B4-BE49-F238E27FC236}">
                <a16:creationId xmlns:a16="http://schemas.microsoft.com/office/drawing/2014/main" id="{7FC51FBE-69F9-EEED-D463-611C2A4A4A1E}"/>
              </a:ext>
            </a:extLst>
          </p:cNvPr>
          <p:cNvGraphicFramePr>
            <a:graphicFrameLocks noGrp="1"/>
          </p:cNvGraphicFramePr>
          <p:nvPr>
            <p:extLst>
              <p:ext uri="{D42A27DB-BD31-4B8C-83A1-F6EECF244321}">
                <p14:modId xmlns:p14="http://schemas.microsoft.com/office/powerpoint/2010/main" val="1431260742"/>
              </p:ext>
            </p:extLst>
          </p:nvPr>
        </p:nvGraphicFramePr>
        <p:xfrm>
          <a:off x="1233376" y="1015755"/>
          <a:ext cx="9675627" cy="1981350"/>
        </p:xfrm>
        <a:graphic>
          <a:graphicData uri="http://schemas.openxmlformats.org/drawingml/2006/table">
            <a:tbl>
              <a:tblPr firstRow="1" bandRow="1">
                <a:tableStyleId>{93296810-A885-4BE3-A3E7-6D5BEEA58F35}</a:tableStyleId>
              </a:tblPr>
              <a:tblGrid>
                <a:gridCol w="1319819">
                  <a:extLst>
                    <a:ext uri="{9D8B030D-6E8A-4147-A177-3AD203B41FA5}">
                      <a16:colId xmlns:a16="http://schemas.microsoft.com/office/drawing/2014/main" val="2681986333"/>
                    </a:ext>
                  </a:extLst>
                </a:gridCol>
                <a:gridCol w="3301340">
                  <a:extLst>
                    <a:ext uri="{9D8B030D-6E8A-4147-A177-3AD203B41FA5}">
                      <a16:colId xmlns:a16="http://schemas.microsoft.com/office/drawing/2014/main" val="94626035"/>
                    </a:ext>
                  </a:extLst>
                </a:gridCol>
                <a:gridCol w="5054468">
                  <a:extLst>
                    <a:ext uri="{9D8B030D-6E8A-4147-A177-3AD203B41FA5}">
                      <a16:colId xmlns:a16="http://schemas.microsoft.com/office/drawing/2014/main" val="1445513295"/>
                    </a:ext>
                  </a:extLst>
                </a:gridCol>
              </a:tblGrid>
              <a:tr h="396270">
                <a:tc gridSpan="2">
                  <a:txBody>
                    <a:bodyPr/>
                    <a:lstStyle/>
                    <a:p>
                      <a:pPr algn="ctr"/>
                      <a:r>
                        <a:rPr kumimoji="1" lang="ja-JP" altLang="en-US" sz="1400" dirty="0"/>
                        <a:t>ドキュメント名</a:t>
                      </a:r>
                      <a:endParaRPr kumimoji="1" lang="ja-JP" altLang="en-US" sz="1400" dirty="0">
                        <a:latin typeface="Yu Gothic UI" panose="020B0500000000000000" pitchFamily="50" charset="-128"/>
                        <a:ea typeface="Yu Gothic UI" panose="020B0500000000000000" pitchFamily="50" charset="-128"/>
                      </a:endParaRPr>
                    </a:p>
                  </a:txBody>
                  <a:tcPr anchor="ctr">
                    <a:solidFill>
                      <a:srgbClr val="9D90A0"/>
                    </a:solidFill>
                  </a:tcPr>
                </a:tc>
                <a:tc hMerge="1">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pPr algn="ctr"/>
                      <a:r>
                        <a:rPr kumimoji="1" lang="ja-JP" altLang="en-US" sz="1400" dirty="0"/>
                        <a:t>説明</a:t>
                      </a:r>
                      <a:endParaRPr kumimoji="1" lang="ja-JP" altLang="en-US" sz="1400" dirty="0">
                        <a:latin typeface="Yu Gothic UI" panose="020B0500000000000000" pitchFamily="50" charset="-128"/>
                        <a:ea typeface="Yu Gothic UI" panose="020B0500000000000000" pitchFamily="50" charset="-128"/>
                      </a:endParaRPr>
                    </a:p>
                  </a:txBody>
                  <a:tcPr anchor="ctr">
                    <a:solidFill>
                      <a:srgbClr val="9D90A0"/>
                    </a:solidFill>
                  </a:tcPr>
                </a:tc>
                <a:extLst>
                  <a:ext uri="{0D108BD9-81ED-4DB2-BD59-A6C34878D82A}">
                    <a16:rowId xmlns:a16="http://schemas.microsoft.com/office/drawing/2014/main" val="1456887574"/>
                  </a:ext>
                </a:extLst>
              </a:tr>
              <a:tr h="396270">
                <a:tc>
                  <a:txBody>
                    <a:bodyPr/>
                    <a:lstStyle/>
                    <a:p>
                      <a:r>
                        <a:rPr kumimoji="1" lang="ja-JP" altLang="en-US" sz="1400" dirty="0"/>
                        <a:t>回答用シート</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101_Q&amp;A</a:t>
                      </a:r>
                      <a:r>
                        <a:rPr kumimoji="1" lang="ja-JP" altLang="en-US" sz="1400" dirty="0"/>
                        <a:t>表</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RFP </a:t>
                      </a:r>
                      <a:r>
                        <a:rPr kumimoji="1" lang="ja-JP" altLang="en-US" sz="1400" dirty="0"/>
                        <a:t>に回答して頂く際、確認や質疑応答を取り交わす資料</a:t>
                      </a:r>
                      <a:endParaRPr kumimoji="1" lang="ja-JP" altLang="en-US" sz="14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9790651"/>
                  </a:ext>
                </a:extLst>
              </a:tr>
              <a:tr h="396270">
                <a:tc>
                  <a:txBody>
                    <a:bodyPr/>
                    <a:lstStyle/>
                    <a:p>
                      <a:endParaRPr kumimoji="1" lang="ja-JP" altLang="en-US" sz="1400">
                        <a:latin typeface="Yu Gothic UI" panose="020B0500000000000000" pitchFamily="50" charset="-128"/>
                        <a:ea typeface="Yu Gothic UI" panose="020B0500000000000000" pitchFamily="50" charset="-128"/>
                      </a:endParaRPr>
                    </a:p>
                  </a:txBody>
                  <a:tcPr/>
                </a:tc>
                <a:tc>
                  <a:txBody>
                    <a:bodyPr/>
                    <a:lstStyle/>
                    <a:p>
                      <a:r>
                        <a:rPr kumimoji="1" lang="en-US" altLang="ja-JP" sz="1400" dirty="0"/>
                        <a:t>102_(</a:t>
                      </a:r>
                      <a:r>
                        <a:rPr kumimoji="1" lang="ja-JP" altLang="en-US" sz="1400" dirty="0"/>
                        <a:t>回答用</a:t>
                      </a:r>
                      <a:r>
                        <a:rPr kumimoji="1" lang="en-US" altLang="ja-JP" sz="1400" dirty="0"/>
                        <a:t>)</a:t>
                      </a:r>
                      <a:r>
                        <a:rPr kumimoji="1" lang="ja-JP" altLang="en-US" sz="1400" dirty="0"/>
                        <a:t>費用見積フォーマット</a:t>
                      </a:r>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r>
                        <a:rPr kumimoji="1" lang="ja-JP" altLang="en-US" sz="1400" dirty="0"/>
                        <a:t>費用の内訳を記載する資料</a:t>
                      </a:r>
                      <a:endParaRPr kumimoji="1" lang="ja-JP" altLang="en-US" sz="14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1226237852"/>
                  </a:ext>
                </a:extLst>
              </a:tr>
              <a:tr h="396270">
                <a:tc>
                  <a:txBody>
                    <a:bodyPr/>
                    <a:lstStyle/>
                    <a:p>
                      <a:endParaRPr kumimoji="1" lang="ja-JP" altLang="en-US" sz="1400">
                        <a:latin typeface="Yu Gothic UI" panose="020B0500000000000000" pitchFamily="50" charset="-128"/>
                        <a:ea typeface="Yu Gothic UI" panose="020B0500000000000000" pitchFamily="50" charset="-128"/>
                      </a:endParaRPr>
                    </a:p>
                  </a:txBody>
                  <a:tcPr/>
                </a:tc>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2254073190"/>
                  </a:ext>
                </a:extLst>
              </a:tr>
              <a:tr h="396270">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tc>
                  <a:txBody>
                    <a:bodyPr/>
                    <a:lstStyle/>
                    <a:p>
                      <a:endParaRPr kumimoji="1" lang="ja-JP" altLang="en-US" sz="1400" dirty="0">
                        <a:latin typeface="Yu Gothic UI" panose="020B0500000000000000" pitchFamily="50" charset="-128"/>
                        <a:ea typeface="Yu Gothic UI" panose="020B0500000000000000" pitchFamily="50" charset="-128"/>
                      </a:endParaRPr>
                    </a:p>
                  </a:txBody>
                  <a:tcPr/>
                </a:tc>
                <a:extLst>
                  <a:ext uri="{0D108BD9-81ED-4DB2-BD59-A6C34878D82A}">
                    <a16:rowId xmlns:a16="http://schemas.microsoft.com/office/drawing/2014/main" val="2707754248"/>
                  </a:ext>
                </a:extLst>
              </a:tr>
            </a:tbl>
          </a:graphicData>
        </a:graphic>
      </p:graphicFrame>
    </p:spTree>
    <p:extLst>
      <p:ext uri="{BB962C8B-B14F-4D97-AF65-F5344CB8AC3E}">
        <p14:creationId xmlns:p14="http://schemas.microsoft.com/office/powerpoint/2010/main" val="3627225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8">
            <a:extLst>
              <a:ext uri="{FF2B5EF4-FFF2-40B4-BE49-F238E27FC236}">
                <a16:creationId xmlns:a16="http://schemas.microsoft.com/office/drawing/2014/main" id="{C6408CEF-13A8-04A4-574B-1DB1F3032AF1}"/>
              </a:ext>
            </a:extLst>
          </p:cNvPr>
          <p:cNvSpPr>
            <a:spLocks noGrp="1"/>
          </p:cNvSpPr>
          <p:nvPr>
            <p:ph type="body" sz="quarter" idx="14"/>
          </p:nvPr>
        </p:nvSpPr>
        <p:spPr/>
        <p:txBody>
          <a:bodyPr/>
          <a:lstStyle/>
          <a:p>
            <a:r>
              <a:rPr lang="ja-JP" altLang="en-US" dirty="0"/>
              <a:t>　</a:t>
            </a:r>
          </a:p>
        </p:txBody>
      </p:sp>
      <p:sp>
        <p:nvSpPr>
          <p:cNvPr id="6" name="スライド番号プレースホルダー 5">
            <a:extLst>
              <a:ext uri="{FF2B5EF4-FFF2-40B4-BE49-F238E27FC236}">
                <a16:creationId xmlns:a16="http://schemas.microsoft.com/office/drawing/2014/main" id="{200A0CA5-635D-BC12-85D1-1D579744AC44}"/>
              </a:ext>
            </a:extLst>
          </p:cNvPr>
          <p:cNvSpPr>
            <a:spLocks noGrp="1"/>
          </p:cNvSpPr>
          <p:nvPr>
            <p:ph type="sldNum" sz="quarter" idx="18"/>
          </p:nvPr>
        </p:nvSpPr>
        <p:spPr/>
        <p:txBody>
          <a:bodyPr/>
          <a:lstStyle/>
          <a:p>
            <a:fld id="{8E309D18-5CEC-4165-B971-DC4DA761F26D}" type="slidenum">
              <a:rPr lang="ja-JP" altLang="en-US" smtClean="0"/>
              <a:pPr/>
              <a:t>2</a:t>
            </a:fld>
            <a:endParaRPr lang="ja-JP" altLang="en-US" dirty="0"/>
          </a:p>
        </p:txBody>
      </p:sp>
      <p:sp>
        <p:nvSpPr>
          <p:cNvPr id="8" name="タイトル 7">
            <a:extLst>
              <a:ext uri="{FF2B5EF4-FFF2-40B4-BE49-F238E27FC236}">
                <a16:creationId xmlns:a16="http://schemas.microsoft.com/office/drawing/2014/main" id="{27F8DE7F-2075-D552-51A9-3B0CAE84F238}"/>
              </a:ext>
            </a:extLst>
          </p:cNvPr>
          <p:cNvSpPr>
            <a:spLocks noGrp="1"/>
          </p:cNvSpPr>
          <p:nvPr>
            <p:ph type="title"/>
          </p:nvPr>
        </p:nvSpPr>
        <p:spPr/>
        <p:txBody>
          <a:bodyPr>
            <a:normAutofit/>
          </a:bodyPr>
          <a:lstStyle/>
          <a:p>
            <a:pPr algn="ctr"/>
            <a:r>
              <a:rPr lang="ja-JP" altLang="en-US" dirty="0"/>
              <a:t>目次</a:t>
            </a:r>
          </a:p>
        </p:txBody>
      </p:sp>
      <p:graphicFrame>
        <p:nvGraphicFramePr>
          <p:cNvPr id="2" name="Group 155">
            <a:extLst>
              <a:ext uri="{FF2B5EF4-FFF2-40B4-BE49-F238E27FC236}">
                <a16:creationId xmlns:a16="http://schemas.microsoft.com/office/drawing/2014/main" id="{2ACF0D3A-A28B-DD2C-7914-3CD76C3AF345}"/>
              </a:ext>
            </a:extLst>
          </p:cNvPr>
          <p:cNvGraphicFramePr>
            <a:graphicFrameLocks/>
          </p:cNvGraphicFramePr>
          <p:nvPr>
            <p:extLst>
              <p:ext uri="{D42A27DB-BD31-4B8C-83A1-F6EECF244321}">
                <p14:modId xmlns:p14="http://schemas.microsoft.com/office/powerpoint/2010/main" val="401970860"/>
              </p:ext>
            </p:extLst>
          </p:nvPr>
        </p:nvGraphicFramePr>
        <p:xfrm>
          <a:off x="1908924" y="1340768"/>
          <a:ext cx="4187077" cy="4859340"/>
        </p:xfrm>
        <a:graphic>
          <a:graphicData uri="http://schemas.openxmlformats.org/drawingml/2006/table">
            <a:tbl>
              <a:tblPr/>
              <a:tblGrid>
                <a:gridCol w="4187077">
                  <a:extLst>
                    <a:ext uri="{9D8B030D-6E8A-4147-A177-3AD203B41FA5}">
                      <a16:colId xmlns:a16="http://schemas.microsoft.com/office/drawing/2014/main" val="20000"/>
                    </a:ext>
                  </a:extLst>
                </a:gridCol>
              </a:tblGrid>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1. </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はじめに</a:t>
                      </a:r>
                      <a:endParaRPr kumimoji="1" lang="zh-TW"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72242167"/>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1-1. </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機密保持</a:t>
                      </a: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7700022"/>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1-2. </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用語集</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7695470"/>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2.</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提案依頼の概要・前提条件</a:t>
                      </a: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6810042"/>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2-1.</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本プロジェクトの背景と目的</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33993941"/>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2-2.</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プロジェクトスコープ</a:t>
                      </a:r>
                      <a:endPar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25999525"/>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2-3.</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プロジェクトスケジュール</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05540394"/>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17859971"/>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37193029"/>
                  </a:ext>
                </a:extLst>
              </a:tr>
            </a:tbl>
          </a:graphicData>
        </a:graphic>
      </p:graphicFrame>
      <p:graphicFrame>
        <p:nvGraphicFramePr>
          <p:cNvPr id="3" name="Group 155">
            <a:extLst>
              <a:ext uri="{FF2B5EF4-FFF2-40B4-BE49-F238E27FC236}">
                <a16:creationId xmlns:a16="http://schemas.microsoft.com/office/drawing/2014/main" id="{0E19D36F-46CE-F5B7-6BDB-74B06ED81B8A}"/>
              </a:ext>
            </a:extLst>
          </p:cNvPr>
          <p:cNvGraphicFramePr>
            <a:graphicFrameLocks/>
          </p:cNvGraphicFramePr>
          <p:nvPr>
            <p:extLst>
              <p:ext uri="{D42A27DB-BD31-4B8C-83A1-F6EECF244321}">
                <p14:modId xmlns:p14="http://schemas.microsoft.com/office/powerpoint/2010/main" val="587130150"/>
              </p:ext>
            </p:extLst>
          </p:nvPr>
        </p:nvGraphicFramePr>
        <p:xfrm>
          <a:off x="6232444" y="1340768"/>
          <a:ext cx="4187077" cy="4859340"/>
        </p:xfrm>
        <a:graphic>
          <a:graphicData uri="http://schemas.openxmlformats.org/drawingml/2006/table">
            <a:tbl>
              <a:tblPr/>
              <a:tblGrid>
                <a:gridCol w="4187077">
                  <a:extLst>
                    <a:ext uri="{9D8B030D-6E8A-4147-A177-3AD203B41FA5}">
                      <a16:colId xmlns:a16="http://schemas.microsoft.com/office/drawing/2014/main" val="20000"/>
                    </a:ext>
                  </a:extLst>
                </a:gridCol>
              </a:tblGrid>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3.</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zh-TW"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提案依頼事項 </a:t>
                      </a:r>
                      <a:endPar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01336355"/>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3-1.</a:t>
                      </a:r>
                      <a:r>
                        <a:rPr kumimoji="1" lang="zh-TW"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提案依頼事項 </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01162091"/>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3-2. RFP</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に関する弊社提供資料</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22790104"/>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3-3.</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スケジュール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プロジェクト体制</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7491913"/>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28800930"/>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4.</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提案手続き</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2596853"/>
                  </a:ext>
                </a:extLst>
              </a:tr>
              <a:tr h="48593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a:t>
                      </a: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4-1.</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提案手続き 詳細</a:t>
                      </a: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9949679"/>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58611997"/>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r>
                        <a:rPr kumimoji="1" lang="en-US" altLang="ja-JP"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Appendix</a:t>
                      </a:r>
                      <a:r>
                        <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rPr>
                        <a:t>　：　</a:t>
                      </a: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79984332"/>
                  </a:ext>
                </a:extLst>
              </a:tr>
              <a:tr h="485934">
                <a:tc>
                  <a:txBody>
                    <a:bodyPr/>
                    <a:lstStyle/>
                    <a:p>
                      <a:pPr marL="0" marR="0" lvl="0" indent="0" algn="l"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3587750" algn="r"/>
                        </a:tabLst>
                        <a:defRPr/>
                      </a:pPr>
                      <a:endParaRPr kumimoji="1" lang="ja-JP" altLang="en-US" sz="14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Arial" charset="0"/>
                      </a:endParaRPr>
                    </a:p>
                  </a:txBody>
                  <a:tcPr marL="72004" marR="72004" marT="71990" marB="71990" anchor="ctr" horzOverflow="overflow">
                    <a:lnL cap="flat">
                      <a:noFill/>
                    </a:lnL>
                    <a:lnR cap="flat">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8686648"/>
                  </a:ext>
                </a:extLst>
              </a:tr>
            </a:tbl>
          </a:graphicData>
        </a:graphic>
      </p:graphicFrame>
    </p:spTree>
    <p:extLst>
      <p:ext uri="{BB962C8B-B14F-4D97-AF65-F5344CB8AC3E}">
        <p14:creationId xmlns:p14="http://schemas.microsoft.com/office/powerpoint/2010/main" val="3401491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543A6-D41C-49D9-98BC-BCBD9F9A84FE}"/>
              </a:ext>
            </a:extLst>
          </p:cNvPr>
          <p:cNvSpPr>
            <a:spLocks noGrp="1"/>
          </p:cNvSpPr>
          <p:nvPr>
            <p:ph type="title"/>
          </p:nvPr>
        </p:nvSpPr>
        <p:spPr>
          <a:xfrm>
            <a:off x="1177200" y="1036"/>
            <a:ext cx="9254179" cy="688436"/>
          </a:xfrm>
        </p:spPr>
        <p:txBody>
          <a:bodyPr/>
          <a:lstStyle/>
          <a:p>
            <a:pPr algn="ctr"/>
            <a:r>
              <a:rPr kumimoji="1" lang="en-US" altLang="ja-JP" dirty="0">
                <a:latin typeface="+mn-ea"/>
                <a:ea typeface="+mn-ea"/>
              </a:rPr>
              <a:t>3-3.</a:t>
            </a:r>
            <a:r>
              <a:rPr kumimoji="1" lang="ja-JP" altLang="en-US" dirty="0">
                <a:latin typeface="+mn-ea"/>
                <a:ea typeface="+mn-ea"/>
              </a:rPr>
              <a:t>スケジュール　</a:t>
            </a:r>
            <a:r>
              <a:rPr kumimoji="1" lang="en-US" altLang="ja-JP" dirty="0">
                <a:latin typeface="+mn-ea"/>
                <a:ea typeface="+mn-ea"/>
              </a:rPr>
              <a:t>/</a:t>
            </a:r>
            <a:r>
              <a:rPr kumimoji="1" lang="ja-JP" altLang="en-US" dirty="0">
                <a:latin typeface="+mn-ea"/>
                <a:ea typeface="+mn-ea"/>
              </a:rPr>
              <a:t>プロジェクト体制</a:t>
            </a:r>
            <a:endParaRPr kumimoji="1" lang="ja-JP" altLang="en-US" dirty="0"/>
          </a:p>
        </p:txBody>
      </p:sp>
      <p:sp>
        <p:nvSpPr>
          <p:cNvPr id="5" name="Text Placeholder 4">
            <a:extLst>
              <a:ext uri="{FF2B5EF4-FFF2-40B4-BE49-F238E27FC236}">
                <a16:creationId xmlns:a16="http://schemas.microsoft.com/office/drawing/2014/main" id="{A366B559-8CC0-4B55-B38E-C6F56370537C}"/>
              </a:ext>
            </a:extLst>
          </p:cNvPr>
          <p:cNvSpPr>
            <a:spLocks noGrp="1"/>
          </p:cNvSpPr>
          <p:nvPr>
            <p:ph type="body" sz="quarter" idx="15"/>
          </p:nvPr>
        </p:nvSpPr>
        <p:spPr/>
        <p:txBody>
          <a:bodyPr/>
          <a:lstStyle/>
          <a:p>
            <a:endParaRPr kumimoji="1" lang="ja-JP" altLang="en-US" dirty="0"/>
          </a:p>
        </p:txBody>
      </p:sp>
      <p:sp>
        <p:nvSpPr>
          <p:cNvPr id="6" name="Slide Number Placeholder 5">
            <a:extLst>
              <a:ext uri="{FF2B5EF4-FFF2-40B4-BE49-F238E27FC236}">
                <a16:creationId xmlns:a16="http://schemas.microsoft.com/office/drawing/2014/main" id="{F31C6843-85F5-4D45-9657-286871C2A9AC}"/>
              </a:ext>
            </a:extLst>
          </p:cNvPr>
          <p:cNvSpPr>
            <a:spLocks noGrp="1"/>
          </p:cNvSpPr>
          <p:nvPr>
            <p:ph type="sldNum" sz="quarter" idx="22"/>
          </p:nvPr>
        </p:nvSpPr>
        <p:spPr/>
        <p:txBody>
          <a:bodyPr/>
          <a:lstStyle/>
          <a:p>
            <a:pPr algn="r" defTabSz="914400"/>
            <a:fld id="{FE1C4BCE-2E77-4226-B375-D90E70797D62}" type="slidenum">
              <a:rPr lang="en-US" altLang="ja-JP" smtClean="0"/>
              <a:pPr algn="r" defTabSz="914400"/>
              <a:t>20</a:t>
            </a:fld>
            <a:endParaRPr lang="ja-JP" altLang="en-US" dirty="0"/>
          </a:p>
        </p:txBody>
      </p:sp>
      <p:sp>
        <p:nvSpPr>
          <p:cNvPr id="14" name="Arrow: Pentagon 46">
            <a:extLst>
              <a:ext uri="{FF2B5EF4-FFF2-40B4-BE49-F238E27FC236}">
                <a16:creationId xmlns:a16="http://schemas.microsoft.com/office/drawing/2014/main" id="{C579B286-A2AF-8381-1701-D2BF0EFB71EF}"/>
              </a:ext>
            </a:extLst>
          </p:cNvPr>
          <p:cNvSpPr/>
          <p:nvPr/>
        </p:nvSpPr>
        <p:spPr bwMode="gray">
          <a:xfrm>
            <a:off x="3030369" y="1709201"/>
            <a:ext cx="817142"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中村さんレビュー１回目</a:t>
            </a:r>
            <a:endParaRPr lang="en-US" altLang="ja-JP" sz="900" dirty="0">
              <a:latin typeface="Yu Gothic UI" panose="020B0500000000000000" pitchFamily="34" charset="-128"/>
              <a:ea typeface="Yu Gothic UI" panose="020B0500000000000000" pitchFamily="34" charset="-128"/>
            </a:endParaRPr>
          </a:p>
        </p:txBody>
      </p:sp>
      <p:sp>
        <p:nvSpPr>
          <p:cNvPr id="15" name="Arrow: Pentagon 46">
            <a:extLst>
              <a:ext uri="{FF2B5EF4-FFF2-40B4-BE49-F238E27FC236}">
                <a16:creationId xmlns:a16="http://schemas.microsoft.com/office/drawing/2014/main" id="{C4E19CDA-8FEB-4FAA-E7BD-115C00758069}"/>
              </a:ext>
            </a:extLst>
          </p:cNvPr>
          <p:cNvSpPr/>
          <p:nvPr/>
        </p:nvSpPr>
        <p:spPr bwMode="gray">
          <a:xfrm>
            <a:off x="3847511" y="1709201"/>
            <a:ext cx="817142"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中村さんレビュー</a:t>
            </a:r>
            <a:r>
              <a:rPr lang="en-US" altLang="ja-JP" sz="900" dirty="0">
                <a:latin typeface="Yu Gothic UI" panose="020B0500000000000000" pitchFamily="34" charset="-128"/>
                <a:ea typeface="Yu Gothic UI" panose="020B0500000000000000" pitchFamily="34" charset="-128"/>
              </a:rPr>
              <a:t>2</a:t>
            </a:r>
            <a:r>
              <a:rPr lang="ja-JP" altLang="en-US" sz="900" dirty="0">
                <a:latin typeface="Yu Gothic UI" panose="020B0500000000000000" pitchFamily="34" charset="-128"/>
                <a:ea typeface="Yu Gothic UI" panose="020B0500000000000000" pitchFamily="34" charset="-128"/>
              </a:rPr>
              <a:t>回目</a:t>
            </a:r>
            <a:endParaRPr lang="en-US" altLang="ja-JP" sz="900" dirty="0">
              <a:latin typeface="Yu Gothic UI" panose="020B0500000000000000" pitchFamily="34" charset="-128"/>
              <a:ea typeface="Yu Gothic UI" panose="020B0500000000000000" pitchFamily="34" charset="-128"/>
            </a:endParaRPr>
          </a:p>
        </p:txBody>
      </p:sp>
      <p:sp>
        <p:nvSpPr>
          <p:cNvPr id="24" name="Arrow: Pentagon 46">
            <a:extLst>
              <a:ext uri="{FF2B5EF4-FFF2-40B4-BE49-F238E27FC236}">
                <a16:creationId xmlns:a16="http://schemas.microsoft.com/office/drawing/2014/main" id="{6145453D-6991-D2F0-0BB4-434E4B498A5D}"/>
              </a:ext>
            </a:extLst>
          </p:cNvPr>
          <p:cNvSpPr/>
          <p:nvPr/>
        </p:nvSpPr>
        <p:spPr bwMode="gray">
          <a:xfrm>
            <a:off x="9684972" y="895108"/>
            <a:ext cx="805474"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US" altLang="ja-JP" sz="900" dirty="0">
                <a:latin typeface="Yu Gothic UI" panose="020B0500000000000000" pitchFamily="34" charset="-128"/>
                <a:ea typeface="Yu Gothic UI" panose="020B0500000000000000" pitchFamily="34" charset="-128"/>
              </a:rPr>
              <a:t>MELCO</a:t>
            </a:r>
            <a:r>
              <a:rPr lang="ja-JP" altLang="en-US" sz="900" dirty="0">
                <a:latin typeface="Yu Gothic UI" panose="020B0500000000000000" pitchFamily="34" charset="-128"/>
                <a:ea typeface="Yu Gothic UI" panose="020B0500000000000000" pitchFamily="34" charset="-128"/>
              </a:rPr>
              <a:t>タスク</a:t>
            </a:r>
            <a:endParaRPr lang="en-US" altLang="ja-JP" sz="900" dirty="0">
              <a:latin typeface="Yu Gothic UI" panose="020B0500000000000000" pitchFamily="34" charset="-128"/>
              <a:ea typeface="Yu Gothic UI" panose="020B0500000000000000" pitchFamily="34" charset="-128"/>
            </a:endParaRPr>
          </a:p>
        </p:txBody>
      </p:sp>
      <p:sp>
        <p:nvSpPr>
          <p:cNvPr id="26" name="Arrow: Pentagon 46">
            <a:extLst>
              <a:ext uri="{FF2B5EF4-FFF2-40B4-BE49-F238E27FC236}">
                <a16:creationId xmlns:a16="http://schemas.microsoft.com/office/drawing/2014/main" id="{EC09818D-F504-6AF8-2008-53CCF54E7AE8}"/>
              </a:ext>
            </a:extLst>
          </p:cNvPr>
          <p:cNvSpPr/>
          <p:nvPr/>
        </p:nvSpPr>
        <p:spPr bwMode="gray">
          <a:xfrm>
            <a:off x="10509496" y="888071"/>
            <a:ext cx="805474" cy="285065"/>
          </a:xfrm>
          <a:prstGeom prst="roundRect">
            <a:avLst>
              <a:gd name="adj" fmla="val 48637"/>
            </a:avLst>
          </a:prstGeom>
          <a:solidFill>
            <a:schemeClr val="accent4">
              <a:lumMod val="9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ベンダタスク</a:t>
            </a:r>
            <a:endParaRPr lang="en-US" altLang="ja-JP" sz="900" dirty="0">
              <a:latin typeface="Yu Gothic UI" panose="020B0500000000000000" pitchFamily="34" charset="-128"/>
              <a:ea typeface="Yu Gothic UI" panose="020B0500000000000000" pitchFamily="34" charset="-128"/>
            </a:endParaRPr>
          </a:p>
        </p:txBody>
      </p:sp>
      <p:sp>
        <p:nvSpPr>
          <p:cNvPr id="10" name="テキスト プレースホルダー 2">
            <a:extLst>
              <a:ext uri="{FF2B5EF4-FFF2-40B4-BE49-F238E27FC236}">
                <a16:creationId xmlns:a16="http://schemas.microsoft.com/office/drawing/2014/main" id="{45E0888E-8EDE-31CD-DB35-C344C7D90022}"/>
              </a:ext>
            </a:extLst>
          </p:cNvPr>
          <p:cNvSpPr txBox="1">
            <a:spLocks/>
          </p:cNvSpPr>
          <p:nvPr/>
        </p:nvSpPr>
        <p:spPr bwMode="gray">
          <a:xfrm>
            <a:off x="513230" y="777959"/>
            <a:ext cx="11165539" cy="43200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lang="ja-JP" altLang="en-US" sz="1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lang="ja-JP" altLang="en-US" sz="12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lang="ja-JP" altLang="en-US" sz="11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t>◆ </a:t>
            </a:r>
            <a:r>
              <a:rPr lang="en-US" altLang="ja-JP" dirty="0"/>
              <a:t>RFP</a:t>
            </a:r>
            <a:r>
              <a:rPr lang="ja-JP" altLang="en-US" dirty="0"/>
              <a:t>発出・ベンダ選定と発注準備・引き継ぎを経て、</a:t>
            </a:r>
            <a:r>
              <a:rPr lang="en-US" altLang="ja-JP" dirty="0"/>
              <a:t>24</a:t>
            </a:r>
            <a:r>
              <a:rPr lang="ja-JP" altLang="en-US" dirty="0"/>
              <a:t>年</a:t>
            </a:r>
            <a:r>
              <a:rPr lang="en-US" altLang="ja-JP" dirty="0"/>
              <a:t>6</a:t>
            </a:r>
            <a:r>
              <a:rPr lang="ja-JP" altLang="en-US" dirty="0"/>
              <a:t>月中の業務移管開始を目指します。</a:t>
            </a:r>
          </a:p>
        </p:txBody>
      </p:sp>
      <p:graphicFrame>
        <p:nvGraphicFramePr>
          <p:cNvPr id="11" name="表 10">
            <a:extLst>
              <a:ext uri="{FF2B5EF4-FFF2-40B4-BE49-F238E27FC236}">
                <a16:creationId xmlns:a16="http://schemas.microsoft.com/office/drawing/2014/main" id="{F3906835-F8EE-7C08-6705-0C85EB75B655}"/>
              </a:ext>
            </a:extLst>
          </p:cNvPr>
          <p:cNvGraphicFramePr>
            <a:graphicFrameLocks noGrp="1"/>
          </p:cNvGraphicFramePr>
          <p:nvPr>
            <p:extLst>
              <p:ext uri="{D42A27DB-BD31-4B8C-83A1-F6EECF244321}">
                <p14:modId xmlns:p14="http://schemas.microsoft.com/office/powerpoint/2010/main" val="754531700"/>
              </p:ext>
            </p:extLst>
          </p:nvPr>
        </p:nvGraphicFramePr>
        <p:xfrm>
          <a:off x="772877" y="1209959"/>
          <a:ext cx="10546804" cy="2447641"/>
        </p:xfrm>
        <a:graphic>
          <a:graphicData uri="http://schemas.openxmlformats.org/drawingml/2006/table">
            <a:tbl>
              <a:tblPr firstRow="1" bandRow="1">
                <a:tableStyleId>{073A0DAA-6AF3-43AB-8588-CEC1D06C72B9}</a:tableStyleId>
              </a:tblPr>
              <a:tblGrid>
                <a:gridCol w="842316">
                  <a:extLst>
                    <a:ext uri="{9D8B030D-6E8A-4147-A177-3AD203B41FA5}">
                      <a16:colId xmlns:a16="http://schemas.microsoft.com/office/drawing/2014/main" val="180267718"/>
                    </a:ext>
                  </a:extLst>
                </a:gridCol>
                <a:gridCol w="710476">
                  <a:extLst>
                    <a:ext uri="{9D8B030D-6E8A-4147-A177-3AD203B41FA5}">
                      <a16:colId xmlns:a16="http://schemas.microsoft.com/office/drawing/2014/main" val="1679521422"/>
                    </a:ext>
                  </a:extLst>
                </a:gridCol>
                <a:gridCol w="749501">
                  <a:extLst>
                    <a:ext uri="{9D8B030D-6E8A-4147-A177-3AD203B41FA5}">
                      <a16:colId xmlns:a16="http://schemas.microsoft.com/office/drawing/2014/main" val="2300607743"/>
                    </a:ext>
                  </a:extLst>
                </a:gridCol>
                <a:gridCol w="749501">
                  <a:extLst>
                    <a:ext uri="{9D8B030D-6E8A-4147-A177-3AD203B41FA5}">
                      <a16:colId xmlns:a16="http://schemas.microsoft.com/office/drawing/2014/main" val="1416224137"/>
                    </a:ext>
                  </a:extLst>
                </a:gridCol>
                <a:gridCol w="749501">
                  <a:extLst>
                    <a:ext uri="{9D8B030D-6E8A-4147-A177-3AD203B41FA5}">
                      <a16:colId xmlns:a16="http://schemas.microsoft.com/office/drawing/2014/main" val="3408725449"/>
                    </a:ext>
                  </a:extLst>
                </a:gridCol>
                <a:gridCol w="749501">
                  <a:extLst>
                    <a:ext uri="{9D8B030D-6E8A-4147-A177-3AD203B41FA5}">
                      <a16:colId xmlns:a16="http://schemas.microsoft.com/office/drawing/2014/main" val="1873443269"/>
                    </a:ext>
                  </a:extLst>
                </a:gridCol>
                <a:gridCol w="749501">
                  <a:extLst>
                    <a:ext uri="{9D8B030D-6E8A-4147-A177-3AD203B41FA5}">
                      <a16:colId xmlns:a16="http://schemas.microsoft.com/office/drawing/2014/main" val="428762726"/>
                    </a:ext>
                  </a:extLst>
                </a:gridCol>
                <a:gridCol w="749501">
                  <a:extLst>
                    <a:ext uri="{9D8B030D-6E8A-4147-A177-3AD203B41FA5}">
                      <a16:colId xmlns:a16="http://schemas.microsoft.com/office/drawing/2014/main" val="1688156754"/>
                    </a:ext>
                  </a:extLst>
                </a:gridCol>
                <a:gridCol w="749501">
                  <a:extLst>
                    <a:ext uri="{9D8B030D-6E8A-4147-A177-3AD203B41FA5}">
                      <a16:colId xmlns:a16="http://schemas.microsoft.com/office/drawing/2014/main" val="1740349978"/>
                    </a:ext>
                  </a:extLst>
                </a:gridCol>
                <a:gridCol w="749501">
                  <a:extLst>
                    <a:ext uri="{9D8B030D-6E8A-4147-A177-3AD203B41FA5}">
                      <a16:colId xmlns:a16="http://schemas.microsoft.com/office/drawing/2014/main" val="1550816731"/>
                    </a:ext>
                  </a:extLst>
                </a:gridCol>
                <a:gridCol w="749501">
                  <a:extLst>
                    <a:ext uri="{9D8B030D-6E8A-4147-A177-3AD203B41FA5}">
                      <a16:colId xmlns:a16="http://schemas.microsoft.com/office/drawing/2014/main" val="4122472628"/>
                    </a:ext>
                  </a:extLst>
                </a:gridCol>
                <a:gridCol w="749501">
                  <a:extLst>
                    <a:ext uri="{9D8B030D-6E8A-4147-A177-3AD203B41FA5}">
                      <a16:colId xmlns:a16="http://schemas.microsoft.com/office/drawing/2014/main" val="704396216"/>
                    </a:ext>
                  </a:extLst>
                </a:gridCol>
                <a:gridCol w="749501">
                  <a:extLst>
                    <a:ext uri="{9D8B030D-6E8A-4147-A177-3AD203B41FA5}">
                      <a16:colId xmlns:a16="http://schemas.microsoft.com/office/drawing/2014/main" val="3056510464"/>
                    </a:ext>
                  </a:extLst>
                </a:gridCol>
                <a:gridCol w="749501">
                  <a:extLst>
                    <a:ext uri="{9D8B030D-6E8A-4147-A177-3AD203B41FA5}">
                      <a16:colId xmlns:a16="http://schemas.microsoft.com/office/drawing/2014/main" val="3196386335"/>
                    </a:ext>
                  </a:extLst>
                </a:gridCol>
              </a:tblGrid>
              <a:tr h="212651">
                <a:tc rowSpan="2">
                  <a:txBody>
                    <a:bodyPr/>
                    <a:lstStyle/>
                    <a:p>
                      <a:endParaRPr kumimoji="1" lang="ja-JP" altLang="en-US"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solidFill>
                      <a:schemeClr val="bg1"/>
                    </a:solidFill>
                  </a:tcPr>
                </a:tc>
                <a:tc>
                  <a:txBody>
                    <a:bodyPr/>
                    <a:lstStyle/>
                    <a:p>
                      <a:r>
                        <a:rPr kumimoji="1" lang="en-US" altLang="ja-JP" sz="800" dirty="0"/>
                        <a:t>‘25/3</a:t>
                      </a:r>
                      <a:endParaRPr kumimoji="1" lang="ja-JP" altLang="en-US" sz="800" dirty="0"/>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7F7F7F"/>
                    </a:solidFill>
                  </a:tcPr>
                </a:tc>
                <a:tc gridSpan="4">
                  <a:txBody>
                    <a:bodyPr/>
                    <a:lstStyle/>
                    <a:p>
                      <a:r>
                        <a:rPr kumimoji="1" lang="en-US" altLang="ja-JP" sz="800" dirty="0"/>
                        <a:t>‘25/4</a:t>
                      </a:r>
                      <a:endParaRPr kumimoji="1" lang="ja-JP" altLang="en-US" sz="800" dirty="0"/>
                    </a:p>
                  </a:txBody>
                  <a:tcPr>
                    <a:lnT w="12700" cap="flat" cmpd="sng" algn="ctr">
                      <a:solidFill>
                        <a:schemeClr val="bg1">
                          <a:lumMod val="95000"/>
                        </a:scheme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7F7F7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r>
                        <a:rPr kumimoji="1" lang="en-US" altLang="ja-JP" sz="800" dirty="0"/>
                        <a:t>‘25/5</a:t>
                      </a:r>
                      <a:endParaRPr kumimoji="1" lang="ja-JP" altLang="en-US" sz="800" dirty="0"/>
                    </a:p>
                  </a:txBody>
                  <a:tcPr>
                    <a:lnT w="12700" cap="flat" cmpd="sng" algn="ctr">
                      <a:solidFill>
                        <a:schemeClr val="bg1">
                          <a:lumMod val="95000"/>
                        </a:scheme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7F7F7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r>
                        <a:rPr kumimoji="1" lang="en-US" altLang="ja-JP" sz="800" dirty="0"/>
                        <a:t>‘26/6</a:t>
                      </a:r>
                      <a:endParaRPr kumimoji="1" lang="ja-JP" altLang="en-US" sz="800" dirty="0"/>
                    </a:p>
                  </a:txBody>
                  <a:tcP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7F7F7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18443839"/>
                  </a:ext>
                </a:extLst>
              </a:tr>
              <a:tr h="211942">
                <a:tc vMerge="1">
                  <a:txBody>
                    <a:bodyPr/>
                    <a:lstStyle/>
                    <a:p>
                      <a:endParaRPr kumimoji="1" lang="ja-JP" altLang="en-US"/>
                    </a:p>
                  </a:txBody>
                  <a:tcPr/>
                </a:tc>
                <a:tc>
                  <a:txBody>
                    <a:bodyPr/>
                    <a:lstStyle/>
                    <a:p>
                      <a:r>
                        <a:rPr kumimoji="1" lang="en-US" altLang="ja-JP" sz="800" dirty="0">
                          <a:solidFill>
                            <a:schemeClr val="bg1"/>
                          </a:solidFill>
                        </a:rPr>
                        <a:t>31</a:t>
                      </a:r>
                      <a:endParaRPr kumimoji="1" lang="ja-JP" altLang="en-US" sz="800" dirty="0">
                        <a:solidFill>
                          <a:schemeClr val="bg1"/>
                        </a:solidFill>
                      </a:endParaRPr>
                    </a:p>
                  </a:txBody>
                  <a:tcPr>
                    <a:lnL w="12700" cap="flat" cmpd="sng" algn="ctr">
                      <a:solidFill>
                        <a:schemeClr val="bg1">
                          <a:lumMod val="95000"/>
                        </a:schemeClr>
                      </a:solidFill>
                      <a:prstDash val="solid"/>
                      <a:round/>
                      <a:headEnd type="none" w="med" len="med"/>
                      <a:tailEnd type="none" w="med" len="med"/>
                    </a:lnL>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7</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14</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21</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28</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5</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12</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19</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26</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2</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9</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16</a:t>
                      </a:r>
                      <a:endParaRPr kumimoji="1" lang="ja-JP" altLang="en-US" sz="800" dirty="0">
                        <a:solidFill>
                          <a:schemeClr val="bg1"/>
                        </a:solidFill>
                      </a:endParaRPr>
                    </a:p>
                  </a:txBody>
                  <a:tcPr>
                    <a:lnT w="6350" cap="flat" cmpd="sng" algn="ctr">
                      <a:solidFill>
                        <a:schemeClr val="bg2"/>
                      </a:solidFill>
                      <a:prstDash val="solid"/>
                      <a:round/>
                      <a:headEnd type="none" w="med" len="med"/>
                      <a:tailEnd type="none" w="med" len="med"/>
                    </a:lnT>
                    <a:solidFill>
                      <a:srgbClr val="7F7F7F"/>
                    </a:solidFill>
                  </a:tcPr>
                </a:tc>
                <a:tc>
                  <a:txBody>
                    <a:bodyPr/>
                    <a:lstStyle/>
                    <a:p>
                      <a:r>
                        <a:rPr kumimoji="1" lang="en-US" altLang="ja-JP" sz="800" dirty="0">
                          <a:solidFill>
                            <a:schemeClr val="bg1"/>
                          </a:solidFill>
                        </a:rPr>
                        <a:t>23</a:t>
                      </a:r>
                      <a:endParaRPr kumimoji="1" lang="ja-JP" altLang="en-US" sz="800" dirty="0">
                        <a:solidFill>
                          <a:schemeClr val="bg1"/>
                        </a:solidFill>
                      </a:endParaRPr>
                    </a:p>
                  </a:txBody>
                  <a:tcPr>
                    <a:lnR w="1270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solidFill>
                      <a:srgbClr val="7F7F7F"/>
                    </a:solidFill>
                  </a:tcPr>
                </a:tc>
                <a:extLst>
                  <a:ext uri="{0D108BD9-81ED-4DB2-BD59-A6C34878D82A}">
                    <a16:rowId xmlns:a16="http://schemas.microsoft.com/office/drawing/2014/main" val="3830437759"/>
                  </a:ext>
                </a:extLst>
              </a:tr>
              <a:tr h="382597">
                <a:tc>
                  <a:txBody>
                    <a:bodyPr/>
                    <a:lstStyle/>
                    <a:p>
                      <a:pPr algn="ctr"/>
                      <a:r>
                        <a:rPr kumimoji="1" lang="ja-JP" altLang="en-US" sz="1000" b="0" dirty="0"/>
                        <a:t>マイルストーン</a:t>
                      </a:r>
                    </a:p>
                  </a:txBody>
                  <a:tcPr anchor="ctr">
                    <a:lnL w="12700" cap="flat" cmpd="sng" algn="ctr">
                      <a:solidFill>
                        <a:schemeClr val="bg1">
                          <a:lumMod val="95000"/>
                        </a:schemeClr>
                      </a:solidFill>
                      <a:prstDash val="solid"/>
                      <a:round/>
                      <a:headEnd type="none" w="med" len="med"/>
                      <a:tailEnd type="none" w="med" len="med"/>
                    </a:lnL>
                  </a:tcPr>
                </a:tc>
                <a:tc>
                  <a:txBody>
                    <a:bodyPr/>
                    <a:lstStyle/>
                    <a:p>
                      <a:endParaRPr kumimoji="1" lang="ja-JP" altLang="en-US" dirty="0"/>
                    </a:p>
                  </a:txBody>
                  <a:tcPr/>
                </a:tc>
                <a:tc gridSpan="4">
                  <a:txBody>
                    <a:bodyPr/>
                    <a:lstStyle/>
                    <a:p>
                      <a:endParaRPr kumimoji="1" lang="ja-JP" altLang="en-US"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lnR w="12700" cap="flat" cmpd="sng" algn="ctr">
                      <a:solidFill>
                        <a:schemeClr val="bg1">
                          <a:lumMod val="95000"/>
                        </a:schemeClr>
                      </a:solidFill>
                      <a:prstDash val="solid"/>
                      <a:round/>
                      <a:headEnd type="none" w="med" len="med"/>
                      <a:tailEnd type="none" w="med" len="med"/>
                    </a:lnR>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241256694"/>
                  </a:ext>
                </a:extLst>
              </a:tr>
              <a:tr h="645106">
                <a:tc>
                  <a:txBody>
                    <a:bodyPr/>
                    <a:lstStyle/>
                    <a:p>
                      <a:pPr algn="ctr"/>
                      <a:r>
                        <a:rPr kumimoji="1" lang="en-US" altLang="ja-JP" sz="1000" b="0" dirty="0">
                          <a:solidFill>
                            <a:schemeClr val="bg1"/>
                          </a:solidFill>
                        </a:rPr>
                        <a:t>RFP</a:t>
                      </a:r>
                      <a:r>
                        <a:rPr kumimoji="1" lang="ja-JP" altLang="en-US" sz="1000" b="0" dirty="0">
                          <a:solidFill>
                            <a:schemeClr val="bg1"/>
                          </a:solidFill>
                        </a:rPr>
                        <a:t>関連</a:t>
                      </a:r>
                    </a:p>
                  </a:txBody>
                  <a:tcPr anchor="ctr">
                    <a:lnL w="12700" cap="flat" cmpd="sng" algn="ctr">
                      <a:solidFill>
                        <a:schemeClr val="bg1">
                          <a:lumMod val="95000"/>
                        </a:schemeClr>
                      </a:solidFill>
                      <a:prstDash val="solid"/>
                      <a:round/>
                      <a:headEnd type="none" w="med" len="med"/>
                      <a:tailEnd type="none" w="med" len="med"/>
                    </a:lnL>
                    <a:solidFill>
                      <a:srgbClr val="7F7F7F"/>
                    </a:solidFill>
                  </a:tcPr>
                </a:tc>
                <a:tc>
                  <a:txBody>
                    <a:bodyPr/>
                    <a:lstStyle/>
                    <a:p>
                      <a:endParaRPr kumimoji="1" lang="ja-JP" altLang="en-US" dirty="0"/>
                    </a:p>
                  </a:txBody>
                  <a:tcPr/>
                </a:tc>
                <a:tc gridSpan="4">
                  <a:txBody>
                    <a:bodyPr/>
                    <a:lstStyle/>
                    <a:p>
                      <a:endParaRPr kumimoji="1" lang="ja-JP" altLang="en-US"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lnR w="12700" cap="flat" cmpd="sng" algn="ctr">
                      <a:solidFill>
                        <a:schemeClr val="bg1">
                          <a:lumMod val="95000"/>
                        </a:schemeClr>
                      </a:solidFill>
                      <a:prstDash val="solid"/>
                      <a:round/>
                      <a:headEnd type="none" w="med" len="med"/>
                      <a:tailEnd type="none" w="med" len="med"/>
                    </a:lnR>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61467710"/>
                  </a:ext>
                </a:extLst>
              </a:tr>
              <a:tr h="460680">
                <a:tc>
                  <a:txBody>
                    <a:bodyPr/>
                    <a:lstStyle/>
                    <a:p>
                      <a:pPr algn="ctr"/>
                      <a:r>
                        <a:rPr kumimoji="1" lang="ja-JP" altLang="en-US" sz="1000" b="0" dirty="0">
                          <a:solidFill>
                            <a:schemeClr val="bg1"/>
                          </a:solidFill>
                        </a:rPr>
                        <a:t>ベンダ関連</a:t>
                      </a:r>
                    </a:p>
                  </a:txBody>
                  <a:tcPr anchor="ctr">
                    <a:lnL w="12700" cap="flat" cmpd="sng" algn="ctr">
                      <a:solidFill>
                        <a:schemeClr val="bg1">
                          <a:lumMod val="95000"/>
                        </a:schemeClr>
                      </a:solidFill>
                      <a:prstDash val="solid"/>
                      <a:round/>
                      <a:headEnd type="none" w="med" len="med"/>
                      <a:tailEnd type="none" w="med" len="med"/>
                    </a:lnL>
                    <a:solidFill>
                      <a:srgbClr val="7F7F7F"/>
                    </a:solidFill>
                  </a:tcPr>
                </a:tc>
                <a:tc>
                  <a:txBody>
                    <a:bodyPr/>
                    <a:lstStyle/>
                    <a:p>
                      <a:endParaRPr kumimoji="1" lang="ja-JP" altLang="en-US" dirty="0"/>
                    </a:p>
                  </a:txBody>
                  <a:tcPr/>
                </a:tc>
                <a:tc gridSpan="4">
                  <a:txBody>
                    <a:bodyPr/>
                    <a:lstStyle/>
                    <a:p>
                      <a:endParaRPr kumimoji="1" lang="ja-JP" altLang="en-US"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lnR w="12700" cap="flat" cmpd="sng" algn="ctr">
                      <a:solidFill>
                        <a:schemeClr val="bg1">
                          <a:lumMod val="95000"/>
                        </a:schemeClr>
                      </a:solidFill>
                      <a:prstDash val="solid"/>
                      <a:round/>
                      <a:headEnd type="none" w="med" len="med"/>
                      <a:tailEnd type="none" w="med" len="med"/>
                    </a:lnR>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78745"/>
                  </a:ext>
                </a:extLst>
              </a:tr>
              <a:tr h="518895">
                <a:tc>
                  <a:txBody>
                    <a:bodyPr/>
                    <a:lstStyle/>
                    <a:p>
                      <a:pPr algn="ctr"/>
                      <a:r>
                        <a:rPr kumimoji="1" lang="en-US" altLang="ja-JP" sz="1000" b="0" dirty="0">
                          <a:solidFill>
                            <a:schemeClr val="bg1"/>
                          </a:solidFill>
                        </a:rPr>
                        <a:t>Melco</a:t>
                      </a:r>
                      <a:r>
                        <a:rPr kumimoji="1" lang="ja-JP" altLang="en-US" sz="1000" b="0" dirty="0">
                          <a:solidFill>
                            <a:schemeClr val="bg1"/>
                          </a:solidFill>
                        </a:rPr>
                        <a:t>関連</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7F7F7F"/>
                    </a:solidFill>
                  </a:tcPr>
                </a:tc>
                <a:tc>
                  <a:txBody>
                    <a:bodyPr/>
                    <a:lstStyle/>
                    <a:p>
                      <a:endParaRPr kumimoji="1" lang="ja-JP" altLang="en-US"/>
                    </a:p>
                  </a:txBody>
                  <a:tcPr>
                    <a:lnB w="12700" cap="flat" cmpd="sng" algn="ctr">
                      <a:solidFill>
                        <a:schemeClr val="bg1">
                          <a:lumMod val="95000"/>
                        </a:schemeClr>
                      </a:solidFill>
                      <a:prstDash val="solid"/>
                      <a:round/>
                      <a:headEnd type="none" w="med" len="med"/>
                      <a:tailEnd type="none" w="med" len="med"/>
                    </a:lnB>
                  </a:tcPr>
                </a:tc>
                <a:tc gridSpan="4">
                  <a:txBody>
                    <a:bodyPr/>
                    <a:lstStyle/>
                    <a:p>
                      <a:endParaRPr kumimoji="1" lang="ja-JP" altLang="en-US" dirty="0"/>
                    </a:p>
                  </a:txBody>
                  <a:tcPr>
                    <a:lnB w="12700" cap="flat" cmpd="sng" algn="ctr">
                      <a:solidFill>
                        <a:schemeClr val="bg1">
                          <a:lumMod val="95000"/>
                        </a:schemeClr>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lnB w="12700" cap="flat" cmpd="sng" algn="ctr">
                      <a:solidFill>
                        <a:schemeClr val="bg1">
                          <a:lumMod val="95000"/>
                        </a:schemeClr>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endParaRPr kumimoji="1" lang="ja-JP" altLang="en-US" dirty="0"/>
                    </a:p>
                  </a:txBody>
                  <a:tcP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040865965"/>
                  </a:ext>
                </a:extLst>
              </a:tr>
            </a:tbl>
          </a:graphicData>
        </a:graphic>
      </p:graphicFrame>
      <p:sp>
        <p:nvSpPr>
          <p:cNvPr id="35" name="正方形/長方形 34">
            <a:extLst>
              <a:ext uri="{FF2B5EF4-FFF2-40B4-BE49-F238E27FC236}">
                <a16:creationId xmlns:a16="http://schemas.microsoft.com/office/drawing/2014/main" id="{25CC50E3-801B-028E-29D7-B4597BC14434}"/>
              </a:ext>
            </a:extLst>
          </p:cNvPr>
          <p:cNvSpPr/>
          <p:nvPr/>
        </p:nvSpPr>
        <p:spPr>
          <a:xfrm>
            <a:off x="4770874" y="1635992"/>
            <a:ext cx="974786" cy="2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ja-JP" sz="1200" dirty="0">
                <a:solidFill>
                  <a:schemeClr val="tx1"/>
                </a:solidFill>
                <a:latin typeface="+mn-ea"/>
              </a:rPr>
              <a:t>GW</a:t>
            </a:r>
          </a:p>
          <a:p>
            <a:pPr algn="ctr">
              <a:lnSpc>
                <a:spcPct val="130000"/>
              </a:lnSpc>
            </a:pPr>
            <a:r>
              <a:rPr kumimoji="1" lang="en-US" altLang="ja-JP" sz="1200" dirty="0">
                <a:solidFill>
                  <a:schemeClr val="tx1"/>
                </a:solidFill>
                <a:latin typeface="+mn-ea"/>
              </a:rPr>
              <a:t>4/29(</a:t>
            </a:r>
            <a:r>
              <a:rPr kumimoji="1" lang="ja-JP" altLang="en-US" sz="1200" dirty="0">
                <a:solidFill>
                  <a:schemeClr val="tx1"/>
                </a:solidFill>
                <a:latin typeface="+mn-ea"/>
              </a:rPr>
              <a:t>火</a:t>
            </a:r>
            <a:r>
              <a:rPr kumimoji="1" lang="en-US" altLang="ja-JP" sz="1200" dirty="0">
                <a:solidFill>
                  <a:schemeClr val="tx1"/>
                </a:solidFill>
                <a:latin typeface="+mn-ea"/>
              </a:rPr>
              <a:t>)</a:t>
            </a:r>
          </a:p>
          <a:p>
            <a:pPr algn="ctr">
              <a:lnSpc>
                <a:spcPct val="130000"/>
              </a:lnSpc>
            </a:pPr>
            <a:r>
              <a:rPr kumimoji="1" lang="ja-JP" altLang="en-US" sz="1200" dirty="0">
                <a:solidFill>
                  <a:schemeClr val="tx1"/>
                </a:solidFill>
                <a:latin typeface="+mn-ea"/>
              </a:rPr>
              <a:t>～</a:t>
            </a:r>
            <a:r>
              <a:rPr kumimoji="1" lang="en-US" altLang="ja-JP" sz="1200" dirty="0">
                <a:solidFill>
                  <a:schemeClr val="tx1"/>
                </a:solidFill>
                <a:latin typeface="+mn-ea"/>
              </a:rPr>
              <a:t>5/6(</a:t>
            </a:r>
            <a:r>
              <a:rPr kumimoji="1" lang="ja-JP" altLang="en-US" sz="1200" dirty="0">
                <a:solidFill>
                  <a:schemeClr val="tx1"/>
                </a:solidFill>
                <a:latin typeface="+mn-ea"/>
              </a:rPr>
              <a:t>火</a:t>
            </a:r>
            <a:r>
              <a:rPr kumimoji="1" lang="en-US" altLang="ja-JP" sz="1200" dirty="0">
                <a:solidFill>
                  <a:schemeClr val="tx1"/>
                </a:solidFill>
                <a:latin typeface="+mn-ea"/>
              </a:rPr>
              <a:t>)</a:t>
            </a:r>
          </a:p>
          <a:p>
            <a:pPr algn="ctr">
              <a:lnSpc>
                <a:spcPct val="130000"/>
              </a:lnSpc>
            </a:pPr>
            <a:endParaRPr kumimoji="1" lang="en-US" altLang="ja-JP" sz="1200" dirty="0">
              <a:solidFill>
                <a:schemeClr val="tx1"/>
              </a:solidFill>
              <a:latin typeface="+mn-ea"/>
            </a:endParaRPr>
          </a:p>
          <a:p>
            <a:pPr algn="ctr">
              <a:lnSpc>
                <a:spcPct val="130000"/>
              </a:lnSpc>
            </a:pPr>
            <a:endParaRPr kumimoji="1" lang="ja-JP" altLang="en-US" sz="1200" dirty="0">
              <a:solidFill>
                <a:schemeClr val="tx1"/>
              </a:solidFill>
              <a:latin typeface="+mn-ea"/>
            </a:endParaRPr>
          </a:p>
        </p:txBody>
      </p:sp>
      <p:sp>
        <p:nvSpPr>
          <p:cNvPr id="36" name="Arrow: Pentagon 46">
            <a:extLst>
              <a:ext uri="{FF2B5EF4-FFF2-40B4-BE49-F238E27FC236}">
                <a16:creationId xmlns:a16="http://schemas.microsoft.com/office/drawing/2014/main" id="{C51EA8E2-F88E-0B06-A602-F43268282BE7}"/>
              </a:ext>
            </a:extLst>
          </p:cNvPr>
          <p:cNvSpPr/>
          <p:nvPr/>
        </p:nvSpPr>
        <p:spPr bwMode="gray">
          <a:xfrm>
            <a:off x="3080528" y="2059644"/>
            <a:ext cx="720000"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US" altLang="ja-JP" sz="1100" dirty="0">
                <a:latin typeface="Yu Gothic UI" panose="020B0500000000000000" pitchFamily="34" charset="-128"/>
                <a:ea typeface="Yu Gothic UI" panose="020B0500000000000000" pitchFamily="34" charset="-128"/>
              </a:rPr>
              <a:t>RFP</a:t>
            </a:r>
            <a:r>
              <a:rPr lang="ja-JP" altLang="en-US" sz="1100" dirty="0">
                <a:latin typeface="Yu Gothic UI" panose="020B0500000000000000" pitchFamily="34" charset="-128"/>
                <a:ea typeface="Yu Gothic UI" panose="020B0500000000000000" pitchFamily="34" charset="-128"/>
              </a:rPr>
              <a:t>発出</a:t>
            </a:r>
            <a:endParaRPr lang="en-US" altLang="ja-JP" sz="1100" dirty="0">
              <a:latin typeface="Yu Gothic UI" panose="020B0500000000000000" pitchFamily="34" charset="-128"/>
              <a:ea typeface="Yu Gothic UI" panose="020B0500000000000000" pitchFamily="34" charset="-128"/>
            </a:endParaRPr>
          </a:p>
        </p:txBody>
      </p:sp>
      <p:sp>
        <p:nvSpPr>
          <p:cNvPr id="38" name="Arrow: Pentagon 46">
            <a:extLst>
              <a:ext uri="{FF2B5EF4-FFF2-40B4-BE49-F238E27FC236}">
                <a16:creationId xmlns:a16="http://schemas.microsoft.com/office/drawing/2014/main" id="{D800AF07-4315-279B-4C32-41F0EE88E2D6}"/>
              </a:ext>
            </a:extLst>
          </p:cNvPr>
          <p:cNvSpPr/>
          <p:nvPr/>
        </p:nvSpPr>
        <p:spPr bwMode="gray">
          <a:xfrm>
            <a:off x="3853578" y="2780327"/>
            <a:ext cx="3708000" cy="285065"/>
          </a:xfrm>
          <a:prstGeom prst="roundRect">
            <a:avLst>
              <a:gd name="adj" fmla="val 48637"/>
            </a:avLst>
          </a:prstGeom>
          <a:solidFill>
            <a:schemeClr val="accent4">
              <a:lumMod val="9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1100" dirty="0">
                <a:latin typeface="Yu Gothic UI" panose="020B0500000000000000" pitchFamily="34" charset="-128"/>
                <a:ea typeface="Yu Gothic UI" panose="020B0500000000000000" pitchFamily="34" charset="-128"/>
              </a:rPr>
              <a:t>提案資料作成</a:t>
            </a:r>
            <a:endParaRPr lang="en-US" altLang="ja-JP" sz="1100" dirty="0">
              <a:latin typeface="Yu Gothic UI" panose="020B0500000000000000" pitchFamily="34" charset="-128"/>
              <a:ea typeface="Yu Gothic UI" panose="020B0500000000000000" pitchFamily="34" charset="-128"/>
            </a:endParaRPr>
          </a:p>
        </p:txBody>
      </p:sp>
      <p:sp>
        <p:nvSpPr>
          <p:cNvPr id="39" name="Arrow: Pentagon 46">
            <a:extLst>
              <a:ext uri="{FF2B5EF4-FFF2-40B4-BE49-F238E27FC236}">
                <a16:creationId xmlns:a16="http://schemas.microsoft.com/office/drawing/2014/main" id="{9332EB25-E30D-A2DC-A1E6-906A77D00029}"/>
              </a:ext>
            </a:extLst>
          </p:cNvPr>
          <p:cNvSpPr/>
          <p:nvPr/>
        </p:nvSpPr>
        <p:spPr bwMode="gray">
          <a:xfrm>
            <a:off x="7587112" y="2780327"/>
            <a:ext cx="1467756" cy="285065"/>
          </a:xfrm>
          <a:prstGeom prst="roundRect">
            <a:avLst>
              <a:gd name="adj" fmla="val 48637"/>
            </a:avLst>
          </a:prstGeom>
          <a:solidFill>
            <a:schemeClr val="accent4">
              <a:lumMod val="9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1100" dirty="0">
                <a:latin typeface="Yu Gothic UI" panose="020B0500000000000000" pitchFamily="34" charset="-128"/>
                <a:ea typeface="Yu Gothic UI" panose="020B0500000000000000" pitchFamily="34" charset="-128"/>
              </a:rPr>
              <a:t>各社プレゼン</a:t>
            </a:r>
            <a:endParaRPr lang="en-US" altLang="ja-JP" sz="1100" dirty="0">
              <a:latin typeface="Yu Gothic UI" panose="020B0500000000000000" pitchFamily="34" charset="-128"/>
              <a:ea typeface="Yu Gothic UI" panose="020B0500000000000000" pitchFamily="34" charset="-128"/>
            </a:endParaRPr>
          </a:p>
        </p:txBody>
      </p:sp>
      <p:sp>
        <p:nvSpPr>
          <p:cNvPr id="40" name="Arrow: Pentagon 46">
            <a:extLst>
              <a:ext uri="{FF2B5EF4-FFF2-40B4-BE49-F238E27FC236}">
                <a16:creationId xmlns:a16="http://schemas.microsoft.com/office/drawing/2014/main" id="{5612A07A-DFB1-FCCB-60D1-8D7E0E222068}"/>
              </a:ext>
            </a:extLst>
          </p:cNvPr>
          <p:cNvSpPr/>
          <p:nvPr/>
        </p:nvSpPr>
        <p:spPr bwMode="gray">
          <a:xfrm>
            <a:off x="9157942" y="3211556"/>
            <a:ext cx="1188000" cy="324000"/>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ベンダ決定</a:t>
            </a:r>
            <a:endParaRPr lang="en-US" altLang="ja-JP" sz="900" dirty="0">
              <a:latin typeface="Yu Gothic UI" panose="020B0500000000000000" pitchFamily="34" charset="-128"/>
              <a:ea typeface="Yu Gothic UI" panose="020B0500000000000000" pitchFamily="34" charset="-128"/>
            </a:endParaRPr>
          </a:p>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結果通知</a:t>
            </a:r>
            <a:endParaRPr lang="en-US" altLang="ja-JP" sz="900" dirty="0">
              <a:latin typeface="Yu Gothic UI" panose="020B0500000000000000" pitchFamily="34" charset="-128"/>
              <a:ea typeface="Yu Gothic UI" panose="020B0500000000000000" pitchFamily="34" charset="-128"/>
            </a:endParaRPr>
          </a:p>
        </p:txBody>
      </p:sp>
      <p:sp>
        <p:nvSpPr>
          <p:cNvPr id="41" name="Arrow: Pentagon 46">
            <a:extLst>
              <a:ext uri="{FF2B5EF4-FFF2-40B4-BE49-F238E27FC236}">
                <a16:creationId xmlns:a16="http://schemas.microsoft.com/office/drawing/2014/main" id="{1EAA4AE3-1CFC-F1BE-F3DA-E00A9864C586}"/>
              </a:ext>
            </a:extLst>
          </p:cNvPr>
          <p:cNvSpPr/>
          <p:nvPr/>
        </p:nvSpPr>
        <p:spPr bwMode="gray">
          <a:xfrm>
            <a:off x="3813539" y="2059644"/>
            <a:ext cx="802800"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US" altLang="ja-JP" sz="900" dirty="0">
                <a:latin typeface="Yu Gothic UI" panose="020B0500000000000000" pitchFamily="34" charset="-128"/>
                <a:ea typeface="Yu Gothic UI" panose="020B0500000000000000" pitchFamily="34" charset="-128"/>
              </a:rPr>
              <a:t>RFP</a:t>
            </a:r>
            <a:r>
              <a:rPr lang="ja-JP" altLang="en-US" sz="900" dirty="0">
                <a:latin typeface="Yu Gothic UI" panose="020B0500000000000000" pitchFamily="34" charset="-128"/>
                <a:ea typeface="Yu Gothic UI" panose="020B0500000000000000" pitchFamily="34" charset="-128"/>
              </a:rPr>
              <a:t>説明会</a:t>
            </a:r>
            <a:endParaRPr lang="en-US" altLang="ja-JP" sz="900" dirty="0">
              <a:latin typeface="Yu Gothic UI" panose="020B0500000000000000" pitchFamily="34" charset="-128"/>
              <a:ea typeface="Yu Gothic UI" panose="020B0500000000000000" pitchFamily="34" charset="-128"/>
            </a:endParaRPr>
          </a:p>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オンライン）</a:t>
            </a:r>
            <a:endParaRPr lang="en-US" altLang="ja-JP" sz="900" dirty="0">
              <a:latin typeface="Yu Gothic UI" panose="020B0500000000000000" pitchFamily="34" charset="-128"/>
              <a:ea typeface="Yu Gothic UI" panose="020B0500000000000000" pitchFamily="34" charset="-128"/>
            </a:endParaRPr>
          </a:p>
        </p:txBody>
      </p:sp>
      <p:sp>
        <p:nvSpPr>
          <p:cNvPr id="43" name="Arrow: Pentagon 46">
            <a:extLst>
              <a:ext uri="{FF2B5EF4-FFF2-40B4-BE49-F238E27FC236}">
                <a16:creationId xmlns:a16="http://schemas.microsoft.com/office/drawing/2014/main" id="{0ACABD54-EA3F-E838-95E1-CB9521D273DB}"/>
              </a:ext>
            </a:extLst>
          </p:cNvPr>
          <p:cNvSpPr/>
          <p:nvPr/>
        </p:nvSpPr>
        <p:spPr bwMode="gray">
          <a:xfrm>
            <a:off x="1637001" y="2338005"/>
            <a:ext cx="1440000" cy="285065"/>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US" altLang="ja-JP" sz="1100" dirty="0">
                <a:latin typeface="Yu Gothic UI" panose="020B0500000000000000" pitchFamily="34" charset="-128"/>
                <a:ea typeface="Yu Gothic UI" panose="020B0500000000000000" pitchFamily="34" charset="-128"/>
              </a:rPr>
              <a:t>NDA</a:t>
            </a:r>
            <a:r>
              <a:rPr lang="ja-JP" altLang="en-US" sz="1100" dirty="0">
                <a:latin typeface="Yu Gothic UI" panose="020B0500000000000000" pitchFamily="34" charset="-128"/>
                <a:ea typeface="Yu Gothic UI" panose="020B0500000000000000" pitchFamily="34" charset="-128"/>
              </a:rPr>
              <a:t>締結</a:t>
            </a:r>
            <a:endParaRPr lang="en-US" altLang="ja-JP" sz="1100" dirty="0">
              <a:latin typeface="Yu Gothic UI" panose="020B0500000000000000" pitchFamily="34" charset="-128"/>
              <a:ea typeface="Yu Gothic UI" panose="020B0500000000000000" pitchFamily="34" charset="-128"/>
            </a:endParaRPr>
          </a:p>
        </p:txBody>
      </p:sp>
      <p:sp>
        <p:nvSpPr>
          <p:cNvPr id="44" name="Rectangle 64">
            <a:extLst>
              <a:ext uri="{FF2B5EF4-FFF2-40B4-BE49-F238E27FC236}">
                <a16:creationId xmlns:a16="http://schemas.microsoft.com/office/drawing/2014/main" id="{5FE8C278-FBED-90FA-5E83-A69577054F9C}"/>
              </a:ext>
            </a:extLst>
          </p:cNvPr>
          <p:cNvSpPr/>
          <p:nvPr/>
        </p:nvSpPr>
        <p:spPr bwMode="gray">
          <a:xfrm>
            <a:off x="7096511" y="1659989"/>
            <a:ext cx="1325108" cy="31432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200" dirty="0">
                <a:solidFill>
                  <a:sysClr val="windowText" lastClr="000000"/>
                </a:solidFill>
                <a:latin typeface="Yu Gothic UI" panose="020B0500000000000000" pitchFamily="34" charset="-128"/>
                <a:ea typeface="Yu Gothic UI" panose="020B0500000000000000" pitchFamily="34" charset="-128"/>
              </a:rPr>
              <a:t>△ </a:t>
            </a:r>
            <a:r>
              <a:rPr lang="en-US" altLang="ja-JP" sz="1200" dirty="0">
                <a:solidFill>
                  <a:sysClr val="windowText" lastClr="000000"/>
                </a:solidFill>
                <a:latin typeface="Yu Gothic UI" panose="020B0500000000000000" pitchFamily="34" charset="-128"/>
                <a:ea typeface="Yu Gothic UI" panose="020B0500000000000000" pitchFamily="34" charset="-128"/>
              </a:rPr>
              <a:t>5/23(</a:t>
            </a:r>
            <a:r>
              <a:rPr lang="ja-JP" altLang="en-US" sz="1200" dirty="0">
                <a:solidFill>
                  <a:sysClr val="windowText" lastClr="000000"/>
                </a:solidFill>
                <a:latin typeface="Yu Gothic UI" panose="020B0500000000000000" pitchFamily="34" charset="-128"/>
                <a:ea typeface="Yu Gothic UI" panose="020B0500000000000000" pitchFamily="34" charset="-128"/>
              </a:rPr>
              <a:t>金</a:t>
            </a:r>
            <a:r>
              <a:rPr lang="en-US" altLang="ja-JP" sz="1200" dirty="0">
                <a:solidFill>
                  <a:sysClr val="windowText" lastClr="000000"/>
                </a:solidFill>
                <a:latin typeface="Yu Gothic UI" panose="020B0500000000000000" pitchFamily="34" charset="-128"/>
                <a:ea typeface="Yu Gothic UI" panose="020B0500000000000000" pitchFamily="34" charset="-128"/>
              </a:rPr>
              <a:t>)</a:t>
            </a:r>
          </a:p>
          <a:p>
            <a:pPr algn="ctr">
              <a:lnSpc>
                <a:spcPct val="106000"/>
              </a:lnSpc>
              <a:buFont typeface="Wingdings 2" pitchFamily="18" charset="2"/>
              <a:buNone/>
            </a:pPr>
            <a:r>
              <a:rPr lang="ja-JP" altLang="en-US" sz="1200" dirty="0">
                <a:solidFill>
                  <a:sysClr val="windowText" lastClr="000000"/>
                </a:solidFill>
                <a:latin typeface="Yu Gothic UI" panose="020B0500000000000000" pitchFamily="34" charset="-128"/>
                <a:ea typeface="Yu Gothic UI" panose="020B0500000000000000" pitchFamily="34" charset="-128"/>
              </a:rPr>
              <a:t>提案書提出期限</a:t>
            </a:r>
            <a:endParaRPr lang="en-GB" altLang="ja-JP" sz="1200" dirty="0">
              <a:solidFill>
                <a:sysClr val="windowText" lastClr="000000"/>
              </a:solidFill>
              <a:latin typeface="Yu Gothic UI" panose="020B0500000000000000" pitchFamily="34" charset="-128"/>
              <a:ea typeface="Yu Gothic UI" panose="020B0500000000000000" pitchFamily="34" charset="-128"/>
            </a:endParaRPr>
          </a:p>
        </p:txBody>
      </p:sp>
      <p:sp>
        <p:nvSpPr>
          <p:cNvPr id="45" name="Rectangle 64">
            <a:extLst>
              <a:ext uri="{FF2B5EF4-FFF2-40B4-BE49-F238E27FC236}">
                <a16:creationId xmlns:a16="http://schemas.microsoft.com/office/drawing/2014/main" id="{59AA8576-7791-22DA-E13E-7FDE2B20876D}"/>
              </a:ext>
            </a:extLst>
          </p:cNvPr>
          <p:cNvSpPr/>
          <p:nvPr/>
        </p:nvSpPr>
        <p:spPr bwMode="gray">
          <a:xfrm>
            <a:off x="10100031" y="1665448"/>
            <a:ext cx="1325108" cy="31432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200" dirty="0">
                <a:solidFill>
                  <a:sysClr val="windowText" lastClr="000000"/>
                </a:solidFill>
                <a:latin typeface="Yu Gothic UI" panose="020B0500000000000000" pitchFamily="34" charset="-128"/>
                <a:ea typeface="Yu Gothic UI" panose="020B0500000000000000" pitchFamily="34" charset="-128"/>
              </a:rPr>
              <a:t>業務移管開始△ </a:t>
            </a:r>
            <a:endParaRPr lang="en-GB" altLang="ja-JP" sz="1200" dirty="0">
              <a:solidFill>
                <a:sysClr val="windowText" lastClr="000000"/>
              </a:solidFill>
              <a:latin typeface="Yu Gothic UI" panose="020B0500000000000000" pitchFamily="34" charset="-128"/>
              <a:ea typeface="Yu Gothic UI" panose="020B0500000000000000" pitchFamily="34" charset="-128"/>
            </a:endParaRPr>
          </a:p>
        </p:txBody>
      </p:sp>
      <p:sp>
        <p:nvSpPr>
          <p:cNvPr id="47" name="Arrow: Pentagon 46">
            <a:extLst>
              <a:ext uri="{FF2B5EF4-FFF2-40B4-BE49-F238E27FC236}">
                <a16:creationId xmlns:a16="http://schemas.microsoft.com/office/drawing/2014/main" id="{DAEF1333-03C6-4B5B-F98C-6074CAEBD132}"/>
              </a:ext>
            </a:extLst>
          </p:cNvPr>
          <p:cNvSpPr/>
          <p:nvPr/>
        </p:nvSpPr>
        <p:spPr bwMode="gray">
          <a:xfrm>
            <a:off x="10365161" y="3211560"/>
            <a:ext cx="936000" cy="324000"/>
          </a:xfrm>
          <a:prstGeom prst="roundRect">
            <a:avLst>
              <a:gd name="adj" fmla="val 48637"/>
            </a:avLst>
          </a:prstGeom>
          <a:solidFill>
            <a:schemeClr val="accent1">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ja-JP" altLang="en-US" sz="900" dirty="0">
                <a:latin typeface="Yu Gothic UI" panose="020B0500000000000000" pitchFamily="34" charset="-128"/>
                <a:ea typeface="Yu Gothic UI" panose="020B0500000000000000" pitchFamily="34" charset="-128"/>
              </a:rPr>
              <a:t>契約・発注手続き等</a:t>
            </a:r>
            <a:endParaRPr lang="en-US" altLang="ja-JP" sz="900" dirty="0">
              <a:latin typeface="Yu Gothic UI" panose="020B0500000000000000" pitchFamily="34" charset="-128"/>
              <a:ea typeface="Yu Gothic UI" panose="020B0500000000000000" pitchFamily="34" charset="-128"/>
            </a:endParaRPr>
          </a:p>
        </p:txBody>
      </p:sp>
      <p:graphicFrame>
        <p:nvGraphicFramePr>
          <p:cNvPr id="49" name="コンテンツ プレースホルダー 6">
            <a:extLst>
              <a:ext uri="{FF2B5EF4-FFF2-40B4-BE49-F238E27FC236}">
                <a16:creationId xmlns:a16="http://schemas.microsoft.com/office/drawing/2014/main" id="{21A0CC77-9E00-CD14-7ADE-A8AB8FFF70D0}"/>
              </a:ext>
            </a:extLst>
          </p:cNvPr>
          <p:cNvGraphicFramePr>
            <a:graphicFrameLocks/>
          </p:cNvGraphicFramePr>
          <p:nvPr>
            <p:extLst>
              <p:ext uri="{D42A27DB-BD31-4B8C-83A1-F6EECF244321}">
                <p14:modId xmlns:p14="http://schemas.microsoft.com/office/powerpoint/2010/main" val="1875726167"/>
              </p:ext>
            </p:extLst>
          </p:nvPr>
        </p:nvGraphicFramePr>
        <p:xfrm>
          <a:off x="4256082" y="5068870"/>
          <a:ext cx="1645022" cy="753994"/>
        </p:xfrm>
        <a:graphic>
          <a:graphicData uri="http://schemas.openxmlformats.org/drawingml/2006/table">
            <a:tbl>
              <a:tblPr firstRow="1" bandRow="1">
                <a:tableStyleId>{5940675A-B579-460E-94D1-54222C63F5DA}</a:tableStyleId>
              </a:tblPr>
              <a:tblGrid>
                <a:gridCol w="822511">
                  <a:extLst>
                    <a:ext uri="{9D8B030D-6E8A-4147-A177-3AD203B41FA5}">
                      <a16:colId xmlns:a16="http://schemas.microsoft.com/office/drawing/2014/main" val="2712047634"/>
                    </a:ext>
                  </a:extLst>
                </a:gridCol>
                <a:gridCol w="822511">
                  <a:extLst>
                    <a:ext uri="{9D8B030D-6E8A-4147-A177-3AD203B41FA5}">
                      <a16:colId xmlns:a16="http://schemas.microsoft.com/office/drawing/2014/main" val="3274357425"/>
                    </a:ext>
                  </a:extLst>
                </a:gridCol>
              </a:tblGrid>
              <a:tr h="225646">
                <a:tc gridSpan="2">
                  <a:txBody>
                    <a:bodyPr/>
                    <a:lstStyle/>
                    <a:p>
                      <a:pPr algn="ctr" fontAlgn="b"/>
                      <a:r>
                        <a:rPr lang="ja-JP" altLang="en-US" sz="1100" b="0" i="0" u="none" strike="noStrike" dirty="0">
                          <a:solidFill>
                            <a:srgbClr val="000000"/>
                          </a:solidFill>
                          <a:effectLst/>
                          <a:latin typeface="Yu Gothic" panose="020B0400000000000000" pitchFamily="50" charset="-128"/>
                          <a:ea typeface="Yu Gothic" panose="020B0400000000000000" pitchFamily="50" charset="-128"/>
                        </a:rPr>
                        <a:t>運用保守移管</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solidFill>
                  </a:tcPr>
                </a:tc>
                <a:tc hMerge="1">
                  <a:txBody>
                    <a:bodyPr/>
                    <a:lstStyle/>
                    <a:p>
                      <a:endParaRPr kumimoji="1" lang="ja-JP" altLang="en-US"/>
                    </a:p>
                  </a:txBody>
                  <a:tcPr/>
                </a:tc>
                <a:extLst>
                  <a:ext uri="{0D108BD9-81ED-4DB2-BD59-A6C34878D82A}">
                    <a16:rowId xmlns:a16="http://schemas.microsoft.com/office/drawing/2014/main" val="3534144310"/>
                  </a:ext>
                </a:extLst>
              </a:tr>
              <a:tr h="257177">
                <a:tc>
                  <a:txBody>
                    <a:bodyPr/>
                    <a:lstStyle/>
                    <a:p>
                      <a:pPr algn="ctr" fontAlgn="b"/>
                      <a:r>
                        <a:rPr lang="ja-JP" altLang="en-US" sz="1100" b="0" i="0" u="none" strike="noStrike" dirty="0">
                          <a:solidFill>
                            <a:srgbClr val="000000"/>
                          </a:solidFill>
                          <a:effectLst/>
                          <a:latin typeface="Yu Gothic" panose="020B0400000000000000" pitchFamily="50" charset="-128"/>
                          <a:ea typeface="Yu Gothic" panose="020B0400000000000000" pitchFamily="50" charset="-128"/>
                        </a:rPr>
                        <a:t>リーダ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ja-JP" altLang="en-US" sz="1100" b="0" i="0" u="none" strike="noStrike" dirty="0">
                          <a:solidFill>
                            <a:srgbClr val="000000"/>
                          </a:solidFill>
                          <a:effectLst/>
                          <a:latin typeface="Yu Gothic" panose="020B0400000000000000" pitchFamily="50" charset="-128"/>
                          <a:ea typeface="Yu Gothic" panose="020B0400000000000000" pitchFamily="50" charset="-128"/>
                        </a:rPr>
                        <a:t>野々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003585"/>
                  </a:ext>
                </a:extLst>
              </a:tr>
              <a:tr h="257177">
                <a:tc>
                  <a:txBody>
                    <a:bodyPr/>
                    <a:lstStyle/>
                    <a:p>
                      <a:pPr algn="ctr" fontAlgn="b"/>
                      <a:endParaRPr lang="ja-JP" altLang="en-US" sz="1100" b="0" i="0" u="none" strike="noStrike" dirty="0">
                        <a:solidFill>
                          <a:srgbClr val="000000"/>
                        </a:solidFill>
                        <a:effectLst/>
                        <a:latin typeface="Yu Gothic" panose="020B0400000000000000" pitchFamily="50" charset="-128"/>
                        <a:ea typeface="Yu Gothic" panose="020B0400000000000000"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ja-JP" altLang="en-US" sz="1100" b="0" i="0" u="none" strike="noStrike" dirty="0">
                          <a:solidFill>
                            <a:srgbClr val="000000"/>
                          </a:solidFill>
                          <a:effectLst/>
                          <a:latin typeface="Yu Gothic" panose="020B0400000000000000" pitchFamily="50" charset="-128"/>
                          <a:ea typeface="Yu Gothic" panose="020B0400000000000000" pitchFamily="50" charset="-128"/>
                        </a:rPr>
                        <a:t>板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7547975"/>
                  </a:ext>
                </a:extLst>
              </a:tr>
            </a:tbl>
          </a:graphicData>
        </a:graphic>
      </p:graphicFrame>
      <p:graphicFrame>
        <p:nvGraphicFramePr>
          <p:cNvPr id="50" name="コンテンツ プレースホルダー 6">
            <a:extLst>
              <a:ext uri="{FF2B5EF4-FFF2-40B4-BE49-F238E27FC236}">
                <a16:creationId xmlns:a16="http://schemas.microsoft.com/office/drawing/2014/main" id="{861FEA9E-22FA-620E-5454-0E370656A2A5}"/>
              </a:ext>
            </a:extLst>
          </p:cNvPr>
          <p:cNvGraphicFramePr>
            <a:graphicFrameLocks/>
          </p:cNvGraphicFramePr>
          <p:nvPr>
            <p:extLst>
              <p:ext uri="{D42A27DB-BD31-4B8C-83A1-F6EECF244321}">
                <p14:modId xmlns:p14="http://schemas.microsoft.com/office/powerpoint/2010/main" val="1209564429"/>
              </p:ext>
            </p:extLst>
          </p:nvPr>
        </p:nvGraphicFramePr>
        <p:xfrm>
          <a:off x="4270681" y="4292648"/>
          <a:ext cx="1641745" cy="407280"/>
        </p:xfrm>
        <a:graphic>
          <a:graphicData uri="http://schemas.openxmlformats.org/drawingml/2006/table">
            <a:tbl>
              <a:tblPr firstRow="1" bandRow="1">
                <a:tableStyleId>{5940675A-B579-460E-94D1-54222C63F5DA}</a:tableStyleId>
              </a:tblPr>
              <a:tblGrid>
                <a:gridCol w="1641745">
                  <a:extLst>
                    <a:ext uri="{9D8B030D-6E8A-4147-A177-3AD203B41FA5}">
                      <a16:colId xmlns:a16="http://schemas.microsoft.com/office/drawing/2014/main" val="2712047634"/>
                    </a:ext>
                  </a:extLst>
                </a:gridCol>
              </a:tblGrid>
              <a:tr h="332433">
                <a:tc>
                  <a:txBody>
                    <a:bodyPr/>
                    <a:lstStyle/>
                    <a:p>
                      <a:pPr algn="ctr"/>
                      <a:r>
                        <a:rPr kumimoji="1" lang="ja-JP" altLang="en-US" sz="1100" b="0" dirty="0">
                          <a:solidFill>
                            <a:schemeClr val="tx1"/>
                          </a:solidFill>
                          <a:latin typeface="Yu Gothic UI" panose="020B0500000000000000" pitchFamily="50" charset="-128"/>
                          <a:ea typeface="Yu Gothic UI" panose="020B0500000000000000" pitchFamily="50" charset="-128"/>
                        </a:rPr>
                        <a:t>プロジェクトマネージャー</a:t>
                      </a:r>
                      <a:endParaRPr kumimoji="1" lang="en-US" altLang="ja-JP" sz="1100" b="0" dirty="0">
                        <a:solidFill>
                          <a:schemeClr val="tx1"/>
                        </a:solidFill>
                        <a:latin typeface="Yu Gothic UI" panose="020B0500000000000000" pitchFamily="50" charset="-128"/>
                        <a:ea typeface="Yu Gothic UI" panose="020B0500000000000000" pitchFamily="50" charset="-128"/>
                      </a:endParaRPr>
                    </a:p>
                    <a:p>
                      <a:pPr algn="ctr"/>
                      <a:r>
                        <a:rPr kumimoji="1" lang="en-US" altLang="ja-JP" sz="1100" b="0" dirty="0">
                          <a:solidFill>
                            <a:schemeClr val="tx1"/>
                          </a:solidFill>
                          <a:latin typeface="Yu Gothic UI" panose="020B0500000000000000" pitchFamily="50" charset="-128"/>
                          <a:ea typeface="Yu Gothic UI" panose="020B0500000000000000" pitchFamily="50" charset="-128"/>
                        </a:rPr>
                        <a:t>DMG</a:t>
                      </a:r>
                      <a:r>
                        <a:rPr kumimoji="1" lang="ja-JP" altLang="en-US" sz="1100" b="0" dirty="0">
                          <a:solidFill>
                            <a:schemeClr val="tx1"/>
                          </a:solidFill>
                          <a:latin typeface="Yu Gothic UI" panose="020B0500000000000000" pitchFamily="50" charset="-128"/>
                          <a:ea typeface="Yu Gothic UI" panose="020B0500000000000000" pitchFamily="50" charset="-128"/>
                        </a:rPr>
                        <a:t> </a:t>
                      </a:r>
                      <a:r>
                        <a:rPr kumimoji="1" lang="en-US" altLang="ja-JP" sz="1100" b="0" dirty="0">
                          <a:solidFill>
                            <a:schemeClr val="tx1"/>
                          </a:solidFill>
                          <a:latin typeface="Yu Gothic UI" panose="020B0500000000000000" pitchFamily="50" charset="-128"/>
                          <a:ea typeface="Yu Gothic UI" panose="020B0500000000000000" pitchFamily="50" charset="-128"/>
                        </a:rPr>
                        <a:t>GR</a:t>
                      </a:r>
                      <a:r>
                        <a:rPr kumimoji="1" lang="ja-JP" altLang="en-US" sz="1100" b="0" dirty="0">
                          <a:solidFill>
                            <a:schemeClr val="tx1"/>
                          </a:solidFill>
                          <a:latin typeface="Yu Gothic UI" panose="020B0500000000000000" pitchFamily="50" charset="-128"/>
                          <a:ea typeface="Yu Gothic UI" panose="020B0500000000000000" pitchFamily="50" charset="-128"/>
                        </a:rPr>
                        <a:t>　河野</a:t>
                      </a:r>
                      <a:endParaRPr kumimoji="1" lang="en-US" altLang="ja-JP" sz="1100" b="0" dirty="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003585"/>
                  </a:ext>
                </a:extLst>
              </a:tr>
            </a:tbl>
          </a:graphicData>
        </a:graphic>
      </p:graphicFrame>
      <p:cxnSp>
        <p:nvCxnSpPr>
          <p:cNvPr id="52" name="コネクタ: カギ線 51">
            <a:extLst>
              <a:ext uri="{FF2B5EF4-FFF2-40B4-BE49-F238E27FC236}">
                <a16:creationId xmlns:a16="http://schemas.microsoft.com/office/drawing/2014/main" id="{A7A56144-EADB-9F79-0564-40DD0B5EE4D0}"/>
              </a:ext>
            </a:extLst>
          </p:cNvPr>
          <p:cNvCxnSpPr>
            <a:cxnSpLocks/>
            <a:stCxn id="50" idx="2"/>
            <a:endCxn id="49" idx="0"/>
          </p:cNvCxnSpPr>
          <p:nvPr/>
        </p:nvCxnSpPr>
        <p:spPr>
          <a:xfrm rot="5400000">
            <a:off x="4907082" y="4884399"/>
            <a:ext cx="368942" cy="0"/>
          </a:xfrm>
          <a:prstGeom prst="bentConnector3">
            <a:avLst/>
          </a:prstGeom>
          <a:ln>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79" name="テキスト プレースホルダー 2">
            <a:extLst>
              <a:ext uri="{FF2B5EF4-FFF2-40B4-BE49-F238E27FC236}">
                <a16:creationId xmlns:a16="http://schemas.microsoft.com/office/drawing/2014/main" id="{EC7552C1-22A0-F314-CC38-991C9D6C7193}"/>
              </a:ext>
            </a:extLst>
          </p:cNvPr>
          <p:cNvSpPr txBox="1">
            <a:spLocks/>
          </p:cNvSpPr>
          <p:nvPr/>
        </p:nvSpPr>
        <p:spPr bwMode="gray">
          <a:xfrm>
            <a:off x="513230" y="3854872"/>
            <a:ext cx="11165539" cy="43200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lang="ja-JP" altLang="en-US" sz="1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lang="ja-JP" altLang="en-US" sz="12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lang="ja-JP" altLang="en-US" sz="11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t>◆ 本プロジェクトの体制は以下の通りです</a:t>
            </a:r>
          </a:p>
        </p:txBody>
      </p:sp>
    </p:spTree>
    <p:extLst>
      <p:ext uri="{BB962C8B-B14F-4D97-AF65-F5344CB8AC3E}">
        <p14:creationId xmlns:p14="http://schemas.microsoft.com/office/powerpoint/2010/main" val="4081404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2BA658-FC24-2CEA-402B-BC26B6562BA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7" name="think-cell data - do not delete" hidden="1">
                        <a:extLst>
                          <a:ext uri="{FF2B5EF4-FFF2-40B4-BE49-F238E27FC236}">
                            <a16:creationId xmlns:a16="http://schemas.microsoft.com/office/drawing/2014/main" id="{BA2BA658-FC24-2CEA-402B-BC26B6562BAB}"/>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331210F-FE11-E9B3-E29F-BAF8D69B5C73}"/>
              </a:ext>
            </a:extLst>
          </p:cNvPr>
          <p:cNvSpPr>
            <a:spLocks noGrp="1"/>
          </p:cNvSpPr>
          <p:nvPr>
            <p:ph type="sldNum" sz="quarter" idx="11"/>
          </p:nvPr>
        </p:nvSpPr>
        <p:spPr>
          <a:xfrm>
            <a:off x="106015" y="6654007"/>
            <a:ext cx="144270" cy="115416"/>
          </a:xfrm>
        </p:spPr>
        <p:txBody>
          <a:bodyPr/>
          <a:lstStyle/>
          <a:p>
            <a:fld id="{AA5FCFE5-FE56-4EF1-80A8-07776887C2A1}" type="slidenum">
              <a:rPr lang="ja-JP" altLang="en-US" smtClean="0"/>
              <a:pPr/>
              <a:t>21</a:t>
            </a:fld>
            <a:endParaRPr lang="ja-JP" altLang="en-US"/>
          </a:p>
        </p:txBody>
      </p:sp>
      <p:sp>
        <p:nvSpPr>
          <p:cNvPr id="5" name="タイトル 4">
            <a:extLst>
              <a:ext uri="{FF2B5EF4-FFF2-40B4-BE49-F238E27FC236}">
                <a16:creationId xmlns:a16="http://schemas.microsoft.com/office/drawing/2014/main" id="{189A540E-43CC-454E-0766-E27C9541F0AB}"/>
              </a:ext>
            </a:extLst>
          </p:cNvPr>
          <p:cNvSpPr>
            <a:spLocks noGrp="1"/>
          </p:cNvSpPr>
          <p:nvPr>
            <p:ph type="title"/>
          </p:nvPr>
        </p:nvSpPr>
        <p:spPr>
          <a:xfrm>
            <a:off x="513232" y="0"/>
            <a:ext cx="11165539" cy="674781"/>
          </a:xfrm>
        </p:spPr>
        <p:txBody>
          <a:bodyPr vert="horz" anchor="ctr">
            <a:normAutofit/>
          </a:bodyPr>
          <a:lstStyle/>
          <a:p>
            <a:r>
              <a:rPr kumimoji="1" lang="en-US" altLang="ja-JP"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4-1.</a:t>
            </a:r>
            <a:r>
              <a:rPr kumimoji="1" lang="ja-JP" altLang="en-US"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提案手続き 詳細</a:t>
            </a:r>
            <a:r>
              <a:rPr kumimoji="1" lang="en-US" altLang="ja-JP"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1/2)</a:t>
            </a:r>
            <a:endParaRPr lang="ja-JP" altLang="en-US" sz="1600" dirty="0">
              <a:latin typeface="+mn-ea"/>
              <a:ea typeface="+mn-ea"/>
            </a:endParaRPr>
          </a:p>
        </p:txBody>
      </p:sp>
      <p:sp>
        <p:nvSpPr>
          <p:cNvPr id="28" name="コンテンツ プレースホルダー 2">
            <a:extLst>
              <a:ext uri="{FF2B5EF4-FFF2-40B4-BE49-F238E27FC236}">
                <a16:creationId xmlns:a16="http://schemas.microsoft.com/office/drawing/2014/main" id="{5EB01822-DCC5-82EE-E19E-6C46E1048EDC}"/>
              </a:ext>
            </a:extLst>
          </p:cNvPr>
          <p:cNvSpPr txBox="1">
            <a:spLocks/>
          </p:cNvSpPr>
          <p:nvPr/>
        </p:nvSpPr>
        <p:spPr bwMode="auto">
          <a:xfrm>
            <a:off x="1774960" y="1140905"/>
            <a:ext cx="8642350" cy="27807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n-ea"/>
                <a:ea typeface="+mn-ea"/>
                <a:cs typeface="+mn-cs"/>
              </a:defRPr>
            </a:lvl1pPr>
            <a:lvl2pPr marL="742950" indent="-285750" algn="l" rtl="0" eaLnBrk="1" fontAlgn="base" hangingPunct="1">
              <a:spcBef>
                <a:spcPct val="20000"/>
              </a:spcBef>
              <a:spcAft>
                <a:spcPct val="0"/>
              </a:spcAft>
              <a:buChar char="–"/>
              <a:defRPr kumimoji="1" sz="2800" b="1">
                <a:solidFill>
                  <a:schemeClr val="tx1"/>
                </a:solidFill>
                <a:latin typeface="+mn-ea"/>
                <a:ea typeface="+mn-ea"/>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n-ea"/>
                <a:ea typeface="+mn-ea"/>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n-ea"/>
                <a:ea typeface="+mn-ea"/>
              </a:defRPr>
            </a:lvl4pPr>
            <a:lvl5pPr marL="2057400" indent="-228600" algn="l" rtl="0" eaLnBrk="1" fontAlgn="base" hangingPunct="1">
              <a:spcBef>
                <a:spcPct val="20000"/>
              </a:spcBef>
              <a:spcAft>
                <a:spcPct val="0"/>
              </a:spcAft>
              <a:buChar char="»"/>
              <a:defRPr kumimoji="1" sz="2000" b="1">
                <a:solidFill>
                  <a:schemeClr val="tx1"/>
                </a:solidFill>
                <a:latin typeface="+mn-ea"/>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r>
              <a:rPr lang="ja-JP" altLang="en-US" sz="1200" b="0" kern="0" dirty="0">
                <a:latin typeface="Yu Gothic UI" panose="020B0500000000000000" pitchFamily="50" charset="-128"/>
                <a:ea typeface="Yu Gothic UI" panose="020B0500000000000000" pitchFamily="50" charset="-128"/>
              </a:rPr>
              <a:t>受付期間</a:t>
            </a:r>
            <a:br>
              <a:rPr lang="en-US" altLang="ja-JP" sz="1200" b="0" kern="0" dirty="0">
                <a:latin typeface="Yu Gothic UI" panose="020B0500000000000000" pitchFamily="50" charset="-128"/>
                <a:ea typeface="Yu Gothic UI" panose="020B0500000000000000" pitchFamily="50" charset="-128"/>
              </a:rPr>
            </a:br>
            <a:r>
              <a:rPr lang="en-US" altLang="ja-JP" sz="1200" b="0" kern="0" dirty="0">
                <a:latin typeface="Yu Gothic UI" panose="020B0500000000000000" pitchFamily="50" charset="-128"/>
                <a:ea typeface="Yu Gothic UI" panose="020B0500000000000000" pitchFamily="50" charset="-128"/>
              </a:rPr>
              <a:t>2025</a:t>
            </a:r>
            <a:r>
              <a:rPr lang="ja-JP" altLang="en-US" sz="1200" b="0" kern="0" dirty="0">
                <a:latin typeface="Yu Gothic UI" panose="020B0500000000000000" pitchFamily="50" charset="-128"/>
                <a:ea typeface="Yu Gothic UI" panose="020B0500000000000000" pitchFamily="50" charset="-128"/>
              </a:rPr>
              <a:t>年</a:t>
            </a:r>
            <a:r>
              <a:rPr lang="en-US" altLang="ja-JP" sz="1200" b="0" kern="0" dirty="0">
                <a:latin typeface="Yu Gothic UI" panose="020B0500000000000000" pitchFamily="50" charset="-128"/>
                <a:ea typeface="Yu Gothic UI" panose="020B0500000000000000" pitchFamily="50" charset="-128"/>
              </a:rPr>
              <a:t>5</a:t>
            </a:r>
            <a:r>
              <a:rPr lang="ja-JP" altLang="en-US" sz="1200" b="0" kern="0" dirty="0">
                <a:latin typeface="Yu Gothic UI" panose="020B0500000000000000" pitchFamily="50" charset="-128"/>
                <a:ea typeface="Yu Gothic UI" panose="020B0500000000000000" pitchFamily="50" charset="-128"/>
              </a:rPr>
              <a:t>月</a:t>
            </a:r>
            <a:r>
              <a:rPr lang="en-US" altLang="ja-JP" sz="1200" b="0" kern="0" dirty="0">
                <a:latin typeface="Yu Gothic UI" panose="020B0500000000000000" pitchFamily="50" charset="-128"/>
                <a:ea typeface="Yu Gothic UI" panose="020B0500000000000000" pitchFamily="50" charset="-128"/>
              </a:rPr>
              <a:t>16</a:t>
            </a:r>
            <a:r>
              <a:rPr lang="ja-JP" altLang="en-US" sz="1200" b="0" kern="0" dirty="0">
                <a:latin typeface="Yu Gothic UI" panose="020B0500000000000000" pitchFamily="50" charset="-128"/>
                <a:ea typeface="Yu Gothic UI" panose="020B0500000000000000" pitchFamily="50" charset="-128"/>
              </a:rPr>
              <a:t>日（金）まで</a:t>
            </a:r>
            <a:endParaRPr lang="en-US" altLang="ja-JP" sz="1200" b="0" kern="0" dirty="0">
              <a:latin typeface="Yu Gothic UI" panose="020B0500000000000000" pitchFamily="50" charset="-128"/>
              <a:ea typeface="Yu Gothic UI" panose="020B0500000000000000" pitchFamily="50" charset="-128"/>
            </a:endParaRPr>
          </a:p>
          <a:p>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質問方法</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質問表：貴社専用</a:t>
            </a:r>
            <a:r>
              <a:rPr lang="en-US" altLang="ja-JP" sz="1200" b="0" kern="0" dirty="0">
                <a:latin typeface="Yu Gothic UI" panose="020B0500000000000000" pitchFamily="50" charset="-128"/>
                <a:ea typeface="Yu Gothic UI" panose="020B0500000000000000" pitchFamily="50" charset="-128"/>
              </a:rPr>
              <a:t>Box</a:t>
            </a:r>
            <a:r>
              <a:rPr lang="ja-JP" altLang="en-US" sz="1200" b="0" kern="0" dirty="0">
                <a:latin typeface="Yu Gothic UI" panose="020B0500000000000000" pitchFamily="50" charset="-128"/>
                <a:ea typeface="Yu Gothic UI" panose="020B0500000000000000" pitchFamily="50" charset="-128"/>
              </a:rPr>
              <a:t>の「</a:t>
            </a:r>
            <a:r>
              <a:rPr lang="en-US" altLang="ja-JP" sz="1200" b="0" kern="0" dirty="0">
                <a:latin typeface="Yu Gothic UI" panose="020B0500000000000000" pitchFamily="50" charset="-128"/>
                <a:ea typeface="Yu Gothic UI" panose="020B0500000000000000" pitchFamily="50" charset="-128"/>
              </a:rPr>
              <a:t>20_QA</a:t>
            </a:r>
            <a:r>
              <a:rPr lang="ja-JP" altLang="en-US" sz="1200" b="0" kern="0" dirty="0">
                <a:latin typeface="Yu Gothic UI" panose="020B0500000000000000" pitchFamily="50" charset="-128"/>
                <a:ea typeface="Yu Gothic UI" panose="020B0500000000000000" pitchFamily="50" charset="-128"/>
              </a:rPr>
              <a:t>」フォルダに格納</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質問表に質問記載後に電子メールにてご連絡お願いします。件名は「</a:t>
            </a:r>
            <a:r>
              <a:rPr lang="en-US" altLang="ja-JP" sz="1200" b="0" kern="0" dirty="0">
                <a:latin typeface="Yu Gothic UI" panose="020B0500000000000000" pitchFamily="50" charset="-128"/>
                <a:ea typeface="Yu Gothic UI" panose="020B0500000000000000" pitchFamily="50" charset="-128"/>
              </a:rPr>
              <a:t>【FA</a:t>
            </a:r>
            <a:r>
              <a:rPr lang="ja-JP" altLang="en-US" sz="1200" b="0" kern="0" dirty="0">
                <a:latin typeface="Yu Gothic UI" panose="020B0500000000000000" pitchFamily="50" charset="-128"/>
                <a:ea typeface="Yu Gothic UI" panose="020B0500000000000000" pitchFamily="50" charset="-128"/>
              </a:rPr>
              <a:t>サイト運用保守提案</a:t>
            </a:r>
            <a:r>
              <a:rPr lang="en-US" altLang="ja-JP" sz="1200" b="0" kern="0" dirty="0">
                <a:latin typeface="Yu Gothic UI" panose="020B0500000000000000" pitchFamily="50" charset="-128"/>
                <a:ea typeface="Yu Gothic UI" panose="020B0500000000000000" pitchFamily="50" charset="-128"/>
              </a:rPr>
              <a:t>】</a:t>
            </a:r>
            <a:r>
              <a:rPr lang="ja-JP" altLang="en-US" sz="1200" b="0" kern="0" dirty="0">
                <a:latin typeface="Yu Gothic UI" panose="020B0500000000000000" pitchFamily="50" charset="-128"/>
                <a:ea typeface="Yu Gothic UI" panose="020B0500000000000000" pitchFamily="50" charset="-128"/>
              </a:rPr>
              <a:t>質問表</a:t>
            </a:r>
            <a:r>
              <a:rPr lang="en-US" altLang="ja-JP" sz="1200" b="0" kern="0" dirty="0">
                <a:latin typeface="Yu Gothic UI" panose="020B0500000000000000" pitchFamily="50" charset="-128"/>
                <a:ea typeface="Yu Gothic UI" panose="020B0500000000000000" pitchFamily="50" charset="-128"/>
              </a:rPr>
              <a:t>_</a:t>
            </a:r>
            <a:r>
              <a:rPr lang="ja-JP" altLang="en-US" sz="1200" b="0" kern="0" dirty="0">
                <a:latin typeface="Yu Gothic UI" panose="020B0500000000000000" pitchFamily="50" charset="-128"/>
                <a:ea typeface="Yu Gothic UI" panose="020B0500000000000000" pitchFamily="50" charset="-128"/>
              </a:rPr>
              <a:t>貴社名」とすること</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上記間以降の質問に関しては</a:t>
            </a:r>
            <a:r>
              <a:rPr lang="en-US" altLang="ja-JP" sz="1200" b="0" kern="0" dirty="0">
                <a:latin typeface="Yu Gothic UI" panose="020B0500000000000000" pitchFamily="50" charset="-128"/>
                <a:ea typeface="Yu Gothic UI" panose="020B0500000000000000" pitchFamily="50" charset="-128"/>
              </a:rPr>
              <a:t>RFP</a:t>
            </a:r>
            <a:r>
              <a:rPr lang="ja-JP" altLang="en-US" sz="1200" b="0" kern="0" dirty="0">
                <a:latin typeface="Yu Gothic UI" panose="020B0500000000000000" pitchFamily="50" charset="-128"/>
                <a:ea typeface="Yu Gothic UI" panose="020B0500000000000000" pitchFamily="50" charset="-128"/>
              </a:rPr>
              <a:t>提出期限までに回答できない場合があります</a:t>
            </a:r>
            <a:br>
              <a:rPr lang="en-US" altLang="ja-JP" sz="1200" b="0" kern="0" dirty="0">
                <a:solidFill>
                  <a:srgbClr val="FF0000"/>
                </a:solidFill>
                <a:latin typeface="Yu Gothic UI" panose="020B0500000000000000" pitchFamily="50" charset="-128"/>
                <a:ea typeface="Yu Gothic UI" panose="020B0500000000000000" pitchFamily="50" charset="-128"/>
              </a:rPr>
            </a:b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注意事項</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質問の内容と時期によって期限内に回答ができない場合がございます。</a:t>
            </a:r>
            <a:endParaRPr lang="en-US" altLang="ja-JP" sz="1200" b="0" kern="0" dirty="0">
              <a:latin typeface="Yu Gothic UI" panose="020B0500000000000000" pitchFamily="50" charset="-128"/>
              <a:ea typeface="Yu Gothic UI" panose="020B0500000000000000" pitchFamily="50" charset="-128"/>
            </a:endParaRPr>
          </a:p>
          <a:p>
            <a:pPr lvl="1"/>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回答方法</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Ｑ＆Ａ表に回答を記載し、弊社回答を更新した旨メールにて返信します。</a:t>
            </a:r>
          </a:p>
          <a:p>
            <a:pPr lvl="1"/>
            <a:endParaRPr lang="en-US" altLang="ja-JP" sz="1200" b="0" kern="0" dirty="0">
              <a:latin typeface="Yu Gothic UI" panose="020B0500000000000000" pitchFamily="50" charset="-128"/>
              <a:ea typeface="Yu Gothic UI" panose="020B0500000000000000" pitchFamily="50" charset="-128"/>
            </a:endParaRPr>
          </a:p>
          <a:p>
            <a:pPr lvl="1"/>
            <a:endParaRPr lang="en-US" altLang="ja-JP" sz="1200" b="0" kern="0" dirty="0">
              <a:latin typeface="Yu Gothic UI" panose="020B0500000000000000" pitchFamily="50" charset="-128"/>
              <a:ea typeface="Yu Gothic UI" panose="020B0500000000000000" pitchFamily="50" charset="-128"/>
            </a:endParaRPr>
          </a:p>
        </p:txBody>
      </p:sp>
      <p:sp>
        <p:nvSpPr>
          <p:cNvPr id="4" name="正方形/長方形 3">
            <a:extLst>
              <a:ext uri="{FF2B5EF4-FFF2-40B4-BE49-F238E27FC236}">
                <a16:creationId xmlns:a16="http://schemas.microsoft.com/office/drawing/2014/main" id="{90CB15D7-B16A-DF94-5D65-589C93532B4A}"/>
              </a:ext>
            </a:extLst>
          </p:cNvPr>
          <p:cNvSpPr/>
          <p:nvPr/>
        </p:nvSpPr>
        <p:spPr>
          <a:xfrm>
            <a:off x="1774960" y="870957"/>
            <a:ext cx="8598842" cy="210421"/>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200" b="1">
                <a:solidFill>
                  <a:schemeClr val="tx1"/>
                </a:solidFill>
                <a:latin typeface="Yu Gothic UI" panose="020B0500000000000000" pitchFamily="50" charset="-128"/>
                <a:ea typeface="Yu Gothic UI" panose="020B0500000000000000" pitchFamily="50" charset="-128"/>
              </a:rPr>
              <a:t>RFP</a:t>
            </a:r>
            <a:r>
              <a:rPr kumimoji="1" lang="ja-JP" altLang="en-US" sz="1200" b="1">
                <a:solidFill>
                  <a:schemeClr val="tx1"/>
                </a:solidFill>
                <a:latin typeface="Yu Gothic UI" panose="020B0500000000000000" pitchFamily="50" charset="-128"/>
                <a:ea typeface="Yu Gothic UI" panose="020B0500000000000000" pitchFamily="50" charset="-128"/>
              </a:rPr>
              <a:t>に関する質問</a:t>
            </a:r>
          </a:p>
        </p:txBody>
      </p:sp>
      <p:sp>
        <p:nvSpPr>
          <p:cNvPr id="6" name="正方形/長方形 5">
            <a:extLst>
              <a:ext uri="{FF2B5EF4-FFF2-40B4-BE49-F238E27FC236}">
                <a16:creationId xmlns:a16="http://schemas.microsoft.com/office/drawing/2014/main" id="{86F5258D-1A98-6606-AB95-EC377EA13C71}"/>
              </a:ext>
            </a:extLst>
          </p:cNvPr>
          <p:cNvSpPr/>
          <p:nvPr/>
        </p:nvSpPr>
        <p:spPr>
          <a:xfrm>
            <a:off x="1774960" y="4033893"/>
            <a:ext cx="8598842" cy="210421"/>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a:solidFill>
                  <a:schemeClr val="tx1"/>
                </a:solidFill>
                <a:latin typeface="Yu Gothic UI" panose="020B0500000000000000" pitchFamily="50" charset="-128"/>
                <a:ea typeface="Yu Gothic UI" panose="020B0500000000000000" pitchFamily="50" charset="-128"/>
              </a:rPr>
              <a:t>提案書提出</a:t>
            </a:r>
          </a:p>
        </p:txBody>
      </p:sp>
      <p:sp>
        <p:nvSpPr>
          <p:cNvPr id="9" name="コンテンツ プレースホルダー 2">
            <a:extLst>
              <a:ext uri="{FF2B5EF4-FFF2-40B4-BE49-F238E27FC236}">
                <a16:creationId xmlns:a16="http://schemas.microsoft.com/office/drawing/2014/main" id="{D058D43D-B5C7-DA3F-8E23-BAD2B05B2BD2}"/>
              </a:ext>
            </a:extLst>
          </p:cNvPr>
          <p:cNvSpPr txBox="1">
            <a:spLocks/>
          </p:cNvSpPr>
          <p:nvPr/>
        </p:nvSpPr>
        <p:spPr bwMode="auto">
          <a:xfrm>
            <a:off x="1774825" y="4343993"/>
            <a:ext cx="8642350" cy="20839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n-ea"/>
                <a:ea typeface="+mn-ea"/>
                <a:cs typeface="+mn-cs"/>
              </a:defRPr>
            </a:lvl1pPr>
            <a:lvl2pPr marL="742950" indent="-285750" algn="l" rtl="0" eaLnBrk="1" fontAlgn="base" hangingPunct="1">
              <a:spcBef>
                <a:spcPct val="20000"/>
              </a:spcBef>
              <a:spcAft>
                <a:spcPct val="0"/>
              </a:spcAft>
              <a:buChar char="–"/>
              <a:defRPr kumimoji="1" sz="2800" b="1">
                <a:solidFill>
                  <a:schemeClr val="tx1"/>
                </a:solidFill>
                <a:latin typeface="+mn-ea"/>
                <a:ea typeface="+mn-ea"/>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n-ea"/>
                <a:ea typeface="+mn-ea"/>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n-ea"/>
                <a:ea typeface="+mn-ea"/>
              </a:defRPr>
            </a:lvl4pPr>
            <a:lvl5pPr marL="2057400" indent="-228600" algn="l" rtl="0" eaLnBrk="1" fontAlgn="base" hangingPunct="1">
              <a:spcBef>
                <a:spcPct val="20000"/>
              </a:spcBef>
              <a:spcAft>
                <a:spcPct val="0"/>
              </a:spcAft>
              <a:buChar char="»"/>
              <a:defRPr kumimoji="1" sz="2000" b="1">
                <a:solidFill>
                  <a:schemeClr val="tx1"/>
                </a:solidFill>
                <a:latin typeface="+mn-ea"/>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r>
              <a:rPr lang="ja-JP" altLang="en-US" sz="1200" kern="0" dirty="0">
                <a:latin typeface="Yu Gothic UI" panose="020B0500000000000000" pitchFamily="50" charset="-128"/>
                <a:ea typeface="Yu Gothic UI" panose="020B0500000000000000" pitchFamily="50" charset="-128"/>
              </a:rPr>
              <a:t>提出期限</a:t>
            </a:r>
            <a:br>
              <a:rPr lang="ja-JP" altLang="en-US" sz="1200" b="0" kern="0" dirty="0">
                <a:latin typeface="Yu Gothic UI" panose="020B0500000000000000" pitchFamily="50" charset="-128"/>
                <a:ea typeface="Yu Gothic UI" panose="020B0500000000000000" pitchFamily="50" charset="-128"/>
              </a:rPr>
            </a:br>
            <a:r>
              <a:rPr lang="en-US" altLang="ja-JP" sz="1200" b="0" kern="0" dirty="0">
                <a:latin typeface="Yu Gothic UI" panose="020B0500000000000000" pitchFamily="50" charset="-128"/>
                <a:ea typeface="Yu Gothic UI" panose="020B0500000000000000" pitchFamily="50" charset="-128"/>
              </a:rPr>
              <a:t>2025</a:t>
            </a:r>
            <a:r>
              <a:rPr lang="ja-JP" altLang="en-US" sz="1200" b="0" kern="0" dirty="0">
                <a:latin typeface="Yu Gothic UI" panose="020B0500000000000000" pitchFamily="50" charset="-128"/>
                <a:ea typeface="Yu Gothic UI" panose="020B0500000000000000" pitchFamily="50" charset="-128"/>
              </a:rPr>
              <a:t>年</a:t>
            </a:r>
            <a:r>
              <a:rPr lang="en-US" altLang="ja-JP" sz="1200" b="0" kern="0" dirty="0">
                <a:latin typeface="Yu Gothic UI" panose="020B0500000000000000" pitchFamily="50" charset="-128"/>
                <a:ea typeface="Yu Gothic UI" panose="020B0500000000000000" pitchFamily="50" charset="-128"/>
              </a:rPr>
              <a:t>5</a:t>
            </a:r>
            <a:r>
              <a:rPr lang="ja-JP" altLang="en-US" sz="1200" b="0" kern="0" dirty="0">
                <a:latin typeface="Yu Gothic UI" panose="020B0500000000000000" pitchFamily="50" charset="-128"/>
                <a:ea typeface="Yu Gothic UI" panose="020B0500000000000000" pitchFamily="50" charset="-128"/>
              </a:rPr>
              <a:t>月</a:t>
            </a:r>
            <a:r>
              <a:rPr lang="en-US" altLang="ja-JP" sz="1200" b="0" kern="0" dirty="0">
                <a:latin typeface="Yu Gothic UI" panose="020B0500000000000000" pitchFamily="50" charset="-128"/>
                <a:ea typeface="Yu Gothic UI" panose="020B0500000000000000" pitchFamily="50" charset="-128"/>
              </a:rPr>
              <a:t>23</a:t>
            </a:r>
            <a:r>
              <a:rPr lang="ja-JP" altLang="en-US" sz="1200" b="0" kern="0" dirty="0">
                <a:latin typeface="Yu Gothic UI" panose="020B0500000000000000" pitchFamily="50" charset="-128"/>
                <a:ea typeface="Yu Gothic UI" panose="020B0500000000000000" pitchFamily="50" charset="-128"/>
              </a:rPr>
              <a:t>日（金）まで</a:t>
            </a:r>
            <a:endParaRPr lang="en-US" altLang="ja-JP" sz="1200" b="0" kern="0" dirty="0">
              <a:latin typeface="Yu Gothic UI" panose="020B0500000000000000" pitchFamily="50" charset="-128"/>
              <a:ea typeface="Yu Gothic UI" panose="020B0500000000000000" pitchFamily="50" charset="-128"/>
            </a:endParaRPr>
          </a:p>
          <a:p>
            <a:endParaRPr lang="ja-JP" altLang="en-US" sz="1200" b="0" kern="0" dirty="0">
              <a:latin typeface="Yu Gothic UI" panose="020B0500000000000000" pitchFamily="50" charset="-128"/>
              <a:ea typeface="Yu Gothic UI" panose="020B0500000000000000" pitchFamily="50" charset="-128"/>
            </a:endParaRPr>
          </a:p>
          <a:p>
            <a:r>
              <a:rPr lang="ja-JP" altLang="en-US" sz="1200" kern="0" dirty="0">
                <a:latin typeface="Yu Gothic UI" panose="020B0500000000000000" pitchFamily="50" charset="-128"/>
                <a:ea typeface="Yu Gothic UI" panose="020B0500000000000000" pitchFamily="50" charset="-128"/>
              </a:rPr>
              <a:t>提出方法</a:t>
            </a:r>
          </a:p>
          <a:p>
            <a:pPr lvl="1"/>
            <a:r>
              <a:rPr lang="ja-JP" altLang="en-US" sz="1200" b="0" kern="0" dirty="0">
                <a:latin typeface="Yu Gothic UI" panose="020B0500000000000000" pitchFamily="50" charset="-128"/>
                <a:ea typeface="Yu Gothic UI" panose="020B0500000000000000" pitchFamily="50" charset="-128"/>
              </a:rPr>
              <a:t>作成した提案書については、貴社専用の</a:t>
            </a:r>
            <a:r>
              <a:rPr lang="en-US" altLang="ja-JP" sz="1200" b="0" kern="0" dirty="0">
                <a:latin typeface="Yu Gothic UI" panose="020B0500000000000000" pitchFamily="50" charset="-128"/>
                <a:ea typeface="Yu Gothic UI" panose="020B0500000000000000" pitchFamily="50" charset="-128"/>
              </a:rPr>
              <a:t>Box</a:t>
            </a:r>
            <a:r>
              <a:rPr lang="ja-JP" altLang="en-US" sz="1200" b="0" kern="0" dirty="0">
                <a:latin typeface="Yu Gothic UI" panose="020B0500000000000000" pitchFamily="50" charset="-128"/>
                <a:ea typeface="Yu Gothic UI" panose="020B0500000000000000" pitchFamily="50" charset="-128"/>
              </a:rPr>
              <a:t>を用意しますので、そちらにアップロードしてください</a:t>
            </a:r>
            <a:br>
              <a:rPr lang="en-US" altLang="ja-JP" sz="1200" b="0" kern="0" dirty="0">
                <a:latin typeface="Yu Gothic UI" panose="020B0500000000000000" pitchFamily="50" charset="-128"/>
                <a:ea typeface="Yu Gothic UI" panose="020B0500000000000000" pitchFamily="50" charset="-128"/>
              </a:rPr>
            </a:br>
            <a:r>
              <a:rPr lang="ja-JP" altLang="en-US" sz="1200" b="0" kern="0" dirty="0">
                <a:latin typeface="Yu Gothic UI" panose="020B0500000000000000" pitchFamily="50" charset="-128"/>
                <a:ea typeface="Yu Gothic UI" panose="020B0500000000000000" pitchFamily="50" charset="-128"/>
              </a:rPr>
              <a:t>アップロード先</a:t>
            </a:r>
            <a:r>
              <a:rPr lang="en-US" altLang="ja-JP" sz="1200" b="0" kern="0" dirty="0">
                <a:latin typeface="Yu Gothic UI" panose="020B0500000000000000" pitchFamily="50" charset="-128"/>
                <a:ea typeface="Yu Gothic UI" panose="020B0500000000000000" pitchFamily="50" charset="-128"/>
              </a:rPr>
              <a:t>URL</a:t>
            </a:r>
            <a:r>
              <a:rPr lang="ja-JP" altLang="en-US" sz="1200" b="0" kern="0" dirty="0">
                <a:latin typeface="Yu Gothic UI" panose="020B0500000000000000" pitchFamily="50" charset="-128"/>
                <a:ea typeface="Yu Gothic UI" panose="020B0500000000000000" pitchFamily="50" charset="-128"/>
              </a:rPr>
              <a:t>は、別途メールにてご連絡いたします</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なお、ファイルアップロード後に電子メールにてご連絡をお願いします。件名は「</a:t>
            </a:r>
            <a:r>
              <a:rPr lang="en-US" altLang="ja-JP" sz="1200" b="0" kern="0" dirty="0">
                <a:latin typeface="Yu Gothic UI" panose="020B0500000000000000" pitchFamily="50" charset="-128"/>
                <a:ea typeface="Yu Gothic UI" panose="020B0500000000000000" pitchFamily="50" charset="-128"/>
              </a:rPr>
              <a:t> 【FA</a:t>
            </a:r>
            <a:r>
              <a:rPr lang="ja-JP" altLang="en-US" sz="1200" b="0" kern="0" dirty="0">
                <a:latin typeface="Yu Gothic UI" panose="020B0500000000000000" pitchFamily="50" charset="-128"/>
                <a:ea typeface="Yu Gothic UI" panose="020B0500000000000000" pitchFamily="50" charset="-128"/>
              </a:rPr>
              <a:t>サイト運用保守提案</a:t>
            </a:r>
            <a:r>
              <a:rPr lang="en-US" altLang="ja-JP" sz="1200" b="0" kern="0" dirty="0">
                <a:latin typeface="Yu Gothic UI" panose="020B0500000000000000" pitchFamily="50" charset="-128"/>
                <a:ea typeface="Yu Gothic UI" panose="020B0500000000000000" pitchFamily="50" charset="-128"/>
              </a:rPr>
              <a:t>】</a:t>
            </a:r>
            <a:r>
              <a:rPr lang="ja-JP" altLang="en-US" sz="1200" b="0" kern="0" dirty="0">
                <a:latin typeface="Yu Gothic UI" panose="020B0500000000000000" pitchFamily="50" charset="-128"/>
                <a:ea typeface="Yu Gothic UI" panose="020B0500000000000000" pitchFamily="50" charset="-128"/>
              </a:rPr>
              <a:t>提案書提出</a:t>
            </a:r>
            <a:r>
              <a:rPr lang="en-US" altLang="ja-JP" sz="1200" b="0" kern="0" dirty="0">
                <a:latin typeface="Yu Gothic UI" panose="020B0500000000000000" pitchFamily="50" charset="-128"/>
                <a:ea typeface="Yu Gothic UI" panose="020B0500000000000000" pitchFamily="50" charset="-128"/>
              </a:rPr>
              <a:t>_</a:t>
            </a:r>
            <a:r>
              <a:rPr lang="ja-JP" altLang="en-US" sz="1200" b="0" kern="0" dirty="0">
                <a:latin typeface="Yu Gothic UI" panose="020B0500000000000000" pitchFamily="50" charset="-128"/>
                <a:ea typeface="Yu Gothic UI" panose="020B0500000000000000" pitchFamily="50" charset="-128"/>
              </a:rPr>
              <a:t>貴社名」とすること</a:t>
            </a:r>
            <a:br>
              <a:rPr lang="en-US" altLang="ja-JP" sz="1200" b="0" kern="0" dirty="0">
                <a:latin typeface="Yu Gothic UI" panose="020B0500000000000000" pitchFamily="50" charset="-128"/>
                <a:ea typeface="Yu Gothic UI" panose="020B0500000000000000" pitchFamily="50" charset="-128"/>
              </a:rPr>
            </a:br>
            <a:endParaRPr lang="ja-JP" altLang="en-US" sz="1200" b="0" kern="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643581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A2BA658-FC24-2CEA-402B-BC26B6562BA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7" name="think-cell data - do not delete" hidden="1">
                        <a:extLst>
                          <a:ext uri="{FF2B5EF4-FFF2-40B4-BE49-F238E27FC236}">
                            <a16:creationId xmlns:a16="http://schemas.microsoft.com/office/drawing/2014/main" id="{BA2BA658-FC24-2CEA-402B-BC26B6562BAB}"/>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331210F-FE11-E9B3-E29F-BAF8D69B5C73}"/>
              </a:ext>
            </a:extLst>
          </p:cNvPr>
          <p:cNvSpPr>
            <a:spLocks noGrp="1"/>
          </p:cNvSpPr>
          <p:nvPr>
            <p:ph type="sldNum" sz="quarter" idx="11"/>
          </p:nvPr>
        </p:nvSpPr>
        <p:spPr>
          <a:xfrm>
            <a:off x="106015" y="6654007"/>
            <a:ext cx="144270" cy="115416"/>
          </a:xfrm>
        </p:spPr>
        <p:txBody>
          <a:bodyPr/>
          <a:lstStyle/>
          <a:p>
            <a:fld id="{AA5FCFE5-FE56-4EF1-80A8-07776887C2A1}" type="slidenum">
              <a:rPr lang="ja-JP" altLang="en-US" smtClean="0"/>
              <a:pPr/>
              <a:t>22</a:t>
            </a:fld>
            <a:endParaRPr lang="ja-JP" altLang="en-US"/>
          </a:p>
        </p:txBody>
      </p:sp>
      <p:sp>
        <p:nvSpPr>
          <p:cNvPr id="5" name="タイトル 4">
            <a:extLst>
              <a:ext uri="{FF2B5EF4-FFF2-40B4-BE49-F238E27FC236}">
                <a16:creationId xmlns:a16="http://schemas.microsoft.com/office/drawing/2014/main" id="{189A540E-43CC-454E-0766-E27C9541F0AB}"/>
              </a:ext>
            </a:extLst>
          </p:cNvPr>
          <p:cNvSpPr>
            <a:spLocks noGrp="1"/>
          </p:cNvSpPr>
          <p:nvPr>
            <p:ph type="title"/>
          </p:nvPr>
        </p:nvSpPr>
        <p:spPr>
          <a:xfrm>
            <a:off x="513232" y="0"/>
            <a:ext cx="11165539" cy="674781"/>
          </a:xfrm>
        </p:spPr>
        <p:txBody>
          <a:bodyPr vert="horz" anchor="ctr">
            <a:normAutofit/>
          </a:bodyPr>
          <a:lstStyle/>
          <a:p>
            <a:r>
              <a:rPr kumimoji="1" lang="en-US" altLang="ja-JP"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4-1.</a:t>
            </a:r>
            <a:r>
              <a:rPr kumimoji="1" lang="ja-JP" altLang="en-US"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提案手続き 詳細</a:t>
            </a:r>
            <a:r>
              <a:rPr kumimoji="1" lang="en-US" altLang="ja-JP" b="1" i="0" u="none" strike="noStrike" kern="1200" cap="none" spc="300" normalizeH="0" baseline="0" noProof="0" dirty="0">
                <a:ln>
                  <a:noFill/>
                </a:ln>
                <a:solidFill>
                  <a:srgbClr val="000000">
                    <a:lumMod val="75000"/>
                    <a:lumOff val="25000"/>
                  </a:srgbClr>
                </a:solidFill>
                <a:effectLst/>
                <a:uLnTx/>
                <a:uFillTx/>
                <a:latin typeface="Yu Gothic UI" panose="020B0500000000000000" pitchFamily="50" charset="-128"/>
                <a:ea typeface="Yu Gothic UI" panose="020B0500000000000000" pitchFamily="50" charset="-128"/>
                <a:cs typeface="+mj-cs"/>
              </a:rPr>
              <a:t>(2/2)</a:t>
            </a:r>
            <a:endParaRPr lang="ja-JP" altLang="en-US" dirty="0"/>
          </a:p>
        </p:txBody>
      </p:sp>
      <p:sp>
        <p:nvSpPr>
          <p:cNvPr id="28" name="コンテンツ プレースホルダー 2">
            <a:extLst>
              <a:ext uri="{FF2B5EF4-FFF2-40B4-BE49-F238E27FC236}">
                <a16:creationId xmlns:a16="http://schemas.microsoft.com/office/drawing/2014/main" id="{5EB01822-DCC5-82EE-E19E-6C46E1048EDC}"/>
              </a:ext>
            </a:extLst>
          </p:cNvPr>
          <p:cNvSpPr txBox="1">
            <a:spLocks/>
          </p:cNvSpPr>
          <p:nvPr/>
        </p:nvSpPr>
        <p:spPr bwMode="auto">
          <a:xfrm>
            <a:off x="1774825" y="1085543"/>
            <a:ext cx="8598842" cy="22267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n-ea"/>
                <a:ea typeface="+mn-ea"/>
                <a:cs typeface="+mn-cs"/>
              </a:defRPr>
            </a:lvl1pPr>
            <a:lvl2pPr marL="742950" indent="-285750" algn="l" rtl="0" eaLnBrk="1" fontAlgn="base" hangingPunct="1">
              <a:spcBef>
                <a:spcPct val="20000"/>
              </a:spcBef>
              <a:spcAft>
                <a:spcPct val="0"/>
              </a:spcAft>
              <a:buChar char="–"/>
              <a:defRPr kumimoji="1" sz="2800" b="1">
                <a:solidFill>
                  <a:schemeClr val="tx1"/>
                </a:solidFill>
                <a:latin typeface="+mn-ea"/>
                <a:ea typeface="+mn-ea"/>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n-ea"/>
                <a:ea typeface="+mn-ea"/>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n-ea"/>
                <a:ea typeface="+mn-ea"/>
              </a:defRPr>
            </a:lvl4pPr>
            <a:lvl5pPr marL="2057400" indent="-228600" algn="l" rtl="0" eaLnBrk="1" fontAlgn="base" hangingPunct="1">
              <a:spcBef>
                <a:spcPct val="20000"/>
              </a:spcBef>
              <a:spcAft>
                <a:spcPct val="0"/>
              </a:spcAft>
              <a:buChar char="»"/>
              <a:defRPr kumimoji="1" sz="2000" b="1">
                <a:solidFill>
                  <a:schemeClr val="tx1"/>
                </a:solidFill>
                <a:latin typeface="+mn-ea"/>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r>
              <a:rPr lang="ja-JP" altLang="en-US" sz="1200" b="0" kern="0" dirty="0">
                <a:latin typeface="Yu Gothic UI" panose="020B0500000000000000" pitchFamily="50" charset="-128"/>
                <a:ea typeface="Yu Gothic UI" panose="020B0500000000000000" pitchFamily="50" charset="-128"/>
              </a:rPr>
              <a:t>実施日</a:t>
            </a:r>
            <a:br>
              <a:rPr lang="en-US" altLang="ja-JP" sz="1200" b="0" kern="0" dirty="0">
                <a:latin typeface="Yu Gothic UI" panose="020B0500000000000000" pitchFamily="50" charset="-128"/>
                <a:ea typeface="Yu Gothic UI" panose="020B0500000000000000" pitchFamily="50" charset="-128"/>
              </a:rPr>
            </a:br>
            <a:r>
              <a:rPr lang="en-US" altLang="ja-JP" sz="1200" b="0" kern="0" dirty="0">
                <a:latin typeface="Yu Gothic UI" panose="020B0500000000000000" pitchFamily="50" charset="-128"/>
                <a:ea typeface="Yu Gothic UI" panose="020B0500000000000000" pitchFamily="50" charset="-128"/>
              </a:rPr>
              <a:t>2024</a:t>
            </a:r>
            <a:r>
              <a:rPr lang="ja-JP" altLang="en-US" sz="1200" b="0" kern="0" dirty="0">
                <a:latin typeface="Yu Gothic UI" panose="020B0500000000000000" pitchFamily="50" charset="-128"/>
                <a:ea typeface="Yu Gothic UI" panose="020B0500000000000000" pitchFamily="50" charset="-128"/>
              </a:rPr>
              <a:t>年</a:t>
            </a:r>
            <a:r>
              <a:rPr lang="en-US" altLang="ja-JP" sz="1200" b="0" kern="0" dirty="0">
                <a:latin typeface="Yu Gothic UI" panose="020B0500000000000000" pitchFamily="50" charset="-128"/>
                <a:ea typeface="Yu Gothic UI" panose="020B0500000000000000" pitchFamily="50" charset="-128"/>
              </a:rPr>
              <a:t>5</a:t>
            </a:r>
            <a:r>
              <a:rPr lang="ja-JP" altLang="en-US" sz="1200" b="0" kern="0" dirty="0">
                <a:latin typeface="Yu Gothic UI" panose="020B0500000000000000" pitchFamily="50" charset="-128"/>
                <a:ea typeface="Yu Gothic UI" panose="020B0500000000000000" pitchFamily="50" charset="-128"/>
              </a:rPr>
              <a:t>月</a:t>
            </a:r>
            <a:r>
              <a:rPr lang="en-US" altLang="ja-JP" sz="1200" b="0" kern="0" dirty="0">
                <a:latin typeface="Yu Gothic UI" panose="020B0500000000000000" pitchFamily="50" charset="-128"/>
                <a:ea typeface="Yu Gothic UI" panose="020B0500000000000000" pitchFamily="50" charset="-128"/>
              </a:rPr>
              <a:t>26</a:t>
            </a:r>
            <a:r>
              <a:rPr lang="ja-JP" altLang="en-US" sz="1200" b="0" kern="0" dirty="0">
                <a:latin typeface="Yu Gothic UI" panose="020B0500000000000000" pitchFamily="50" charset="-128"/>
                <a:ea typeface="Yu Gothic UI" panose="020B0500000000000000" pitchFamily="50" charset="-128"/>
              </a:rPr>
              <a:t>日（</a:t>
            </a:r>
            <a:r>
              <a:rPr lang="en-US" altLang="ja-JP" sz="1200" b="0" kern="0" dirty="0">
                <a:latin typeface="Yu Gothic UI" panose="020B0500000000000000" pitchFamily="50" charset="-128"/>
                <a:ea typeface="Yu Gothic UI" panose="020B0500000000000000" pitchFamily="50" charset="-128"/>
              </a:rPr>
              <a:t> </a:t>
            </a:r>
            <a:r>
              <a:rPr lang="ja-JP" altLang="en-US" sz="1200" b="0" kern="0" dirty="0">
                <a:latin typeface="Yu Gothic UI" panose="020B0500000000000000" pitchFamily="50" charset="-128"/>
                <a:ea typeface="Yu Gothic UI" panose="020B0500000000000000" pitchFamily="50" charset="-128"/>
              </a:rPr>
              <a:t>月</a:t>
            </a:r>
            <a:r>
              <a:rPr lang="en-US" altLang="ja-JP" sz="1200" b="0" kern="0" dirty="0">
                <a:latin typeface="Yu Gothic UI" panose="020B0500000000000000" pitchFamily="50" charset="-128"/>
                <a:ea typeface="Yu Gothic UI" panose="020B0500000000000000" pitchFamily="50" charset="-128"/>
              </a:rPr>
              <a:t> </a:t>
            </a:r>
            <a:r>
              <a:rPr lang="ja-JP" altLang="en-US" sz="1200" b="0" kern="0" dirty="0">
                <a:latin typeface="Yu Gothic UI" panose="020B0500000000000000" pitchFamily="50" charset="-128"/>
                <a:ea typeface="Yu Gothic UI" panose="020B0500000000000000" pitchFamily="50" charset="-128"/>
              </a:rPr>
              <a:t>）～</a:t>
            </a:r>
            <a:r>
              <a:rPr lang="en-US" altLang="ja-JP" sz="1200" b="0" kern="0" dirty="0">
                <a:latin typeface="Yu Gothic UI" panose="020B0500000000000000" pitchFamily="50" charset="-128"/>
                <a:ea typeface="Yu Gothic UI" panose="020B0500000000000000" pitchFamily="50" charset="-128"/>
              </a:rPr>
              <a:t> 2024</a:t>
            </a:r>
            <a:r>
              <a:rPr lang="ja-JP" altLang="en-US" sz="1200" b="0" kern="0" dirty="0">
                <a:latin typeface="Yu Gothic UI" panose="020B0500000000000000" pitchFamily="50" charset="-128"/>
                <a:ea typeface="Yu Gothic UI" panose="020B0500000000000000" pitchFamily="50" charset="-128"/>
              </a:rPr>
              <a:t>年</a:t>
            </a:r>
            <a:r>
              <a:rPr lang="en-US" altLang="ja-JP" sz="1200" b="0" kern="0" dirty="0">
                <a:latin typeface="Yu Gothic UI" panose="020B0500000000000000" pitchFamily="50" charset="-128"/>
                <a:ea typeface="Yu Gothic UI" panose="020B0500000000000000" pitchFamily="50" charset="-128"/>
              </a:rPr>
              <a:t>6</a:t>
            </a:r>
            <a:r>
              <a:rPr lang="ja-JP" altLang="en-US" sz="1200" b="0" kern="0" dirty="0">
                <a:latin typeface="Yu Gothic UI" panose="020B0500000000000000" pitchFamily="50" charset="-128"/>
                <a:ea typeface="Yu Gothic UI" panose="020B0500000000000000" pitchFamily="50" charset="-128"/>
              </a:rPr>
              <a:t>月</a:t>
            </a:r>
            <a:r>
              <a:rPr lang="en-US" altLang="ja-JP" sz="1200" b="0" kern="0" dirty="0">
                <a:latin typeface="Yu Gothic UI" panose="020B0500000000000000" pitchFamily="50" charset="-128"/>
                <a:ea typeface="Yu Gothic UI" panose="020B0500000000000000" pitchFamily="50" charset="-128"/>
              </a:rPr>
              <a:t>6</a:t>
            </a:r>
            <a:r>
              <a:rPr lang="ja-JP" altLang="en-US" sz="1200" b="0" kern="0" dirty="0">
                <a:latin typeface="Yu Gothic UI" panose="020B0500000000000000" pitchFamily="50" charset="-128"/>
                <a:ea typeface="Yu Gothic UI" panose="020B0500000000000000" pitchFamily="50" charset="-128"/>
              </a:rPr>
              <a:t>日（</a:t>
            </a:r>
            <a:r>
              <a:rPr lang="en-US" altLang="ja-JP" sz="1200" b="0" kern="0" dirty="0">
                <a:latin typeface="Yu Gothic UI" panose="020B0500000000000000" pitchFamily="50" charset="-128"/>
                <a:ea typeface="Yu Gothic UI" panose="020B0500000000000000" pitchFamily="50" charset="-128"/>
              </a:rPr>
              <a:t> </a:t>
            </a:r>
            <a:r>
              <a:rPr lang="ja-JP" altLang="en-US" sz="1200" b="0" kern="0" dirty="0">
                <a:latin typeface="Yu Gothic UI" panose="020B0500000000000000" pitchFamily="50" charset="-128"/>
                <a:ea typeface="Yu Gothic UI" panose="020B0500000000000000" pitchFamily="50" charset="-128"/>
              </a:rPr>
              <a:t>金</a:t>
            </a:r>
            <a:r>
              <a:rPr lang="en-US" altLang="ja-JP" sz="1200" b="0" kern="0" dirty="0">
                <a:latin typeface="Yu Gothic UI" panose="020B0500000000000000" pitchFamily="50" charset="-128"/>
                <a:ea typeface="Yu Gothic UI" panose="020B0500000000000000" pitchFamily="50" charset="-128"/>
              </a:rPr>
              <a:t> </a:t>
            </a:r>
            <a:r>
              <a:rPr lang="ja-JP" altLang="en-US" sz="1200" b="0" kern="0" dirty="0">
                <a:latin typeface="Yu Gothic UI" panose="020B0500000000000000" pitchFamily="50" charset="-128"/>
                <a:ea typeface="Yu Gothic UI" panose="020B0500000000000000" pitchFamily="50" charset="-128"/>
              </a:rPr>
              <a:t>） </a:t>
            </a:r>
            <a:r>
              <a:rPr lang="en-US" altLang="ja-JP" sz="1200" b="0" kern="0" dirty="0">
                <a:latin typeface="Yu Gothic UI" panose="020B0500000000000000" pitchFamily="50" charset="-128"/>
                <a:ea typeface="Yu Gothic UI" panose="020B0500000000000000" pitchFamily="50" charset="-128"/>
              </a:rPr>
              <a:t>※</a:t>
            </a:r>
            <a:r>
              <a:rPr lang="ja-JP" altLang="en-US" sz="1200" b="0" kern="0" dirty="0">
                <a:latin typeface="Yu Gothic UI" panose="020B0500000000000000" pitchFamily="50" charset="-128"/>
                <a:ea typeface="Yu Gothic UI" panose="020B0500000000000000" pitchFamily="50" charset="-128"/>
              </a:rPr>
              <a:t>具体的な日時調整は別途連絡します。</a:t>
            </a:r>
            <a:br>
              <a:rPr lang="en-US" altLang="ja-JP" sz="1200" b="0" kern="0" dirty="0">
                <a:latin typeface="Yu Gothic UI" panose="020B0500000000000000" pitchFamily="50" charset="-128"/>
                <a:ea typeface="Yu Gothic UI" panose="020B0500000000000000" pitchFamily="50" charset="-128"/>
              </a:rPr>
            </a:br>
            <a:endParaRPr lang="ja-JP" altLang="en-US"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実施時間（仮）</a:t>
            </a:r>
            <a:br>
              <a:rPr lang="en-US" altLang="ja-JP" sz="1200" b="0" kern="0" dirty="0">
                <a:latin typeface="Yu Gothic UI" panose="020B0500000000000000" pitchFamily="50" charset="-128"/>
                <a:ea typeface="Yu Gothic UI" panose="020B0500000000000000" pitchFamily="50" charset="-128"/>
              </a:rPr>
            </a:br>
            <a:r>
              <a:rPr lang="en-US" altLang="ja-JP" sz="1200" b="0" kern="0" dirty="0">
                <a:latin typeface="Yu Gothic UI" panose="020B0500000000000000" pitchFamily="50" charset="-128"/>
                <a:ea typeface="Yu Gothic UI" panose="020B0500000000000000" pitchFamily="50" charset="-128"/>
              </a:rPr>
              <a:t>120</a:t>
            </a:r>
            <a:r>
              <a:rPr lang="ja-JP" altLang="en-US" sz="1200" b="0" kern="0" dirty="0">
                <a:latin typeface="Yu Gothic UI" panose="020B0500000000000000" pitchFamily="50" charset="-128"/>
                <a:ea typeface="Yu Gothic UI" panose="020B0500000000000000" pitchFamily="50" charset="-128"/>
              </a:rPr>
              <a:t>分以内（プレゼンテーション：</a:t>
            </a:r>
            <a:r>
              <a:rPr lang="en-US" altLang="ja-JP" sz="1200" b="0" kern="0" dirty="0">
                <a:latin typeface="Yu Gothic UI" panose="020B0500000000000000" pitchFamily="50" charset="-128"/>
                <a:ea typeface="Yu Gothic UI" panose="020B0500000000000000" pitchFamily="50" charset="-128"/>
              </a:rPr>
              <a:t>60</a:t>
            </a:r>
            <a:r>
              <a:rPr lang="ja-JP" altLang="en-US" sz="1200" b="0" kern="0" dirty="0">
                <a:latin typeface="Yu Gothic UI" panose="020B0500000000000000" pitchFamily="50" charset="-128"/>
                <a:ea typeface="Yu Gothic UI" panose="020B0500000000000000" pitchFamily="50" charset="-128"/>
              </a:rPr>
              <a:t>分、質疑応答</a:t>
            </a:r>
            <a:r>
              <a:rPr lang="en-US" altLang="ja-JP" sz="1200" b="0" kern="0" dirty="0">
                <a:latin typeface="Yu Gothic UI" panose="020B0500000000000000" pitchFamily="50" charset="-128"/>
                <a:ea typeface="Yu Gothic UI" panose="020B0500000000000000" pitchFamily="50" charset="-128"/>
              </a:rPr>
              <a:t>60</a:t>
            </a:r>
            <a:r>
              <a:rPr lang="ja-JP" altLang="en-US" sz="1200" b="0" kern="0" dirty="0">
                <a:latin typeface="Yu Gothic UI" panose="020B0500000000000000" pitchFamily="50" charset="-128"/>
                <a:ea typeface="Yu Gothic UI" panose="020B0500000000000000" pitchFamily="50" charset="-128"/>
              </a:rPr>
              <a:t>分）</a:t>
            </a:r>
            <a:br>
              <a:rPr lang="en-US" altLang="ja-JP" sz="1200" b="0" kern="0" dirty="0">
                <a:latin typeface="Yu Gothic UI" panose="020B0500000000000000" pitchFamily="50" charset="-128"/>
                <a:ea typeface="Yu Gothic UI" panose="020B0500000000000000" pitchFamily="50" charset="-128"/>
              </a:rPr>
            </a:br>
            <a:endParaRPr lang="ja-JP" altLang="en-US"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場所</a:t>
            </a:r>
            <a:br>
              <a:rPr lang="en-US" altLang="ja-JP" sz="1200" b="0" kern="0" dirty="0">
                <a:latin typeface="Yu Gothic UI" panose="020B0500000000000000" pitchFamily="50" charset="-128"/>
                <a:ea typeface="Yu Gothic UI" panose="020B0500000000000000" pitchFamily="50" charset="-128"/>
              </a:rPr>
            </a:br>
            <a:r>
              <a:rPr lang="ja-JP" altLang="en-US" sz="1200" b="0" kern="0" dirty="0">
                <a:latin typeface="Yu Gothic UI" panose="020B0500000000000000" pitchFamily="50" charset="-128"/>
                <a:ea typeface="Yu Gothic UI" panose="020B0500000000000000" pitchFamily="50" charset="-128"/>
              </a:rPr>
              <a:t>別途調整</a:t>
            </a:r>
            <a:r>
              <a:rPr lang="en-US" altLang="ja-JP" sz="1200" b="0" kern="0" dirty="0">
                <a:latin typeface="Yu Gothic UI" panose="020B0500000000000000" pitchFamily="50" charset="-128"/>
                <a:ea typeface="Yu Gothic UI" panose="020B0500000000000000" pitchFamily="50" charset="-128"/>
              </a:rPr>
              <a:t>(</a:t>
            </a:r>
            <a:r>
              <a:rPr lang="ja-JP" altLang="en-US" sz="1200" b="0" kern="0" dirty="0">
                <a:latin typeface="Yu Gothic UI" panose="020B0500000000000000" pitchFamily="50" charset="-128"/>
                <a:ea typeface="Yu Gothic UI" panose="020B0500000000000000" pitchFamily="50" charset="-128"/>
              </a:rPr>
              <a:t>弊社中部支社</a:t>
            </a:r>
            <a:r>
              <a:rPr lang="en-US" altLang="ja-JP" sz="1200" b="0" kern="0" dirty="0">
                <a:latin typeface="Yu Gothic UI" panose="020B0500000000000000" pitchFamily="50" charset="-128"/>
                <a:ea typeface="Yu Gothic UI" panose="020B0500000000000000" pitchFamily="50" charset="-128"/>
              </a:rPr>
              <a:t>)</a:t>
            </a:r>
            <a:br>
              <a:rPr lang="en-US" altLang="ja-JP" sz="1200" b="0" kern="0" dirty="0">
                <a:latin typeface="Yu Gothic UI" panose="020B0500000000000000" pitchFamily="50" charset="-128"/>
                <a:ea typeface="Yu Gothic UI" panose="020B0500000000000000" pitchFamily="50" charset="-128"/>
              </a:rPr>
            </a:br>
            <a:endParaRPr lang="ja-JP" altLang="en-US"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その他</a:t>
            </a:r>
          </a:p>
          <a:p>
            <a:pPr lvl="1"/>
            <a:r>
              <a:rPr lang="ja-JP" altLang="en-US" sz="1200" b="0" kern="0" dirty="0">
                <a:latin typeface="Yu Gothic UI" panose="020B0500000000000000" pitchFamily="50" charset="-128"/>
                <a:ea typeface="Yu Gothic UI" panose="020B0500000000000000" pitchFamily="50" charset="-128"/>
              </a:rPr>
              <a:t>プロジェクトリーダーは必ず出席してください</a:t>
            </a:r>
          </a:p>
        </p:txBody>
      </p:sp>
      <p:sp>
        <p:nvSpPr>
          <p:cNvPr id="4" name="正方形/長方形 3">
            <a:extLst>
              <a:ext uri="{FF2B5EF4-FFF2-40B4-BE49-F238E27FC236}">
                <a16:creationId xmlns:a16="http://schemas.microsoft.com/office/drawing/2014/main" id="{2D67BB31-8F68-D0A5-6C39-C2802F0349CA}"/>
              </a:ext>
            </a:extLst>
          </p:cNvPr>
          <p:cNvSpPr/>
          <p:nvPr/>
        </p:nvSpPr>
        <p:spPr>
          <a:xfrm>
            <a:off x="1774960" y="870957"/>
            <a:ext cx="8598842" cy="210421"/>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a:solidFill>
                  <a:schemeClr val="tx1"/>
                </a:solidFill>
                <a:latin typeface="Yu Gothic UI" panose="020B0500000000000000" pitchFamily="50" charset="-128"/>
                <a:ea typeface="Yu Gothic UI" panose="020B0500000000000000" pitchFamily="50" charset="-128"/>
              </a:rPr>
              <a:t>プレゼンテーション</a:t>
            </a:r>
          </a:p>
        </p:txBody>
      </p:sp>
      <p:sp>
        <p:nvSpPr>
          <p:cNvPr id="6" name="正方形/長方形 5">
            <a:extLst>
              <a:ext uri="{FF2B5EF4-FFF2-40B4-BE49-F238E27FC236}">
                <a16:creationId xmlns:a16="http://schemas.microsoft.com/office/drawing/2014/main" id="{9289026B-DA3D-3DC1-45E0-7AE353BD0A48}"/>
              </a:ext>
            </a:extLst>
          </p:cNvPr>
          <p:cNvSpPr/>
          <p:nvPr/>
        </p:nvSpPr>
        <p:spPr>
          <a:xfrm>
            <a:off x="1774825" y="3476418"/>
            <a:ext cx="8598842" cy="210421"/>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a:solidFill>
                  <a:schemeClr val="tx1"/>
                </a:solidFill>
                <a:latin typeface="Yu Gothic UI" panose="020B0500000000000000" pitchFamily="50" charset="-128"/>
                <a:ea typeface="Yu Gothic UI" panose="020B0500000000000000" pitchFamily="50" charset="-128"/>
              </a:rPr>
              <a:t>お問い合わせ窓口</a:t>
            </a:r>
          </a:p>
        </p:txBody>
      </p:sp>
      <p:sp>
        <p:nvSpPr>
          <p:cNvPr id="9" name="コンテンツ プレースホルダー 2">
            <a:extLst>
              <a:ext uri="{FF2B5EF4-FFF2-40B4-BE49-F238E27FC236}">
                <a16:creationId xmlns:a16="http://schemas.microsoft.com/office/drawing/2014/main" id="{D24A7BC8-3ECB-DA82-30F0-5689D90689AF}"/>
              </a:ext>
            </a:extLst>
          </p:cNvPr>
          <p:cNvSpPr txBox="1">
            <a:spLocks/>
          </p:cNvSpPr>
          <p:nvPr/>
        </p:nvSpPr>
        <p:spPr bwMode="auto">
          <a:xfrm>
            <a:off x="1774825" y="3691879"/>
            <a:ext cx="8598842" cy="98644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n-ea"/>
                <a:ea typeface="+mn-ea"/>
                <a:cs typeface="+mn-cs"/>
              </a:defRPr>
            </a:lvl1pPr>
            <a:lvl2pPr marL="742950" indent="-285750" algn="l" rtl="0" eaLnBrk="1" fontAlgn="base" hangingPunct="1">
              <a:spcBef>
                <a:spcPct val="20000"/>
              </a:spcBef>
              <a:spcAft>
                <a:spcPct val="0"/>
              </a:spcAft>
              <a:buChar char="–"/>
              <a:defRPr kumimoji="1" sz="2800" b="1">
                <a:solidFill>
                  <a:schemeClr val="tx1"/>
                </a:solidFill>
                <a:latin typeface="+mn-ea"/>
                <a:ea typeface="+mn-ea"/>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n-ea"/>
                <a:ea typeface="+mn-ea"/>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n-ea"/>
                <a:ea typeface="+mn-ea"/>
              </a:defRPr>
            </a:lvl4pPr>
            <a:lvl5pPr marL="2057400" indent="-228600" algn="l" rtl="0" eaLnBrk="1" fontAlgn="base" hangingPunct="1">
              <a:spcBef>
                <a:spcPct val="20000"/>
              </a:spcBef>
              <a:spcAft>
                <a:spcPct val="0"/>
              </a:spcAft>
              <a:buChar char="»"/>
              <a:defRPr kumimoji="1" sz="2000" b="1">
                <a:solidFill>
                  <a:schemeClr val="tx1"/>
                </a:solidFill>
                <a:latin typeface="+mn-ea"/>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lvl="1"/>
            <a:r>
              <a:rPr lang="ja-JP" altLang="en-US" sz="1200" b="0" kern="0" dirty="0">
                <a:latin typeface="Yu Gothic UI" panose="020B0500000000000000" pitchFamily="50" charset="-128"/>
                <a:ea typeface="Yu Gothic UI" panose="020B0500000000000000" pitchFamily="50" charset="-128"/>
              </a:rPr>
              <a:t>野々山（</a:t>
            </a:r>
            <a:r>
              <a:rPr lang="en-US" altLang="ja-JP" sz="1200" b="0" kern="0" dirty="0">
                <a:latin typeface="Yu Gothic UI" panose="020B0500000000000000" pitchFamily="50" charset="-128"/>
                <a:ea typeface="Yu Gothic UI" panose="020B0500000000000000" pitchFamily="50" charset="-128"/>
              </a:rPr>
              <a:t>Nonoyama.Atsuko@dr.MitsubishiElectric.co.jp</a:t>
            </a:r>
            <a:r>
              <a:rPr lang="ja-JP" altLang="en-US" sz="1200" b="0" kern="0" dirty="0">
                <a:latin typeface="Yu Gothic UI" panose="020B0500000000000000" pitchFamily="50" charset="-128"/>
                <a:ea typeface="Yu Gothic UI" panose="020B0500000000000000" pitchFamily="50" charset="-128"/>
              </a:rPr>
              <a:t>）</a:t>
            </a:r>
            <a:endParaRPr lang="en-US" altLang="ja-JP" sz="1200" b="0" kern="0" dirty="0">
              <a:latin typeface="Yu Gothic UI" panose="020B0500000000000000" pitchFamily="50" charset="-128"/>
              <a:ea typeface="Yu Gothic UI" panose="020B0500000000000000" pitchFamily="50" charset="-128"/>
            </a:endParaRPr>
          </a:p>
          <a:p>
            <a:pPr lvl="1"/>
            <a:r>
              <a:rPr lang="ja-JP" altLang="en-US" sz="1200" b="0" kern="0" dirty="0">
                <a:latin typeface="Yu Gothic UI" panose="020B0500000000000000" pitchFamily="50" charset="-128"/>
                <a:ea typeface="Yu Gothic UI" panose="020B0500000000000000" pitchFamily="50" charset="-128"/>
              </a:rPr>
              <a:t>板倉（</a:t>
            </a:r>
            <a:r>
              <a:rPr lang="en-US" altLang="ja-JP" sz="1200" b="0" kern="0" dirty="0">
                <a:latin typeface="Yu Gothic UI" panose="020B0500000000000000" pitchFamily="50" charset="-128"/>
                <a:ea typeface="Yu Gothic UI" panose="020B0500000000000000" pitchFamily="50" charset="-128"/>
              </a:rPr>
              <a:t>Itakura.Harumi@dh.MitsubishiElectric.co.jp</a:t>
            </a:r>
            <a:r>
              <a:rPr lang="ja-JP" altLang="en-US" sz="1200" b="0" kern="0" dirty="0">
                <a:latin typeface="Yu Gothic UI" panose="020B0500000000000000" pitchFamily="50" charset="-128"/>
                <a:ea typeface="Yu Gothic UI" panose="020B0500000000000000" pitchFamily="50" charset="-128"/>
              </a:rPr>
              <a:t>）</a:t>
            </a:r>
            <a:endParaRPr lang="en-US" altLang="ja-JP" sz="1200" b="0" kern="0" dirty="0">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D1B68447-4819-BB1E-1058-734FFA888ACA}"/>
              </a:ext>
            </a:extLst>
          </p:cNvPr>
          <p:cNvSpPr/>
          <p:nvPr/>
        </p:nvSpPr>
        <p:spPr>
          <a:xfrm>
            <a:off x="1774825" y="4501436"/>
            <a:ext cx="8598842" cy="210421"/>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a:solidFill>
                  <a:schemeClr val="tx1"/>
                </a:solidFill>
                <a:latin typeface="Yu Gothic UI" panose="020B0500000000000000" pitchFamily="50" charset="-128"/>
                <a:ea typeface="Yu Gothic UI" panose="020B0500000000000000" pitchFamily="50" charset="-128"/>
              </a:rPr>
              <a:t>その他注意事項</a:t>
            </a:r>
          </a:p>
        </p:txBody>
      </p:sp>
      <p:sp>
        <p:nvSpPr>
          <p:cNvPr id="11" name="コンテンツ プレースホルダー 2">
            <a:extLst>
              <a:ext uri="{FF2B5EF4-FFF2-40B4-BE49-F238E27FC236}">
                <a16:creationId xmlns:a16="http://schemas.microsoft.com/office/drawing/2014/main" id="{233BE0B6-B679-197E-DD4E-DB309DE8DAE8}"/>
              </a:ext>
            </a:extLst>
          </p:cNvPr>
          <p:cNvSpPr txBox="1">
            <a:spLocks/>
          </p:cNvSpPr>
          <p:nvPr/>
        </p:nvSpPr>
        <p:spPr bwMode="auto">
          <a:xfrm>
            <a:off x="1774825" y="4721936"/>
            <a:ext cx="8598842" cy="14774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n"/>
              <a:defRPr kumimoji="1" sz="3200" b="1">
                <a:solidFill>
                  <a:schemeClr val="tx1"/>
                </a:solidFill>
                <a:latin typeface="+mn-ea"/>
                <a:ea typeface="+mn-ea"/>
                <a:cs typeface="+mn-cs"/>
              </a:defRPr>
            </a:lvl1pPr>
            <a:lvl2pPr marL="742950" indent="-285750" algn="l" rtl="0" eaLnBrk="1" fontAlgn="base" hangingPunct="1">
              <a:spcBef>
                <a:spcPct val="20000"/>
              </a:spcBef>
              <a:spcAft>
                <a:spcPct val="0"/>
              </a:spcAft>
              <a:buChar char="–"/>
              <a:defRPr kumimoji="1" sz="2800" b="1">
                <a:solidFill>
                  <a:schemeClr val="tx1"/>
                </a:solidFill>
                <a:latin typeface="+mn-ea"/>
                <a:ea typeface="+mn-ea"/>
              </a:defRPr>
            </a:lvl2pPr>
            <a:lvl3pPr marL="1143000" indent="-228600" algn="l" rtl="0" eaLnBrk="1" fontAlgn="base" hangingPunct="1">
              <a:spcBef>
                <a:spcPct val="20000"/>
              </a:spcBef>
              <a:spcAft>
                <a:spcPct val="0"/>
              </a:spcAft>
              <a:buFont typeface="Wingdings" pitchFamily="2" charset="2"/>
              <a:buChar char="ü"/>
              <a:defRPr kumimoji="1" sz="2400" b="1">
                <a:solidFill>
                  <a:schemeClr val="tx1"/>
                </a:solidFill>
                <a:latin typeface="+mn-ea"/>
                <a:ea typeface="+mn-ea"/>
              </a:defRPr>
            </a:lvl3pPr>
            <a:lvl4pPr marL="1600200" indent="-228600" algn="l" rtl="0" eaLnBrk="1" fontAlgn="base" hangingPunct="1">
              <a:spcBef>
                <a:spcPct val="20000"/>
              </a:spcBef>
              <a:spcAft>
                <a:spcPct val="0"/>
              </a:spcAft>
              <a:buFont typeface="Wingdings" pitchFamily="2" charset="2"/>
              <a:buChar char="Ø"/>
              <a:defRPr kumimoji="1" sz="2000" b="1">
                <a:solidFill>
                  <a:schemeClr val="tx1"/>
                </a:solidFill>
                <a:latin typeface="+mn-ea"/>
                <a:ea typeface="+mn-ea"/>
              </a:defRPr>
            </a:lvl4pPr>
            <a:lvl5pPr marL="2057400" indent="-228600" algn="l" rtl="0" eaLnBrk="1" fontAlgn="base" hangingPunct="1">
              <a:spcBef>
                <a:spcPct val="20000"/>
              </a:spcBef>
              <a:spcAft>
                <a:spcPct val="0"/>
              </a:spcAft>
              <a:buChar char="»"/>
              <a:defRPr kumimoji="1" sz="2000" b="1">
                <a:solidFill>
                  <a:schemeClr val="tx1"/>
                </a:solidFill>
                <a:latin typeface="+mn-ea"/>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r>
              <a:rPr lang="ja-JP" altLang="en-US" sz="1200" b="0" kern="0" dirty="0">
                <a:latin typeface="Yu Gothic UI" panose="020B0500000000000000" pitchFamily="50" charset="-128"/>
                <a:ea typeface="Yu Gothic UI" panose="020B0500000000000000" pitchFamily="50" charset="-128"/>
              </a:rPr>
              <a:t>提出された提案書等は、返却しないものとする</a:t>
            </a: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提出された提案書類は、弊社内でコピーし配付する場合がある。ただし弊社外の企業に無断で配付することはない</a:t>
            </a: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提出資料やプレゼンテーションに虚偽の内容があった場合は失格とする場合がある</a:t>
            </a: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審査結果についての異議申し立ては受け付けない</a:t>
            </a: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本書は、貴社からご提案いただいた後、破棄すること（電子・紙媒体共に）</a:t>
            </a:r>
            <a:endParaRPr lang="en-US" altLang="ja-JP" sz="1200" b="0" kern="0" dirty="0">
              <a:latin typeface="Yu Gothic UI" panose="020B0500000000000000" pitchFamily="50" charset="-128"/>
              <a:ea typeface="Yu Gothic UI" panose="020B0500000000000000" pitchFamily="50" charset="-128"/>
            </a:endParaRPr>
          </a:p>
          <a:p>
            <a:r>
              <a:rPr lang="ja-JP" altLang="en-US" sz="1200" b="0" kern="0" dirty="0">
                <a:latin typeface="Yu Gothic UI" panose="020B0500000000000000" pitchFamily="50" charset="-128"/>
                <a:ea typeface="Yu Gothic UI" panose="020B0500000000000000" pitchFamily="50" charset="-128"/>
              </a:rPr>
              <a:t>また、必要に応じてコピーを作成された場合には、それを含めて破棄すること（電子・紙媒体共に）</a:t>
            </a:r>
          </a:p>
        </p:txBody>
      </p:sp>
    </p:spTree>
    <p:extLst>
      <p:ext uri="{BB962C8B-B14F-4D97-AF65-F5344CB8AC3E}">
        <p14:creationId xmlns:p14="http://schemas.microsoft.com/office/powerpoint/2010/main" val="2096608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50BC76E9-BE66-BFDC-E03B-5D42AB44785E}"/>
              </a:ext>
            </a:extLst>
          </p:cNvPr>
          <p:cNvSpPr>
            <a:spLocks noGrp="1"/>
          </p:cNvSpPr>
          <p:nvPr>
            <p:ph type="title"/>
          </p:nvPr>
        </p:nvSpPr>
        <p:spPr/>
        <p:txBody>
          <a:bodyPr/>
          <a:lstStyle/>
          <a:p>
            <a:r>
              <a:rPr lang="en-US" altLang="ja-JP" dirty="0">
                <a:solidFill>
                  <a:schemeClr val="tx1">
                    <a:lumMod val="75000"/>
                    <a:lumOff val="25000"/>
                  </a:schemeClr>
                </a:solidFill>
                <a:latin typeface="Yu Gothic UI" panose="020B0500000000000000" pitchFamily="50" charset="-128"/>
                <a:ea typeface="Yu Gothic UI" panose="020B0500000000000000" pitchFamily="50" charset="-128"/>
              </a:rPr>
              <a:t>Appendix</a:t>
            </a:r>
            <a:endParaRPr lang="ja-JP" altLang="en-US" dirty="0"/>
          </a:p>
        </p:txBody>
      </p:sp>
      <p:sp>
        <p:nvSpPr>
          <p:cNvPr id="6" name="テキスト プレースホルダー 5">
            <a:extLst>
              <a:ext uri="{FF2B5EF4-FFF2-40B4-BE49-F238E27FC236}">
                <a16:creationId xmlns:a16="http://schemas.microsoft.com/office/drawing/2014/main" id="{17F1A8B6-ADFE-07E6-B3B5-FB51FE50D214}"/>
              </a:ext>
            </a:extLst>
          </p:cNvPr>
          <p:cNvSpPr>
            <a:spLocks noGrp="1"/>
          </p:cNvSpPr>
          <p:nvPr>
            <p:ph type="body" idx="1"/>
          </p:nvPr>
        </p:nvSpPr>
        <p:spPr/>
        <p:txBody>
          <a:bodyPr/>
          <a:lstStyle/>
          <a:p>
            <a:r>
              <a:rPr lang="ja-JP" altLang="en-US" dirty="0"/>
              <a:t>　</a:t>
            </a:r>
            <a:endParaRPr lang="en-US" altLang="ja-JP" dirty="0"/>
          </a:p>
        </p:txBody>
      </p:sp>
      <p:sp>
        <p:nvSpPr>
          <p:cNvPr id="7" name="テキスト プレースホルダー 6">
            <a:extLst>
              <a:ext uri="{FF2B5EF4-FFF2-40B4-BE49-F238E27FC236}">
                <a16:creationId xmlns:a16="http://schemas.microsoft.com/office/drawing/2014/main" id="{56137FC4-A838-2F84-1CD5-41382B8BFE00}"/>
              </a:ext>
            </a:extLst>
          </p:cNvPr>
          <p:cNvSpPr>
            <a:spLocks noGrp="1"/>
          </p:cNvSpPr>
          <p:nvPr>
            <p:ph type="body" sz="quarter" idx="13"/>
          </p:nvPr>
        </p:nvSpPr>
        <p:spPr/>
        <p:txBody>
          <a:bodyPr/>
          <a:lstStyle/>
          <a:p>
            <a:r>
              <a:rPr lang="ja-JP" altLang="en-US" dirty="0"/>
              <a:t>　</a:t>
            </a:r>
          </a:p>
        </p:txBody>
      </p:sp>
      <p:sp>
        <p:nvSpPr>
          <p:cNvPr id="3" name="スライド番号プレースホルダー 2">
            <a:extLst>
              <a:ext uri="{FF2B5EF4-FFF2-40B4-BE49-F238E27FC236}">
                <a16:creationId xmlns:a16="http://schemas.microsoft.com/office/drawing/2014/main" id="{F85437BC-87A9-5952-3F6B-B2C387F9CC1F}"/>
              </a:ext>
            </a:extLst>
          </p:cNvPr>
          <p:cNvSpPr>
            <a:spLocks noGrp="1"/>
          </p:cNvSpPr>
          <p:nvPr>
            <p:ph type="sldNum" sz="quarter" idx="16"/>
          </p:nvPr>
        </p:nvSpPr>
        <p:spPr/>
        <p:txBody>
          <a:bodyPr/>
          <a:lstStyle/>
          <a:p>
            <a:fld id="{8E309D18-5CEC-4165-B971-DC4DA761F26D}" type="slidenum">
              <a:rPr lang="ja-JP" altLang="en-US" smtClean="0"/>
              <a:pPr/>
              <a:t>23</a:t>
            </a:fld>
            <a:endParaRPr lang="ja-JP" altLang="en-US" dirty="0"/>
          </a:p>
        </p:txBody>
      </p:sp>
    </p:spTree>
    <p:extLst>
      <p:ext uri="{BB962C8B-B14F-4D97-AF65-F5344CB8AC3E}">
        <p14:creationId xmlns:p14="http://schemas.microsoft.com/office/powerpoint/2010/main" val="301489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543A6-D41C-49D9-98BC-BCBD9F9A84FE}"/>
              </a:ext>
            </a:extLst>
          </p:cNvPr>
          <p:cNvSpPr>
            <a:spLocks noGrp="1"/>
          </p:cNvSpPr>
          <p:nvPr>
            <p:ph type="title"/>
          </p:nvPr>
        </p:nvSpPr>
        <p:spPr>
          <a:xfrm>
            <a:off x="1177200" y="1036"/>
            <a:ext cx="9227418" cy="688436"/>
          </a:xfrm>
        </p:spPr>
        <p:txBody>
          <a:bodyPr>
            <a:normAutofit/>
          </a:bodyPr>
          <a:lstStyle/>
          <a:p>
            <a:pPr algn="ctr">
              <a:lnSpc>
                <a:spcPct val="100000"/>
              </a:lnSpc>
            </a:pPr>
            <a:r>
              <a:rPr kumimoji="1" lang="en-US" altLang="ja-JP" dirty="0">
                <a:latin typeface="+mn-ea"/>
                <a:ea typeface="+mn-ea"/>
              </a:rPr>
              <a:t>*1.</a:t>
            </a:r>
            <a:r>
              <a:rPr kumimoji="1" lang="ja-JP" altLang="en-US" dirty="0">
                <a:latin typeface="+mn-ea"/>
                <a:ea typeface="+mn-ea"/>
              </a:rPr>
              <a:t>インフラ環境構築計画</a:t>
            </a:r>
          </a:p>
        </p:txBody>
      </p:sp>
      <p:sp>
        <p:nvSpPr>
          <p:cNvPr id="5" name="Text Placeholder 4">
            <a:extLst>
              <a:ext uri="{FF2B5EF4-FFF2-40B4-BE49-F238E27FC236}">
                <a16:creationId xmlns:a16="http://schemas.microsoft.com/office/drawing/2014/main" id="{A366B559-8CC0-4B55-B38E-C6F56370537C}"/>
              </a:ext>
            </a:extLst>
          </p:cNvPr>
          <p:cNvSpPr>
            <a:spLocks noGrp="1"/>
          </p:cNvSpPr>
          <p:nvPr>
            <p:ph type="body" sz="quarter" idx="15"/>
          </p:nvPr>
        </p:nvSpPr>
        <p:spPr/>
        <p:txBody>
          <a:bodyPr/>
          <a:lstStyle/>
          <a:p>
            <a:endParaRPr kumimoji="1" lang="ja-JP" altLang="en-US"/>
          </a:p>
        </p:txBody>
      </p:sp>
      <p:sp>
        <p:nvSpPr>
          <p:cNvPr id="6" name="Slide Number Placeholder 5">
            <a:extLst>
              <a:ext uri="{FF2B5EF4-FFF2-40B4-BE49-F238E27FC236}">
                <a16:creationId xmlns:a16="http://schemas.microsoft.com/office/drawing/2014/main" id="{F31C6843-85F5-4D45-9657-286871C2A9AC}"/>
              </a:ext>
            </a:extLst>
          </p:cNvPr>
          <p:cNvSpPr>
            <a:spLocks noGrp="1"/>
          </p:cNvSpPr>
          <p:nvPr>
            <p:ph type="sldNum" sz="quarter" idx="22"/>
          </p:nvPr>
        </p:nvSpPr>
        <p:spPr/>
        <p:txBody>
          <a:bodyPr/>
          <a:lstStyle/>
          <a:p>
            <a:pPr algn="r" defTabSz="914400"/>
            <a:fld id="{FE1C4BCE-2E77-4226-B375-D90E70797D62}" type="slidenum">
              <a:rPr lang="en-US" altLang="ja-JP" smtClean="0"/>
              <a:pPr algn="r" defTabSz="914400"/>
              <a:t>24</a:t>
            </a:fld>
            <a:endParaRPr lang="ja-JP" altLang="en-US" dirty="0"/>
          </a:p>
        </p:txBody>
      </p:sp>
      <p:sp>
        <p:nvSpPr>
          <p:cNvPr id="3" name="正方形/長方形 2">
            <a:extLst>
              <a:ext uri="{FF2B5EF4-FFF2-40B4-BE49-F238E27FC236}">
                <a16:creationId xmlns:a16="http://schemas.microsoft.com/office/drawing/2014/main" id="{5AF49F04-5F35-21AD-CA10-B12747F81ED8}"/>
              </a:ext>
            </a:extLst>
          </p:cNvPr>
          <p:cNvSpPr>
            <a:spLocks/>
          </p:cNvSpPr>
          <p:nvPr/>
        </p:nvSpPr>
        <p:spPr>
          <a:xfrm>
            <a:off x="1735458" y="1183205"/>
            <a:ext cx="6012000" cy="150120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252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宣伝部環境</a:t>
            </a:r>
          </a:p>
        </p:txBody>
      </p:sp>
      <p:sp>
        <p:nvSpPr>
          <p:cNvPr id="7" name="正方形/長方形 6">
            <a:extLst>
              <a:ext uri="{FF2B5EF4-FFF2-40B4-BE49-F238E27FC236}">
                <a16:creationId xmlns:a16="http://schemas.microsoft.com/office/drawing/2014/main" id="{67DE3D0D-8D01-698F-167A-03CF99E6475A}"/>
              </a:ext>
            </a:extLst>
          </p:cNvPr>
          <p:cNvSpPr/>
          <p:nvPr/>
        </p:nvSpPr>
        <p:spPr>
          <a:xfrm>
            <a:off x="7899080" y="1431105"/>
            <a:ext cx="684000" cy="614929"/>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DN (Akamai)</a:t>
            </a:r>
          </a:p>
        </p:txBody>
      </p:sp>
      <p:sp>
        <p:nvSpPr>
          <p:cNvPr id="8" name="正方形/長方形 7">
            <a:extLst>
              <a:ext uri="{FF2B5EF4-FFF2-40B4-BE49-F238E27FC236}">
                <a16:creationId xmlns:a16="http://schemas.microsoft.com/office/drawing/2014/main" id="{00B6A3C0-2B55-79AE-6BC3-DB1CA198232D}"/>
              </a:ext>
            </a:extLst>
          </p:cNvPr>
          <p:cNvSpPr/>
          <p:nvPr/>
        </p:nvSpPr>
        <p:spPr>
          <a:xfrm>
            <a:off x="2721709" y="1439829"/>
            <a:ext cx="2538295" cy="4320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JAVA application server</a:t>
            </a:r>
          </a:p>
        </p:txBody>
      </p:sp>
      <p:sp>
        <p:nvSpPr>
          <p:cNvPr id="9" name="正方形/長方形 8">
            <a:extLst>
              <a:ext uri="{FF2B5EF4-FFF2-40B4-BE49-F238E27FC236}">
                <a16:creationId xmlns:a16="http://schemas.microsoft.com/office/drawing/2014/main" id="{26A10977-2885-D634-1BC4-559001DCDA75}"/>
              </a:ext>
            </a:extLst>
          </p:cNvPr>
          <p:cNvSpPr/>
          <p:nvPr/>
        </p:nvSpPr>
        <p:spPr bwMode="gray">
          <a:xfrm>
            <a:off x="2843884" y="1596250"/>
            <a:ext cx="648000" cy="201600"/>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社内</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0" name="正方形/長方形 9">
            <a:extLst>
              <a:ext uri="{FF2B5EF4-FFF2-40B4-BE49-F238E27FC236}">
                <a16:creationId xmlns:a16="http://schemas.microsoft.com/office/drawing/2014/main" id="{59D5DC25-451E-AB34-0ECB-994540104E16}"/>
              </a:ext>
            </a:extLst>
          </p:cNvPr>
          <p:cNvSpPr/>
          <p:nvPr/>
        </p:nvSpPr>
        <p:spPr bwMode="gray">
          <a:xfrm>
            <a:off x="2073709" y="1708525"/>
            <a:ext cx="400025" cy="261360"/>
          </a:xfrm>
          <a:prstGeom prst="rect">
            <a:avLst/>
          </a:prstGeom>
          <a:solidFill>
            <a:schemeClr val="bg1">
              <a:lumMod val="95000"/>
            </a:schemeClr>
          </a:solidFill>
          <a:ln w="12700" algn="ctr">
            <a:solidFill>
              <a:schemeClr val="bg1">
                <a:lumMod val="75000"/>
              </a:schemeClr>
            </a:solidFill>
            <a:prstDash val="sysDash"/>
            <a:miter lim="800000"/>
            <a:headEnd/>
            <a:tailEnd/>
          </a:ln>
        </p:spPr>
        <p:txBody>
          <a:bodyPr wrap="non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製品</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情報</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11" name="フローチャート: 磁気ディスク 10">
            <a:extLst>
              <a:ext uri="{FF2B5EF4-FFF2-40B4-BE49-F238E27FC236}">
                <a16:creationId xmlns:a16="http://schemas.microsoft.com/office/drawing/2014/main" id="{C4BE9EFD-7886-D56D-C3E2-06BB6A064127}"/>
              </a:ext>
            </a:extLst>
          </p:cNvPr>
          <p:cNvSpPr/>
          <p:nvPr/>
        </p:nvSpPr>
        <p:spPr bwMode="gray">
          <a:xfrm>
            <a:off x="3630426" y="1907181"/>
            <a:ext cx="648000" cy="216000"/>
          </a:xfrm>
          <a:prstGeom prst="flowChartMagneticDisk">
            <a:avLst/>
          </a:prstGeom>
          <a:solidFill>
            <a:schemeClr val="bg1">
              <a:lumMod val="95000"/>
            </a:schemeClr>
          </a:solidFill>
          <a:ln w="12700" algn="ctr">
            <a:solidFill>
              <a:schemeClr val="bg1">
                <a:lumMod val="75000"/>
              </a:schemeClr>
            </a:solidFill>
            <a:miter lim="800000"/>
            <a:headEnd/>
            <a:tailEnd/>
          </a:ln>
        </p:spPr>
        <p:txBody>
          <a:bodyPr wrap="squar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8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cxnSp>
        <p:nvCxnSpPr>
          <p:cNvPr id="12" name="直線矢印コネクタ 13">
            <a:extLst>
              <a:ext uri="{FF2B5EF4-FFF2-40B4-BE49-F238E27FC236}">
                <a16:creationId xmlns:a16="http://schemas.microsoft.com/office/drawing/2014/main" id="{D0869C7A-27C3-DE46-7961-05D1AD7E7F60}"/>
              </a:ext>
            </a:extLst>
          </p:cNvPr>
          <p:cNvCxnSpPr>
            <a:cxnSpLocks/>
            <a:stCxn id="11" idx="4"/>
            <a:endCxn id="21" idx="1"/>
          </p:cNvCxnSpPr>
          <p:nvPr/>
        </p:nvCxnSpPr>
        <p:spPr>
          <a:xfrm flipV="1">
            <a:off x="4278426" y="1697050"/>
            <a:ext cx="231608" cy="318131"/>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214">
            <a:extLst>
              <a:ext uri="{FF2B5EF4-FFF2-40B4-BE49-F238E27FC236}">
                <a16:creationId xmlns:a16="http://schemas.microsoft.com/office/drawing/2014/main" id="{642251A9-1660-B8DC-989C-04C7843CE92F}"/>
              </a:ext>
            </a:extLst>
          </p:cNvPr>
          <p:cNvCxnSpPr>
            <a:cxnSpLocks/>
            <a:stCxn id="10" idx="3"/>
            <a:endCxn id="9" idx="1"/>
          </p:cNvCxnSpPr>
          <p:nvPr/>
        </p:nvCxnSpPr>
        <p:spPr>
          <a:xfrm flipV="1">
            <a:off x="2473734" y="1697050"/>
            <a:ext cx="370150" cy="142155"/>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B1C07229-D169-5DE4-5948-A194BD8944A5}"/>
              </a:ext>
            </a:extLst>
          </p:cNvPr>
          <p:cNvSpPr/>
          <p:nvPr/>
        </p:nvSpPr>
        <p:spPr>
          <a:xfrm>
            <a:off x="1085643" y="1429460"/>
            <a:ext cx="564356" cy="525620"/>
          </a:xfrm>
          <a:prstGeom prst="rect">
            <a:avLst/>
          </a:prstGeom>
          <a:solidFill>
            <a:schemeClr val="accent2">
              <a:lumMod val="20000"/>
              <a:lumOff val="80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PIM</a:t>
            </a:r>
          </a:p>
        </p:txBody>
      </p:sp>
      <p:cxnSp>
        <p:nvCxnSpPr>
          <p:cNvPr id="15" name="直線矢印コネクタ 214">
            <a:extLst>
              <a:ext uri="{FF2B5EF4-FFF2-40B4-BE49-F238E27FC236}">
                <a16:creationId xmlns:a16="http://schemas.microsoft.com/office/drawing/2014/main" id="{001F67DC-867D-97EF-2453-2E08638C62A8}"/>
              </a:ext>
            </a:extLst>
          </p:cNvPr>
          <p:cNvCxnSpPr>
            <a:cxnSpLocks/>
            <a:endCxn id="10" idx="1"/>
          </p:cNvCxnSpPr>
          <p:nvPr/>
        </p:nvCxnSpPr>
        <p:spPr>
          <a:xfrm>
            <a:off x="1649999" y="1681637"/>
            <a:ext cx="423710" cy="157568"/>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9D5764D8-E369-1352-DE04-5C137BD24A88}"/>
              </a:ext>
            </a:extLst>
          </p:cNvPr>
          <p:cNvSpPr/>
          <p:nvPr/>
        </p:nvSpPr>
        <p:spPr>
          <a:xfrm>
            <a:off x="5478781" y="2215720"/>
            <a:ext cx="980058" cy="313200"/>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Team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現行</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MS)</a:t>
            </a:r>
            <a:endPar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cxnSp>
        <p:nvCxnSpPr>
          <p:cNvPr id="17" name="直線矢印コネクタ 16">
            <a:extLst>
              <a:ext uri="{FF2B5EF4-FFF2-40B4-BE49-F238E27FC236}">
                <a16:creationId xmlns:a16="http://schemas.microsoft.com/office/drawing/2014/main" id="{DD2997FF-0185-F839-8155-0EF168C0A6D4}"/>
              </a:ext>
            </a:extLst>
          </p:cNvPr>
          <p:cNvCxnSpPr>
            <a:cxnSpLocks/>
            <a:stCxn id="18" idx="3"/>
            <a:endCxn id="7" idx="1"/>
          </p:cNvCxnSpPr>
          <p:nvPr/>
        </p:nvCxnSpPr>
        <p:spPr>
          <a:xfrm flipV="1">
            <a:off x="7630095" y="1738570"/>
            <a:ext cx="268985" cy="7259"/>
          </a:xfrm>
          <a:prstGeom prst="straightConnector1">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5D206D3A-880F-C89A-1075-15EBBC452CE6}"/>
              </a:ext>
            </a:extLst>
          </p:cNvPr>
          <p:cNvSpPr/>
          <p:nvPr/>
        </p:nvSpPr>
        <p:spPr>
          <a:xfrm>
            <a:off x="6529894" y="1439829"/>
            <a:ext cx="1100201" cy="6120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cxnSp>
        <p:nvCxnSpPr>
          <p:cNvPr id="19" name="コネクタ: カギ線 18">
            <a:extLst>
              <a:ext uri="{FF2B5EF4-FFF2-40B4-BE49-F238E27FC236}">
                <a16:creationId xmlns:a16="http://schemas.microsoft.com/office/drawing/2014/main" id="{1B425BCD-68B8-DFBC-A3A7-2EC0A3EF4A6B}"/>
              </a:ext>
            </a:extLst>
          </p:cNvPr>
          <p:cNvCxnSpPr>
            <a:cxnSpLocks/>
            <a:stCxn id="16" idx="3"/>
            <a:endCxn id="25" idx="2"/>
          </p:cNvCxnSpPr>
          <p:nvPr/>
        </p:nvCxnSpPr>
        <p:spPr>
          <a:xfrm flipV="1">
            <a:off x="6458839" y="2002626"/>
            <a:ext cx="631823" cy="369694"/>
          </a:xfrm>
          <a:prstGeom prst="bentConnector2">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B3D62C14-EA29-4DEF-BC29-39E45770F0D0}"/>
              </a:ext>
            </a:extLst>
          </p:cNvPr>
          <p:cNvSpPr/>
          <p:nvPr/>
        </p:nvSpPr>
        <p:spPr>
          <a:xfrm>
            <a:off x="6515183" y="2270637"/>
            <a:ext cx="540000" cy="108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dirty="0">
                <a:solidFill>
                  <a:srgbClr val="000000"/>
                </a:solidFill>
                <a:latin typeface="Yu Gothic UI" panose="020B0500000000000000" pitchFamily="50" charset="-128"/>
                <a:ea typeface="Yu Gothic UI" panose="020B0500000000000000" pitchFamily="50" charset="-128"/>
              </a:rPr>
              <a:t>コンテンツ配信</a:t>
            </a:r>
            <a:endParaRPr kumimoji="1" lang="ja-JP" altLang="en-US" sz="7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1" name="正方形/長方形 20">
            <a:extLst>
              <a:ext uri="{FF2B5EF4-FFF2-40B4-BE49-F238E27FC236}">
                <a16:creationId xmlns:a16="http://schemas.microsoft.com/office/drawing/2014/main" id="{3F78DB5C-8677-1642-A958-D02545FB38B0}"/>
              </a:ext>
            </a:extLst>
          </p:cNvPr>
          <p:cNvSpPr/>
          <p:nvPr/>
        </p:nvSpPr>
        <p:spPr bwMode="gray">
          <a:xfrm>
            <a:off x="4510034" y="1596250"/>
            <a:ext cx="648000" cy="201600"/>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dirty="0">
                <a:solidFill>
                  <a:srgbClr val="000000"/>
                </a:solidFill>
                <a:latin typeface="Yu Gothic UI" panose="020B0500000000000000" pitchFamily="50" charset="-128"/>
                <a:ea typeface="Yu Gothic UI" panose="020B0500000000000000" pitchFamily="50" charset="-128"/>
              </a:rPr>
              <a:t>社外</a:t>
            </a:r>
            <a:endParaRPr kumimoji="1" lang="en-US" altLang="ja-JP" sz="800" dirty="0">
              <a:solidFill>
                <a:srgbClr val="000000"/>
              </a:solidFill>
              <a:latin typeface="Yu Gothic UI" panose="020B0500000000000000" pitchFamily="50" charset="-128"/>
              <a:ea typeface="Yu Gothic UI" panose="020B0500000000000000" pitchFamily="50" charset="-128"/>
            </a:endParaRPr>
          </a:p>
        </p:txBody>
      </p:sp>
      <p:cxnSp>
        <p:nvCxnSpPr>
          <p:cNvPr id="22" name="直線矢印コネクタ 61">
            <a:extLst>
              <a:ext uri="{FF2B5EF4-FFF2-40B4-BE49-F238E27FC236}">
                <a16:creationId xmlns:a16="http://schemas.microsoft.com/office/drawing/2014/main" id="{2C5B772F-8E94-DA88-6F02-4321C2C8CEB5}"/>
              </a:ext>
            </a:extLst>
          </p:cNvPr>
          <p:cNvCxnSpPr>
            <a:cxnSpLocks/>
            <a:stCxn id="9" idx="3"/>
            <a:endCxn id="11" idx="2"/>
          </p:cNvCxnSpPr>
          <p:nvPr/>
        </p:nvCxnSpPr>
        <p:spPr>
          <a:xfrm>
            <a:off x="3491884" y="1697050"/>
            <a:ext cx="138542" cy="318131"/>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FB4C953B-F292-687B-5907-C25EA8A4372A}"/>
              </a:ext>
            </a:extLst>
          </p:cNvPr>
          <p:cNvCxnSpPr>
            <a:cxnSpLocks/>
            <a:stCxn id="21" idx="3"/>
            <a:endCxn id="24" idx="1"/>
          </p:cNvCxnSpPr>
          <p:nvPr/>
        </p:nvCxnSpPr>
        <p:spPr>
          <a:xfrm flipV="1">
            <a:off x="5158034" y="1695236"/>
            <a:ext cx="1460536" cy="1814"/>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82107092-4698-B663-B3B0-BDF83D0141F0}"/>
              </a:ext>
            </a:extLst>
          </p:cNvPr>
          <p:cNvSpPr/>
          <p:nvPr/>
        </p:nvSpPr>
        <p:spPr bwMode="gray">
          <a:xfrm>
            <a:off x="6618570" y="1607762"/>
            <a:ext cx="944182" cy="174947"/>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800">
                <a:solidFill>
                  <a:srgbClr val="000000"/>
                </a:solidFill>
                <a:latin typeface="Yu Gothic UI" panose="020B0500000000000000" pitchFamily="50" charset="-128"/>
                <a:ea typeface="Yu Gothic UI" panose="020B0500000000000000" pitchFamily="50" charset="-128"/>
              </a:rPr>
              <a:t>動的コンテンツ</a:t>
            </a:r>
            <a:endParaRPr kumimoji="1" lang="en-US" altLang="ja-JP" sz="800">
              <a:solidFill>
                <a:srgbClr val="000000"/>
              </a:solidFill>
              <a:latin typeface="Yu Gothic UI" panose="020B0500000000000000" pitchFamily="50" charset="-128"/>
              <a:ea typeface="Yu Gothic UI" panose="020B0500000000000000" pitchFamily="50" charset="-128"/>
            </a:endParaRPr>
          </a:p>
        </p:txBody>
      </p:sp>
      <p:sp>
        <p:nvSpPr>
          <p:cNvPr id="25" name="正方形/長方形 24">
            <a:extLst>
              <a:ext uri="{FF2B5EF4-FFF2-40B4-BE49-F238E27FC236}">
                <a16:creationId xmlns:a16="http://schemas.microsoft.com/office/drawing/2014/main" id="{D11327EF-8857-E7EB-AD06-4A1277BC06AF}"/>
              </a:ext>
            </a:extLst>
          </p:cNvPr>
          <p:cNvSpPr/>
          <p:nvPr/>
        </p:nvSpPr>
        <p:spPr bwMode="gray">
          <a:xfrm>
            <a:off x="6618571" y="1827679"/>
            <a:ext cx="944182" cy="174947"/>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800" dirty="0">
                <a:solidFill>
                  <a:srgbClr val="000000"/>
                </a:solidFill>
                <a:latin typeface="Yu Gothic UI" panose="020B0500000000000000" pitchFamily="50" charset="-128"/>
                <a:ea typeface="Yu Gothic UI" panose="020B0500000000000000" pitchFamily="50" charset="-128"/>
              </a:rPr>
              <a:t>静的コンテンツ</a:t>
            </a:r>
            <a:endParaRPr kumimoji="1" lang="en-US" altLang="ja-JP" sz="800" dirty="0">
              <a:solidFill>
                <a:srgbClr val="000000"/>
              </a:solidFill>
              <a:latin typeface="Yu Gothic UI" panose="020B0500000000000000" pitchFamily="50" charset="-128"/>
              <a:ea typeface="Yu Gothic UI" panose="020B0500000000000000" pitchFamily="50" charset="-128"/>
            </a:endParaRPr>
          </a:p>
        </p:txBody>
      </p:sp>
      <p:sp>
        <p:nvSpPr>
          <p:cNvPr id="26" name="正方形/長方形 25">
            <a:extLst>
              <a:ext uri="{FF2B5EF4-FFF2-40B4-BE49-F238E27FC236}">
                <a16:creationId xmlns:a16="http://schemas.microsoft.com/office/drawing/2014/main" id="{A2F091FF-E791-3440-4475-EFE66DF31B00}"/>
              </a:ext>
            </a:extLst>
          </p:cNvPr>
          <p:cNvSpPr>
            <a:spLocks/>
          </p:cNvSpPr>
          <p:nvPr/>
        </p:nvSpPr>
        <p:spPr>
          <a:xfrm>
            <a:off x="5472982" y="2732753"/>
            <a:ext cx="2268000" cy="88920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宣伝部環境</a:t>
            </a:r>
          </a:p>
        </p:txBody>
      </p:sp>
      <p:sp>
        <p:nvSpPr>
          <p:cNvPr id="27" name="正方形/長方形 26">
            <a:extLst>
              <a:ext uri="{FF2B5EF4-FFF2-40B4-BE49-F238E27FC236}">
                <a16:creationId xmlns:a16="http://schemas.microsoft.com/office/drawing/2014/main" id="{E15E575F-D2BC-2E8A-1DBA-624740FDFAA9}"/>
              </a:ext>
            </a:extLst>
          </p:cNvPr>
          <p:cNvSpPr/>
          <p:nvPr/>
        </p:nvSpPr>
        <p:spPr>
          <a:xfrm>
            <a:off x="5560915" y="2923045"/>
            <a:ext cx="1994292" cy="439200"/>
          </a:xfrm>
          <a:prstGeom prst="rect">
            <a:avLst/>
          </a:prstGeom>
          <a:solidFill>
            <a:schemeClr val="accent3">
              <a:lumMod val="20000"/>
              <a:lumOff val="80000"/>
            </a:schemeClr>
          </a:solidFill>
          <a:ln w="1270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AEM</a:t>
            </a:r>
            <a:endParaRPr kumimoji="1" lang="ja-JP" altLang="en-US"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28" name="正方形/長方形 27">
            <a:extLst>
              <a:ext uri="{FF2B5EF4-FFF2-40B4-BE49-F238E27FC236}">
                <a16:creationId xmlns:a16="http://schemas.microsoft.com/office/drawing/2014/main" id="{4B1826D9-1EA9-67EA-F8AF-710DB4BB43DC}"/>
              </a:ext>
            </a:extLst>
          </p:cNvPr>
          <p:cNvSpPr/>
          <p:nvPr/>
        </p:nvSpPr>
        <p:spPr>
          <a:xfrm>
            <a:off x="7911101" y="2854230"/>
            <a:ext cx="684000" cy="552945"/>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CDN (Akamai)</a:t>
            </a:r>
          </a:p>
        </p:txBody>
      </p:sp>
      <p:sp>
        <p:nvSpPr>
          <p:cNvPr id="29" name="正方形/長方形 28">
            <a:extLst>
              <a:ext uri="{FF2B5EF4-FFF2-40B4-BE49-F238E27FC236}">
                <a16:creationId xmlns:a16="http://schemas.microsoft.com/office/drawing/2014/main" id="{18DE6D87-ACC3-CE7D-1A53-82A020B15A11}"/>
              </a:ext>
            </a:extLst>
          </p:cNvPr>
          <p:cNvSpPr>
            <a:spLocks/>
          </p:cNvSpPr>
          <p:nvPr/>
        </p:nvSpPr>
        <p:spPr>
          <a:xfrm>
            <a:off x="1740980" y="2740188"/>
            <a:ext cx="3672000" cy="88920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FA</a:t>
            </a:r>
            <a:r>
              <a:rPr kumimoji="1" lang="ja-JP" altLang="en-US" sz="105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本専用環境（仮：</a:t>
            </a:r>
            <a:r>
              <a:rPr kumimoji="1" lang="en-US" altLang="ja-JP" sz="1050" i="0" u="none" strike="noStrike" kern="1200" cap="none" spc="0" normalizeH="0" baseline="0" noProof="0" dirty="0" err="1">
                <a:ln>
                  <a:noFill/>
                </a:ln>
                <a:solidFill>
                  <a:schemeClr val="tx1"/>
                </a:solidFill>
                <a:effectLst/>
                <a:uLnTx/>
                <a:uFillTx/>
                <a:latin typeface="Yu Gothic UI" panose="020B0500000000000000" pitchFamily="50" charset="-128"/>
                <a:ea typeface="Yu Gothic UI" panose="020B0500000000000000" pitchFamily="50" charset="-128"/>
                <a:cs typeface="+mn-cs"/>
              </a:rPr>
              <a:t>megcloud</a:t>
            </a:r>
            <a:r>
              <a:rPr kumimoji="1" lang="ja-JP" altLang="en-US" sz="105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a:t>
            </a:r>
          </a:p>
        </p:txBody>
      </p:sp>
      <p:sp>
        <p:nvSpPr>
          <p:cNvPr id="30" name="四角形: 角を丸くする 29">
            <a:extLst>
              <a:ext uri="{FF2B5EF4-FFF2-40B4-BE49-F238E27FC236}">
                <a16:creationId xmlns:a16="http://schemas.microsoft.com/office/drawing/2014/main" id="{4D35EECB-2C62-F1B7-3F4F-C0B0CED1AFC5}"/>
              </a:ext>
            </a:extLst>
          </p:cNvPr>
          <p:cNvSpPr/>
          <p:nvPr/>
        </p:nvSpPr>
        <p:spPr>
          <a:xfrm>
            <a:off x="6282518" y="2429559"/>
            <a:ext cx="568062" cy="192693"/>
          </a:xfrm>
          <a:prstGeom prst="roundRect">
            <a:avLst>
              <a:gd name="adj" fmla="val 50000"/>
            </a:avLst>
          </a:prstGeom>
          <a:solidFill>
            <a:schemeClr val="accent6"/>
          </a:solidFill>
          <a:ln w="12700" cap="flat" cmpd="sng" algn="ctr">
            <a:solidFill>
              <a:schemeClr val="accent6">
                <a:lumMod val="9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6/3</a:t>
            </a:r>
          </a:p>
        </p:txBody>
      </p:sp>
      <p:sp>
        <p:nvSpPr>
          <p:cNvPr id="31" name="矢印: 下 30">
            <a:extLst>
              <a:ext uri="{FF2B5EF4-FFF2-40B4-BE49-F238E27FC236}">
                <a16:creationId xmlns:a16="http://schemas.microsoft.com/office/drawing/2014/main" id="{B8320F79-64DA-53D9-D9C4-A761E2B5F9B6}"/>
              </a:ext>
            </a:extLst>
          </p:cNvPr>
          <p:cNvSpPr/>
          <p:nvPr/>
        </p:nvSpPr>
        <p:spPr>
          <a:xfrm>
            <a:off x="5750421" y="2539482"/>
            <a:ext cx="484632" cy="216000"/>
          </a:xfrm>
          <a:prstGeom prst="downArrow">
            <a:avLst>
              <a:gd name="adj1" fmla="val 50000"/>
              <a:gd name="adj2" fmla="val 587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2" name="矢印: 下 31">
            <a:extLst>
              <a:ext uri="{FF2B5EF4-FFF2-40B4-BE49-F238E27FC236}">
                <a16:creationId xmlns:a16="http://schemas.microsoft.com/office/drawing/2014/main" id="{3C399188-9312-1B67-BCF0-584BB1769B8E}"/>
              </a:ext>
            </a:extLst>
          </p:cNvPr>
          <p:cNvSpPr/>
          <p:nvPr/>
        </p:nvSpPr>
        <p:spPr>
          <a:xfrm>
            <a:off x="3432442" y="2192700"/>
            <a:ext cx="484632" cy="540000"/>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3" name="正方形/長方形 32">
            <a:extLst>
              <a:ext uri="{FF2B5EF4-FFF2-40B4-BE49-F238E27FC236}">
                <a16:creationId xmlns:a16="http://schemas.microsoft.com/office/drawing/2014/main" id="{F95DD9F6-593F-A816-846B-D91241FB8D27}"/>
              </a:ext>
            </a:extLst>
          </p:cNvPr>
          <p:cNvSpPr/>
          <p:nvPr/>
        </p:nvSpPr>
        <p:spPr bwMode="gray">
          <a:xfrm>
            <a:off x="6508167" y="3104705"/>
            <a:ext cx="944182" cy="214597"/>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800" dirty="0">
                <a:solidFill>
                  <a:srgbClr val="000000"/>
                </a:solidFill>
                <a:latin typeface="Yu Gothic UI" panose="020B0500000000000000" pitchFamily="50" charset="-128"/>
                <a:ea typeface="Yu Gothic UI" panose="020B0500000000000000" pitchFamily="50" charset="-128"/>
              </a:rPr>
              <a:t>静的コンテンツ</a:t>
            </a:r>
            <a:endParaRPr kumimoji="1" lang="en-US" altLang="ja-JP" sz="800" dirty="0">
              <a:solidFill>
                <a:srgbClr val="000000"/>
              </a:solidFill>
              <a:latin typeface="Yu Gothic UI" panose="020B0500000000000000" pitchFamily="50" charset="-128"/>
              <a:ea typeface="Yu Gothic UI" panose="020B0500000000000000" pitchFamily="50" charset="-128"/>
            </a:endParaRPr>
          </a:p>
        </p:txBody>
      </p:sp>
      <p:cxnSp>
        <p:nvCxnSpPr>
          <p:cNvPr id="34" name="直線矢印コネクタ 15052">
            <a:extLst>
              <a:ext uri="{FF2B5EF4-FFF2-40B4-BE49-F238E27FC236}">
                <a16:creationId xmlns:a16="http://schemas.microsoft.com/office/drawing/2014/main" id="{C1B12E16-FC93-CCAA-9A7C-47120963AFDB}"/>
              </a:ext>
            </a:extLst>
          </p:cNvPr>
          <p:cNvCxnSpPr>
            <a:cxnSpLocks/>
            <a:stCxn id="33" idx="3"/>
            <a:endCxn id="28" idx="1"/>
          </p:cNvCxnSpPr>
          <p:nvPr/>
        </p:nvCxnSpPr>
        <p:spPr>
          <a:xfrm flipV="1">
            <a:off x="7452349" y="3130703"/>
            <a:ext cx="458752" cy="81301"/>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7868D7C0-69BC-D215-35B2-96BF9C2DD06C}"/>
              </a:ext>
            </a:extLst>
          </p:cNvPr>
          <p:cNvSpPr/>
          <p:nvPr/>
        </p:nvSpPr>
        <p:spPr>
          <a:xfrm>
            <a:off x="2309282" y="2940013"/>
            <a:ext cx="2178919" cy="3888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JAVA application server</a:t>
            </a:r>
          </a:p>
        </p:txBody>
      </p:sp>
      <p:sp>
        <p:nvSpPr>
          <p:cNvPr id="36" name="正方形/長方形 35">
            <a:extLst>
              <a:ext uri="{FF2B5EF4-FFF2-40B4-BE49-F238E27FC236}">
                <a16:creationId xmlns:a16="http://schemas.microsoft.com/office/drawing/2014/main" id="{5955C062-2F5F-C96D-F4EF-8FBEEB4A69D7}"/>
              </a:ext>
            </a:extLst>
          </p:cNvPr>
          <p:cNvSpPr/>
          <p:nvPr/>
        </p:nvSpPr>
        <p:spPr bwMode="gray">
          <a:xfrm>
            <a:off x="2438351" y="3086799"/>
            <a:ext cx="481549" cy="201600"/>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社内</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37" name="正方形/長方形 36">
            <a:extLst>
              <a:ext uri="{FF2B5EF4-FFF2-40B4-BE49-F238E27FC236}">
                <a16:creationId xmlns:a16="http://schemas.microsoft.com/office/drawing/2014/main" id="{F688780F-C319-B1E7-6413-1B8E86B88773}"/>
              </a:ext>
            </a:extLst>
          </p:cNvPr>
          <p:cNvSpPr/>
          <p:nvPr/>
        </p:nvSpPr>
        <p:spPr bwMode="gray">
          <a:xfrm>
            <a:off x="1882341" y="3045413"/>
            <a:ext cx="342900" cy="261360"/>
          </a:xfrm>
          <a:prstGeom prst="rect">
            <a:avLst/>
          </a:prstGeom>
          <a:solidFill>
            <a:schemeClr val="bg1">
              <a:lumMod val="95000"/>
            </a:schemeClr>
          </a:solidFill>
          <a:ln w="12700" algn="ctr">
            <a:solidFill>
              <a:schemeClr val="bg1">
                <a:lumMod val="75000"/>
              </a:schemeClr>
            </a:solidFill>
            <a:prstDash val="sysDash"/>
            <a:miter lim="800000"/>
            <a:headEnd/>
            <a:tailEnd/>
          </a:ln>
        </p:spPr>
        <p:txBody>
          <a:bodyPr wrap="non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製品</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情報</a:t>
            </a:r>
            <a:endPar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38" name="フローチャート: 磁気ディスク 37">
            <a:extLst>
              <a:ext uri="{FF2B5EF4-FFF2-40B4-BE49-F238E27FC236}">
                <a16:creationId xmlns:a16="http://schemas.microsoft.com/office/drawing/2014/main" id="{4FEAB6F8-836C-5FBC-42B6-E54DB0B5C5FE}"/>
              </a:ext>
            </a:extLst>
          </p:cNvPr>
          <p:cNvSpPr/>
          <p:nvPr/>
        </p:nvSpPr>
        <p:spPr bwMode="gray">
          <a:xfrm>
            <a:off x="3141101" y="3366582"/>
            <a:ext cx="612000" cy="216000"/>
          </a:xfrm>
          <a:prstGeom prst="flowChartMagneticDisk">
            <a:avLst/>
          </a:prstGeom>
          <a:solidFill>
            <a:schemeClr val="bg1">
              <a:lumMod val="95000"/>
            </a:schemeClr>
          </a:solidFill>
          <a:ln w="12700" algn="ctr">
            <a:solidFill>
              <a:schemeClr val="bg1">
                <a:lumMod val="75000"/>
              </a:schemeClr>
            </a:solidFill>
            <a:miter lim="800000"/>
            <a:headEnd/>
            <a:tailEnd/>
          </a:ln>
        </p:spPr>
        <p:txBody>
          <a:bodyPr wrap="square"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8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DB</a:t>
            </a:r>
          </a:p>
        </p:txBody>
      </p:sp>
      <p:cxnSp>
        <p:nvCxnSpPr>
          <p:cNvPr id="39" name="直線矢印コネクタ 13">
            <a:extLst>
              <a:ext uri="{FF2B5EF4-FFF2-40B4-BE49-F238E27FC236}">
                <a16:creationId xmlns:a16="http://schemas.microsoft.com/office/drawing/2014/main" id="{59782657-ABAA-783F-ED55-FB5702C9C18D}"/>
              </a:ext>
            </a:extLst>
          </p:cNvPr>
          <p:cNvCxnSpPr>
            <a:cxnSpLocks/>
            <a:stCxn id="38" idx="4"/>
            <a:endCxn id="44" idx="1"/>
          </p:cNvCxnSpPr>
          <p:nvPr/>
        </p:nvCxnSpPr>
        <p:spPr>
          <a:xfrm flipV="1">
            <a:off x="3753101" y="3187131"/>
            <a:ext cx="194112" cy="287451"/>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214">
            <a:extLst>
              <a:ext uri="{FF2B5EF4-FFF2-40B4-BE49-F238E27FC236}">
                <a16:creationId xmlns:a16="http://schemas.microsoft.com/office/drawing/2014/main" id="{187D8565-6191-6A46-719F-6F6D39CCCE91}"/>
              </a:ext>
            </a:extLst>
          </p:cNvPr>
          <p:cNvCxnSpPr>
            <a:cxnSpLocks/>
            <a:stCxn id="37" idx="3"/>
            <a:endCxn id="36" idx="1"/>
          </p:cNvCxnSpPr>
          <p:nvPr/>
        </p:nvCxnSpPr>
        <p:spPr>
          <a:xfrm>
            <a:off x="2225241" y="3176093"/>
            <a:ext cx="213110" cy="11506"/>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214">
            <a:extLst>
              <a:ext uri="{FF2B5EF4-FFF2-40B4-BE49-F238E27FC236}">
                <a16:creationId xmlns:a16="http://schemas.microsoft.com/office/drawing/2014/main" id="{8D4D7F42-A41F-17B7-0197-7C423A281630}"/>
              </a:ext>
            </a:extLst>
          </p:cNvPr>
          <p:cNvCxnSpPr>
            <a:cxnSpLocks/>
            <a:endCxn id="37" idx="1"/>
          </p:cNvCxnSpPr>
          <p:nvPr/>
        </p:nvCxnSpPr>
        <p:spPr>
          <a:xfrm>
            <a:off x="1667125" y="3165013"/>
            <a:ext cx="215216" cy="11080"/>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18CADF39-83FE-4E0B-8A7A-99534E254390}"/>
              </a:ext>
            </a:extLst>
          </p:cNvPr>
          <p:cNvSpPr/>
          <p:nvPr/>
        </p:nvSpPr>
        <p:spPr>
          <a:xfrm>
            <a:off x="4561609" y="2940013"/>
            <a:ext cx="771822" cy="3924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eb</a:t>
            </a: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44" name="正方形/長方形 43">
            <a:extLst>
              <a:ext uri="{FF2B5EF4-FFF2-40B4-BE49-F238E27FC236}">
                <a16:creationId xmlns:a16="http://schemas.microsoft.com/office/drawing/2014/main" id="{77054C2A-A93D-18FC-E625-E604CEB6379B}"/>
              </a:ext>
            </a:extLst>
          </p:cNvPr>
          <p:cNvSpPr/>
          <p:nvPr/>
        </p:nvSpPr>
        <p:spPr bwMode="gray">
          <a:xfrm>
            <a:off x="3947213" y="3086331"/>
            <a:ext cx="481550" cy="201600"/>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Java</a:t>
            </a:r>
            <a:r>
              <a:rPr kumimoji="1" lang="ja-JP" altLang="en-US" sz="800" dirty="0">
                <a:solidFill>
                  <a:srgbClr val="000000"/>
                </a:solidFill>
                <a:latin typeface="Yu Gothic UI" panose="020B0500000000000000" pitchFamily="50" charset="-128"/>
                <a:ea typeface="Yu Gothic UI" panose="020B0500000000000000" pitchFamily="50" charset="-128"/>
              </a:rPr>
              <a:t>社外</a:t>
            </a:r>
            <a:endParaRPr kumimoji="1" lang="en-US" altLang="ja-JP" sz="800" dirty="0">
              <a:solidFill>
                <a:srgbClr val="000000"/>
              </a:solidFill>
              <a:latin typeface="Yu Gothic UI" panose="020B0500000000000000" pitchFamily="50" charset="-128"/>
              <a:ea typeface="Yu Gothic UI" panose="020B0500000000000000" pitchFamily="50" charset="-128"/>
            </a:endParaRPr>
          </a:p>
        </p:txBody>
      </p:sp>
      <p:cxnSp>
        <p:nvCxnSpPr>
          <p:cNvPr id="45" name="直線矢印コネクタ 61">
            <a:extLst>
              <a:ext uri="{FF2B5EF4-FFF2-40B4-BE49-F238E27FC236}">
                <a16:creationId xmlns:a16="http://schemas.microsoft.com/office/drawing/2014/main" id="{339CC6B3-0DBF-7C66-705F-BEB6C976D977}"/>
              </a:ext>
            </a:extLst>
          </p:cNvPr>
          <p:cNvCxnSpPr>
            <a:cxnSpLocks/>
            <a:stCxn id="36" idx="3"/>
            <a:endCxn id="38" idx="2"/>
          </p:cNvCxnSpPr>
          <p:nvPr/>
        </p:nvCxnSpPr>
        <p:spPr>
          <a:xfrm>
            <a:off x="2919900" y="3187599"/>
            <a:ext cx="221201" cy="286983"/>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45">
            <a:extLst>
              <a:ext uri="{FF2B5EF4-FFF2-40B4-BE49-F238E27FC236}">
                <a16:creationId xmlns:a16="http://schemas.microsoft.com/office/drawing/2014/main" id="{B3CC6B5A-054D-B649-3BD5-529780C2D637}"/>
              </a:ext>
            </a:extLst>
          </p:cNvPr>
          <p:cNvCxnSpPr>
            <a:cxnSpLocks/>
            <a:stCxn id="44" idx="3"/>
            <a:endCxn id="47" idx="1"/>
          </p:cNvCxnSpPr>
          <p:nvPr/>
        </p:nvCxnSpPr>
        <p:spPr>
          <a:xfrm>
            <a:off x="4428763" y="3187131"/>
            <a:ext cx="188855" cy="13189"/>
          </a:xfrm>
          <a:prstGeom prst="bentConnector3">
            <a:avLst>
              <a:gd name="adj1" fmla="val 50000"/>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53411C71-AD2D-CC14-2A37-8C3E9E36681E}"/>
              </a:ext>
            </a:extLst>
          </p:cNvPr>
          <p:cNvSpPr/>
          <p:nvPr/>
        </p:nvSpPr>
        <p:spPr bwMode="gray">
          <a:xfrm>
            <a:off x="4617618" y="3099520"/>
            <a:ext cx="648469" cy="201600"/>
          </a:xfrm>
          <a:prstGeom prst="rect">
            <a:avLst/>
          </a:prstGeom>
          <a:solidFill>
            <a:schemeClr val="bg1">
              <a:lumMod val="85000"/>
            </a:schemeClr>
          </a:solidFill>
          <a:ln w="12700" algn="ctr">
            <a:solidFill>
              <a:schemeClr val="bg1">
                <a:lumMod val="75000"/>
              </a:schemeClr>
            </a:solidFill>
            <a:miter lim="800000"/>
            <a:headEnd/>
            <a:tailEnd/>
          </a:ln>
        </p:spPr>
        <p:txBody>
          <a:bodyPr wrap="square"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800">
                <a:solidFill>
                  <a:srgbClr val="000000"/>
                </a:solidFill>
                <a:latin typeface="Yu Gothic UI" panose="020B0500000000000000" pitchFamily="50" charset="-128"/>
                <a:ea typeface="Yu Gothic UI" panose="020B0500000000000000" pitchFamily="50" charset="-128"/>
              </a:rPr>
              <a:t>動的コンテンツ</a:t>
            </a:r>
            <a:endParaRPr kumimoji="1" lang="en-US" altLang="ja-JP" sz="800">
              <a:solidFill>
                <a:srgbClr val="000000"/>
              </a:solidFill>
              <a:latin typeface="Yu Gothic UI" panose="020B0500000000000000" pitchFamily="50" charset="-128"/>
              <a:ea typeface="Yu Gothic UI" panose="020B0500000000000000" pitchFamily="50" charset="-128"/>
            </a:endParaRPr>
          </a:p>
        </p:txBody>
      </p:sp>
      <p:cxnSp>
        <p:nvCxnSpPr>
          <p:cNvPr id="48" name="直線矢印コネクタ 15052">
            <a:extLst>
              <a:ext uri="{FF2B5EF4-FFF2-40B4-BE49-F238E27FC236}">
                <a16:creationId xmlns:a16="http://schemas.microsoft.com/office/drawing/2014/main" id="{F3828B4A-C227-1F69-ED3C-D4ABF7CED2D3}"/>
              </a:ext>
            </a:extLst>
          </p:cNvPr>
          <p:cNvCxnSpPr>
            <a:cxnSpLocks/>
            <a:stCxn id="47" idx="3"/>
          </p:cNvCxnSpPr>
          <p:nvPr/>
        </p:nvCxnSpPr>
        <p:spPr>
          <a:xfrm flipV="1">
            <a:off x="5266087" y="3052101"/>
            <a:ext cx="2662473" cy="148219"/>
          </a:xfrm>
          <a:prstGeom prst="bentConnector3">
            <a:avLst>
              <a:gd name="adj1" fmla="val 40815"/>
            </a:avLst>
          </a:prstGeom>
          <a:ln w="127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38505D48-18A1-9052-7DB5-0B6BB523315D}"/>
              </a:ext>
            </a:extLst>
          </p:cNvPr>
          <p:cNvSpPr>
            <a:spLocks/>
          </p:cNvSpPr>
          <p:nvPr/>
        </p:nvSpPr>
        <p:spPr>
          <a:xfrm>
            <a:off x="1872090" y="1388632"/>
            <a:ext cx="5848887" cy="792000"/>
          </a:xfrm>
          <a:prstGeom prst="rect">
            <a:avLst/>
          </a:prstGeom>
          <a:noFill/>
          <a:ln w="19050" cap="flat" cmpd="sng" algn="ctr">
            <a:solidFill>
              <a:schemeClr val="accent5">
                <a:lumMod val="75000"/>
              </a:schemeClr>
            </a:solid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p:txBody>
      </p:sp>
      <p:sp>
        <p:nvSpPr>
          <p:cNvPr id="50" name="四角形: 角を丸くする 49">
            <a:extLst>
              <a:ext uri="{FF2B5EF4-FFF2-40B4-BE49-F238E27FC236}">
                <a16:creationId xmlns:a16="http://schemas.microsoft.com/office/drawing/2014/main" id="{6C092D67-9D0F-1F3F-67F5-47B8C51E67E3}"/>
              </a:ext>
            </a:extLst>
          </p:cNvPr>
          <p:cNvSpPr/>
          <p:nvPr/>
        </p:nvSpPr>
        <p:spPr>
          <a:xfrm>
            <a:off x="1930768" y="2104384"/>
            <a:ext cx="568062" cy="192693"/>
          </a:xfrm>
          <a:prstGeom prst="roundRect">
            <a:avLst>
              <a:gd name="adj" fmla="val 50000"/>
            </a:avLst>
          </a:prstGeom>
          <a:solidFill>
            <a:schemeClr val="accent6"/>
          </a:solidFill>
          <a:ln w="12700" cap="flat" cmpd="sng" algn="ctr">
            <a:solidFill>
              <a:schemeClr val="accent6">
                <a:lumMod val="9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29/3</a:t>
            </a:r>
          </a:p>
        </p:txBody>
      </p:sp>
      <p:sp>
        <p:nvSpPr>
          <p:cNvPr id="51" name="正方形/長方形 50">
            <a:extLst>
              <a:ext uri="{FF2B5EF4-FFF2-40B4-BE49-F238E27FC236}">
                <a16:creationId xmlns:a16="http://schemas.microsoft.com/office/drawing/2014/main" id="{7ACE68BB-5225-D556-604A-C0FD0FA5774D}"/>
              </a:ext>
            </a:extLst>
          </p:cNvPr>
          <p:cNvSpPr/>
          <p:nvPr/>
        </p:nvSpPr>
        <p:spPr>
          <a:xfrm>
            <a:off x="546275" y="1183204"/>
            <a:ext cx="484632" cy="15120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現状</a:t>
            </a:r>
            <a:endPar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49D8DDAA-AD17-2839-2CD6-A5582ECCC81C}"/>
              </a:ext>
            </a:extLst>
          </p:cNvPr>
          <p:cNvSpPr/>
          <p:nvPr/>
        </p:nvSpPr>
        <p:spPr>
          <a:xfrm>
            <a:off x="544707" y="2738232"/>
            <a:ext cx="484632" cy="972000"/>
          </a:xfrm>
          <a:prstGeom prst="rect">
            <a:avLst/>
          </a:prstGeom>
          <a:solidFill>
            <a:schemeClr val="bg1">
              <a:lumMod val="95000"/>
            </a:schemeClr>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今後</a:t>
            </a:r>
            <a:endPar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53" name="正方形/長方形 52">
            <a:extLst>
              <a:ext uri="{FF2B5EF4-FFF2-40B4-BE49-F238E27FC236}">
                <a16:creationId xmlns:a16="http://schemas.microsoft.com/office/drawing/2014/main" id="{EDE70999-1339-7551-D7CF-E33CB286BB4B}"/>
              </a:ext>
            </a:extLst>
          </p:cNvPr>
          <p:cNvSpPr/>
          <p:nvPr/>
        </p:nvSpPr>
        <p:spPr>
          <a:xfrm>
            <a:off x="9484708" y="1439829"/>
            <a:ext cx="2500044" cy="1819950"/>
          </a:xfrm>
          <a:prstGeom prst="rect">
            <a:avLst/>
          </a:prstGeom>
          <a:solidFill>
            <a:schemeClr val="bg1"/>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静的コンテンツ</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54" name="正方形/長方形 53">
            <a:extLst>
              <a:ext uri="{FF2B5EF4-FFF2-40B4-BE49-F238E27FC236}">
                <a16:creationId xmlns:a16="http://schemas.microsoft.com/office/drawing/2014/main" id="{574FBA5D-2597-6664-33FB-237D2F520BCD}"/>
              </a:ext>
            </a:extLst>
          </p:cNvPr>
          <p:cNvSpPr/>
          <p:nvPr/>
        </p:nvSpPr>
        <p:spPr>
          <a:xfrm>
            <a:off x="9460134" y="3407175"/>
            <a:ext cx="2523782" cy="2121243"/>
          </a:xfrm>
          <a:prstGeom prst="rect">
            <a:avLst/>
          </a:prstGeom>
          <a:solidFill>
            <a:schemeClr val="bg1"/>
          </a:solidFill>
          <a:ln w="12700" cap="flat" cmpd="sng" algn="ctr">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動的コンテンツ</a:t>
            </a:r>
            <a:endParaRPr kumimoji="1" lang="en-US" altLang="ja-JP" sz="900" b="1"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pic>
        <p:nvPicPr>
          <p:cNvPr id="55" name="図 54">
            <a:extLst>
              <a:ext uri="{FF2B5EF4-FFF2-40B4-BE49-F238E27FC236}">
                <a16:creationId xmlns:a16="http://schemas.microsoft.com/office/drawing/2014/main" id="{134AFE45-A2EE-C45A-0B3C-58F6363BE61F}"/>
              </a:ext>
            </a:extLst>
          </p:cNvPr>
          <p:cNvPicPr>
            <a:picLocks noChangeAspect="1"/>
          </p:cNvPicPr>
          <p:nvPr/>
        </p:nvPicPr>
        <p:blipFill>
          <a:blip r:embed="rId2"/>
          <a:stretch>
            <a:fillRect/>
          </a:stretch>
        </p:blipFill>
        <p:spPr>
          <a:xfrm>
            <a:off x="9612634" y="1655271"/>
            <a:ext cx="1441545" cy="1134985"/>
          </a:xfrm>
          <a:prstGeom prst="rect">
            <a:avLst/>
          </a:prstGeom>
          <a:ln>
            <a:solidFill>
              <a:schemeClr val="bg1">
                <a:lumMod val="75000"/>
              </a:schemeClr>
            </a:solidFill>
          </a:ln>
        </p:spPr>
      </p:pic>
      <p:pic>
        <p:nvPicPr>
          <p:cNvPr id="56" name="図 55">
            <a:extLst>
              <a:ext uri="{FF2B5EF4-FFF2-40B4-BE49-F238E27FC236}">
                <a16:creationId xmlns:a16="http://schemas.microsoft.com/office/drawing/2014/main" id="{C1032D0B-94B9-2908-C842-F34DB1D18138}"/>
              </a:ext>
            </a:extLst>
          </p:cNvPr>
          <p:cNvPicPr>
            <a:picLocks noChangeAspect="1"/>
          </p:cNvPicPr>
          <p:nvPr/>
        </p:nvPicPr>
        <p:blipFill>
          <a:blip r:embed="rId3"/>
          <a:stretch>
            <a:fillRect/>
          </a:stretch>
        </p:blipFill>
        <p:spPr>
          <a:xfrm>
            <a:off x="10404618" y="1790876"/>
            <a:ext cx="1460081" cy="1144966"/>
          </a:xfrm>
          <a:prstGeom prst="rect">
            <a:avLst/>
          </a:prstGeom>
          <a:ln>
            <a:solidFill>
              <a:schemeClr val="bg1">
                <a:lumMod val="75000"/>
              </a:schemeClr>
            </a:solidFill>
          </a:ln>
        </p:spPr>
      </p:pic>
      <p:sp>
        <p:nvSpPr>
          <p:cNvPr id="57" name="正方形/長方形 56">
            <a:extLst>
              <a:ext uri="{FF2B5EF4-FFF2-40B4-BE49-F238E27FC236}">
                <a16:creationId xmlns:a16="http://schemas.microsoft.com/office/drawing/2014/main" id="{A4072070-433E-E89A-09C6-AEBA8941C053}"/>
              </a:ext>
            </a:extLst>
          </p:cNvPr>
          <p:cNvSpPr/>
          <p:nvPr/>
        </p:nvSpPr>
        <p:spPr>
          <a:xfrm>
            <a:off x="9453517" y="2899499"/>
            <a:ext cx="2045990" cy="323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dirty="0">
                <a:solidFill>
                  <a:schemeClr val="tx1"/>
                </a:solidFill>
                <a:latin typeface="+mn-ea"/>
              </a:rPr>
              <a:t>・製品特長</a:t>
            </a:r>
            <a:endParaRPr kumimoji="1" lang="en-US" altLang="ja-JP" sz="900" dirty="0">
              <a:solidFill>
                <a:schemeClr val="tx1"/>
              </a:solidFill>
              <a:latin typeface="+mn-ea"/>
            </a:endParaRPr>
          </a:p>
          <a:p>
            <a:r>
              <a:rPr lang="ja-JP" altLang="en-US" sz="900" dirty="0">
                <a:solidFill>
                  <a:schemeClr val="tx1"/>
                </a:solidFill>
                <a:latin typeface="+mn-ea"/>
              </a:rPr>
              <a:t>・ソリューション　</a:t>
            </a:r>
            <a:r>
              <a:rPr kumimoji="1" lang="ja-JP" altLang="en-US" sz="900" dirty="0">
                <a:solidFill>
                  <a:schemeClr val="tx1"/>
                </a:solidFill>
                <a:latin typeface="+mn-ea"/>
              </a:rPr>
              <a:t>など</a:t>
            </a:r>
          </a:p>
        </p:txBody>
      </p:sp>
      <p:pic>
        <p:nvPicPr>
          <p:cNvPr id="58" name="図 57">
            <a:extLst>
              <a:ext uri="{FF2B5EF4-FFF2-40B4-BE49-F238E27FC236}">
                <a16:creationId xmlns:a16="http://schemas.microsoft.com/office/drawing/2014/main" id="{1A20E82C-6AB7-CC2B-4099-C9A3FE3A43EC}"/>
              </a:ext>
            </a:extLst>
          </p:cNvPr>
          <p:cNvPicPr>
            <a:picLocks noChangeAspect="1"/>
          </p:cNvPicPr>
          <p:nvPr/>
        </p:nvPicPr>
        <p:blipFill>
          <a:blip r:embed="rId4"/>
          <a:stretch>
            <a:fillRect/>
          </a:stretch>
        </p:blipFill>
        <p:spPr>
          <a:xfrm>
            <a:off x="9622073" y="3626994"/>
            <a:ext cx="1409274" cy="1477530"/>
          </a:xfrm>
          <a:prstGeom prst="rect">
            <a:avLst/>
          </a:prstGeom>
          <a:ln>
            <a:solidFill>
              <a:schemeClr val="bg1">
                <a:lumMod val="75000"/>
              </a:schemeClr>
            </a:solidFill>
          </a:ln>
        </p:spPr>
      </p:pic>
      <p:pic>
        <p:nvPicPr>
          <p:cNvPr id="59" name="図 58">
            <a:extLst>
              <a:ext uri="{FF2B5EF4-FFF2-40B4-BE49-F238E27FC236}">
                <a16:creationId xmlns:a16="http://schemas.microsoft.com/office/drawing/2014/main" id="{9279B433-CA47-AEC2-6F38-A9DA4115EA11}"/>
              </a:ext>
            </a:extLst>
          </p:cNvPr>
          <p:cNvPicPr>
            <a:picLocks noChangeAspect="1"/>
          </p:cNvPicPr>
          <p:nvPr/>
        </p:nvPicPr>
        <p:blipFill>
          <a:blip r:embed="rId5"/>
          <a:stretch>
            <a:fillRect/>
          </a:stretch>
        </p:blipFill>
        <p:spPr>
          <a:xfrm>
            <a:off x="10474161" y="3788934"/>
            <a:ext cx="1390538" cy="1287485"/>
          </a:xfrm>
          <a:prstGeom prst="rect">
            <a:avLst/>
          </a:prstGeom>
          <a:ln>
            <a:solidFill>
              <a:schemeClr val="bg1">
                <a:lumMod val="75000"/>
              </a:schemeClr>
            </a:solidFill>
          </a:ln>
        </p:spPr>
      </p:pic>
      <p:sp>
        <p:nvSpPr>
          <p:cNvPr id="60" name="正方形/長方形 59">
            <a:extLst>
              <a:ext uri="{FF2B5EF4-FFF2-40B4-BE49-F238E27FC236}">
                <a16:creationId xmlns:a16="http://schemas.microsoft.com/office/drawing/2014/main" id="{FCDBF3AC-B86E-853E-9443-0686985B2096}"/>
              </a:ext>
            </a:extLst>
          </p:cNvPr>
          <p:cNvSpPr/>
          <p:nvPr/>
        </p:nvSpPr>
        <p:spPr>
          <a:xfrm>
            <a:off x="9464150" y="5183786"/>
            <a:ext cx="2045990" cy="323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dirty="0">
                <a:solidFill>
                  <a:schemeClr val="tx1"/>
                </a:solidFill>
                <a:latin typeface="+mn-ea"/>
              </a:rPr>
              <a:t>・ダウンロード</a:t>
            </a:r>
            <a:endParaRPr kumimoji="1" lang="en-US" altLang="ja-JP" sz="900" dirty="0">
              <a:solidFill>
                <a:schemeClr val="tx1"/>
              </a:solidFill>
              <a:latin typeface="+mn-ea"/>
            </a:endParaRPr>
          </a:p>
          <a:p>
            <a:r>
              <a:rPr lang="ja-JP" altLang="en-US" sz="900" dirty="0">
                <a:solidFill>
                  <a:schemeClr val="tx1"/>
                </a:solidFill>
                <a:latin typeface="+mn-ea"/>
              </a:rPr>
              <a:t>・製品仕様一覧　</a:t>
            </a:r>
            <a:r>
              <a:rPr kumimoji="1" lang="ja-JP" altLang="en-US" sz="900" dirty="0">
                <a:solidFill>
                  <a:schemeClr val="tx1"/>
                </a:solidFill>
                <a:latin typeface="+mn-ea"/>
              </a:rPr>
              <a:t>など</a:t>
            </a:r>
          </a:p>
        </p:txBody>
      </p:sp>
      <p:sp>
        <p:nvSpPr>
          <p:cNvPr id="61" name="正方形/長方形 60">
            <a:extLst>
              <a:ext uri="{FF2B5EF4-FFF2-40B4-BE49-F238E27FC236}">
                <a16:creationId xmlns:a16="http://schemas.microsoft.com/office/drawing/2014/main" id="{BF2931A2-F78F-927D-9EC9-4CBD924DCA85}"/>
              </a:ext>
            </a:extLst>
          </p:cNvPr>
          <p:cNvSpPr/>
          <p:nvPr/>
        </p:nvSpPr>
        <p:spPr>
          <a:xfrm>
            <a:off x="65644" y="722351"/>
            <a:ext cx="12000665" cy="459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100" dirty="0">
                <a:solidFill>
                  <a:schemeClr val="tx1"/>
                </a:solidFill>
                <a:latin typeface="+mn-ea"/>
              </a:rPr>
              <a:t>FA</a:t>
            </a:r>
            <a:r>
              <a:rPr kumimoji="1" lang="ja-JP" altLang="en-US" sz="1100" dirty="0">
                <a:solidFill>
                  <a:schemeClr val="tx1"/>
                </a:solidFill>
                <a:latin typeface="+mn-ea"/>
              </a:rPr>
              <a:t>サイトでサービスを提供しているインフラ環境は、宣伝部提供の環境を利用しているが、</a:t>
            </a:r>
            <a:r>
              <a:rPr kumimoji="1" lang="en-US" altLang="ja-JP" sz="1100" dirty="0">
                <a:solidFill>
                  <a:schemeClr val="tx1"/>
                </a:solidFill>
                <a:latin typeface="+mn-ea"/>
              </a:rPr>
              <a:t>OS</a:t>
            </a:r>
            <a:r>
              <a:rPr lang="ja-JP" altLang="en-US" sz="1100" dirty="0">
                <a:solidFill>
                  <a:schemeClr val="tx1"/>
                </a:solidFill>
                <a:latin typeface="+mn-ea"/>
              </a:rPr>
              <a:t>のサポート</a:t>
            </a:r>
            <a:r>
              <a:rPr kumimoji="1" lang="ja-JP" altLang="en-US" sz="1100" dirty="0">
                <a:solidFill>
                  <a:schemeClr val="tx1"/>
                </a:solidFill>
                <a:latin typeface="+mn-ea"/>
              </a:rPr>
              <a:t>終了期間を基準として、順次提供サービスの変更・終了を予定しているため、</a:t>
            </a:r>
            <a:endParaRPr kumimoji="1" lang="en-US" altLang="ja-JP" sz="1100" dirty="0">
              <a:solidFill>
                <a:schemeClr val="tx1"/>
              </a:solidFill>
              <a:latin typeface="+mn-ea"/>
            </a:endParaRPr>
          </a:p>
          <a:p>
            <a:r>
              <a:rPr kumimoji="1" lang="en-US" altLang="ja-JP" sz="1100" dirty="0">
                <a:solidFill>
                  <a:schemeClr val="tx1"/>
                </a:solidFill>
                <a:latin typeface="+mn-ea"/>
              </a:rPr>
              <a:t>FA</a:t>
            </a:r>
            <a:r>
              <a:rPr kumimoji="1" lang="ja-JP" altLang="en-US" sz="1100" dirty="0">
                <a:solidFill>
                  <a:schemeClr val="tx1"/>
                </a:solidFill>
                <a:latin typeface="+mn-ea"/>
              </a:rPr>
              <a:t>本で独自のインフラ環境構築が必要となっている。インフラ環境構築を機にグローバルでの</a:t>
            </a:r>
            <a:r>
              <a:rPr kumimoji="1" lang="en-US" altLang="ja-JP" sz="1100" dirty="0">
                <a:solidFill>
                  <a:schemeClr val="tx1"/>
                </a:solidFill>
                <a:latin typeface="+mn-ea"/>
              </a:rPr>
              <a:t>Web</a:t>
            </a:r>
            <a:r>
              <a:rPr lang="ja-JP" altLang="en-US" sz="1100" dirty="0">
                <a:solidFill>
                  <a:schemeClr val="tx1"/>
                </a:solidFill>
                <a:latin typeface="+mn-ea"/>
              </a:rPr>
              <a:t>運用</a:t>
            </a:r>
            <a:r>
              <a:rPr kumimoji="1" lang="ja-JP" altLang="en-US" sz="1100" dirty="0">
                <a:solidFill>
                  <a:schemeClr val="tx1"/>
                </a:solidFill>
                <a:latin typeface="+mn-ea"/>
              </a:rPr>
              <a:t>最適化を目的とした環境構築を行う。</a:t>
            </a:r>
          </a:p>
        </p:txBody>
      </p:sp>
      <p:sp>
        <p:nvSpPr>
          <p:cNvPr id="62" name="テキスト ボックス 61">
            <a:extLst>
              <a:ext uri="{FF2B5EF4-FFF2-40B4-BE49-F238E27FC236}">
                <a16:creationId xmlns:a16="http://schemas.microsoft.com/office/drawing/2014/main" id="{79B454BA-1C23-BF90-44AC-78FC96382ACD}"/>
              </a:ext>
            </a:extLst>
          </p:cNvPr>
          <p:cNvSpPr txBox="1"/>
          <p:nvPr/>
        </p:nvSpPr>
        <p:spPr>
          <a:xfrm>
            <a:off x="1719853" y="2759501"/>
            <a:ext cx="3672000" cy="1008000"/>
          </a:xfrm>
          <a:prstGeom prst="rect">
            <a:avLst/>
          </a:prstGeom>
          <a:noFill/>
          <a:ln w="28575">
            <a:solidFill>
              <a:srgbClr val="C00000"/>
            </a:solidFill>
          </a:ln>
        </p:spPr>
        <p:txBody>
          <a:bodyPr wrap="square" rtlCol="0">
            <a:spAutoFit/>
          </a:bodyPr>
          <a:lstStyle/>
          <a:p>
            <a:endParaRPr kumimoji="1" lang="ja-JP" altLang="en-US"/>
          </a:p>
        </p:txBody>
      </p:sp>
      <p:sp>
        <p:nvSpPr>
          <p:cNvPr id="63" name="テキスト ボックス 62">
            <a:extLst>
              <a:ext uri="{FF2B5EF4-FFF2-40B4-BE49-F238E27FC236}">
                <a16:creationId xmlns:a16="http://schemas.microsoft.com/office/drawing/2014/main" id="{D870AC1D-FB2E-38EA-CE6F-183861258ACA}"/>
              </a:ext>
            </a:extLst>
          </p:cNvPr>
          <p:cNvSpPr txBox="1"/>
          <p:nvPr/>
        </p:nvSpPr>
        <p:spPr>
          <a:xfrm>
            <a:off x="2587308" y="3545217"/>
            <a:ext cx="1967667" cy="261610"/>
          </a:xfrm>
          <a:prstGeom prst="rect">
            <a:avLst/>
          </a:prstGeom>
          <a:noFill/>
        </p:spPr>
        <p:txBody>
          <a:bodyPr wrap="square" rtlCol="0">
            <a:spAutoFit/>
          </a:bodyPr>
          <a:lstStyle/>
          <a:p>
            <a:pPr algn="ctr"/>
            <a:r>
              <a:rPr kumimoji="1" lang="ja-JP" altLang="en-US" sz="1100" b="1" dirty="0">
                <a:solidFill>
                  <a:srgbClr val="FF0000"/>
                </a:solidFill>
              </a:rPr>
              <a:t>今後移行が必要な範囲</a:t>
            </a:r>
          </a:p>
        </p:txBody>
      </p:sp>
      <p:sp>
        <p:nvSpPr>
          <p:cNvPr id="64" name="テキスト ボックス 63">
            <a:extLst>
              <a:ext uri="{FF2B5EF4-FFF2-40B4-BE49-F238E27FC236}">
                <a16:creationId xmlns:a16="http://schemas.microsoft.com/office/drawing/2014/main" id="{4A2E70E6-2FF1-8495-CBC8-5CFBB0F7B41C}"/>
              </a:ext>
            </a:extLst>
          </p:cNvPr>
          <p:cNvSpPr txBox="1"/>
          <p:nvPr/>
        </p:nvSpPr>
        <p:spPr>
          <a:xfrm>
            <a:off x="5619439" y="3536867"/>
            <a:ext cx="1967667" cy="261610"/>
          </a:xfrm>
          <a:prstGeom prst="rect">
            <a:avLst/>
          </a:prstGeom>
          <a:noFill/>
        </p:spPr>
        <p:txBody>
          <a:bodyPr wrap="square" rtlCol="0">
            <a:spAutoFit/>
          </a:bodyPr>
          <a:lstStyle/>
          <a:p>
            <a:pPr algn="ctr"/>
            <a:r>
              <a:rPr kumimoji="1" lang="ja-JP" altLang="en-US" sz="1100" b="1" dirty="0">
                <a:solidFill>
                  <a:srgbClr val="FF0000"/>
                </a:solidFill>
              </a:rPr>
              <a:t>現在</a:t>
            </a:r>
            <a:r>
              <a:rPr kumimoji="1" lang="en-US" altLang="ja-JP" sz="1100" b="1" dirty="0">
                <a:solidFill>
                  <a:srgbClr val="FF0000"/>
                </a:solidFill>
              </a:rPr>
              <a:t>AEM</a:t>
            </a:r>
            <a:r>
              <a:rPr kumimoji="1" lang="ja-JP" altLang="en-US" sz="1100" b="1" dirty="0">
                <a:solidFill>
                  <a:srgbClr val="FF0000"/>
                </a:solidFill>
              </a:rPr>
              <a:t>に移行中の範囲</a:t>
            </a:r>
          </a:p>
        </p:txBody>
      </p:sp>
      <p:sp>
        <p:nvSpPr>
          <p:cNvPr id="65" name="テキスト ボックス 64">
            <a:extLst>
              <a:ext uri="{FF2B5EF4-FFF2-40B4-BE49-F238E27FC236}">
                <a16:creationId xmlns:a16="http://schemas.microsoft.com/office/drawing/2014/main" id="{D272626C-ACC9-BCEF-E5E9-785685DBDDFE}"/>
              </a:ext>
            </a:extLst>
          </p:cNvPr>
          <p:cNvSpPr txBox="1"/>
          <p:nvPr/>
        </p:nvSpPr>
        <p:spPr>
          <a:xfrm>
            <a:off x="5508516" y="2770155"/>
            <a:ext cx="2121579" cy="1008000"/>
          </a:xfrm>
          <a:prstGeom prst="rect">
            <a:avLst/>
          </a:prstGeom>
          <a:noFill/>
          <a:ln w="28575">
            <a:solidFill>
              <a:srgbClr val="C00000"/>
            </a:solidFill>
            <a:prstDash val="sysDash"/>
          </a:ln>
        </p:spPr>
        <p:txBody>
          <a:bodyPr wrap="square" rtlCol="0">
            <a:spAutoFit/>
          </a:bodyPr>
          <a:lstStyle/>
          <a:p>
            <a:endParaRPr kumimoji="1" lang="ja-JP" altLang="en-US"/>
          </a:p>
        </p:txBody>
      </p:sp>
      <p:sp>
        <p:nvSpPr>
          <p:cNvPr id="82" name="正方形/長方形 81">
            <a:extLst>
              <a:ext uri="{FF2B5EF4-FFF2-40B4-BE49-F238E27FC236}">
                <a16:creationId xmlns:a16="http://schemas.microsoft.com/office/drawing/2014/main" id="{64A5707B-3A4C-DBA0-57D0-3534C65C21B4}"/>
              </a:ext>
            </a:extLst>
          </p:cNvPr>
          <p:cNvSpPr/>
          <p:nvPr/>
        </p:nvSpPr>
        <p:spPr>
          <a:xfrm>
            <a:off x="1081503" y="2976634"/>
            <a:ext cx="564356" cy="525620"/>
          </a:xfrm>
          <a:prstGeom prst="rect">
            <a:avLst/>
          </a:prstGeom>
          <a:solidFill>
            <a:schemeClr val="accent2">
              <a:lumMod val="20000"/>
              <a:lumOff val="80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a:ln>
                  <a:noFill/>
                </a:ln>
                <a:solidFill>
                  <a:srgbClr val="000000"/>
                </a:solidFill>
                <a:effectLst/>
                <a:uLnTx/>
                <a:uFillTx/>
                <a:latin typeface="Yu Gothic UI" panose="020B0500000000000000" pitchFamily="50" charset="-128"/>
                <a:ea typeface="Yu Gothic UI" panose="020B0500000000000000" pitchFamily="50" charset="-128"/>
                <a:cs typeface="+mn-cs"/>
              </a:rPr>
              <a:t>PIM</a:t>
            </a:r>
          </a:p>
        </p:txBody>
      </p:sp>
      <p:graphicFrame>
        <p:nvGraphicFramePr>
          <p:cNvPr id="147" name="Table 26">
            <a:extLst>
              <a:ext uri="{FF2B5EF4-FFF2-40B4-BE49-F238E27FC236}">
                <a16:creationId xmlns:a16="http://schemas.microsoft.com/office/drawing/2014/main" id="{7EA9CB8B-A78C-3337-F91A-401D512FC64C}"/>
              </a:ext>
            </a:extLst>
          </p:cNvPr>
          <p:cNvGraphicFramePr>
            <a:graphicFrameLocks noGrp="1"/>
          </p:cNvGraphicFramePr>
          <p:nvPr>
            <p:extLst>
              <p:ext uri="{D42A27DB-BD31-4B8C-83A1-F6EECF244321}">
                <p14:modId xmlns:p14="http://schemas.microsoft.com/office/powerpoint/2010/main" val="426229301"/>
              </p:ext>
            </p:extLst>
          </p:nvPr>
        </p:nvGraphicFramePr>
        <p:xfrm>
          <a:off x="336018" y="4049829"/>
          <a:ext cx="8994888" cy="2212754"/>
        </p:xfrm>
        <a:graphic>
          <a:graphicData uri="http://schemas.openxmlformats.org/drawingml/2006/table">
            <a:tbl>
              <a:tblPr firstRow="1" bandRow="1">
                <a:tableStyleId>{5C22544A-7EE6-4342-B048-85BDC9FD1C3A}</a:tableStyleId>
              </a:tblPr>
              <a:tblGrid>
                <a:gridCol w="674078">
                  <a:extLst>
                    <a:ext uri="{9D8B030D-6E8A-4147-A177-3AD203B41FA5}">
                      <a16:colId xmlns:a16="http://schemas.microsoft.com/office/drawing/2014/main" val="1070150912"/>
                    </a:ext>
                  </a:extLst>
                </a:gridCol>
                <a:gridCol w="832081">
                  <a:extLst>
                    <a:ext uri="{9D8B030D-6E8A-4147-A177-3AD203B41FA5}">
                      <a16:colId xmlns:a16="http://schemas.microsoft.com/office/drawing/2014/main" val="114013100"/>
                    </a:ext>
                  </a:extLst>
                </a:gridCol>
                <a:gridCol w="832081">
                  <a:extLst>
                    <a:ext uri="{9D8B030D-6E8A-4147-A177-3AD203B41FA5}">
                      <a16:colId xmlns:a16="http://schemas.microsoft.com/office/drawing/2014/main" val="2393358133"/>
                    </a:ext>
                  </a:extLst>
                </a:gridCol>
                <a:gridCol w="832081">
                  <a:extLst>
                    <a:ext uri="{9D8B030D-6E8A-4147-A177-3AD203B41FA5}">
                      <a16:colId xmlns:a16="http://schemas.microsoft.com/office/drawing/2014/main" val="1745004670"/>
                    </a:ext>
                  </a:extLst>
                </a:gridCol>
                <a:gridCol w="832081">
                  <a:extLst>
                    <a:ext uri="{9D8B030D-6E8A-4147-A177-3AD203B41FA5}">
                      <a16:colId xmlns:a16="http://schemas.microsoft.com/office/drawing/2014/main" val="1975875230"/>
                    </a:ext>
                  </a:extLst>
                </a:gridCol>
                <a:gridCol w="832081">
                  <a:extLst>
                    <a:ext uri="{9D8B030D-6E8A-4147-A177-3AD203B41FA5}">
                      <a16:colId xmlns:a16="http://schemas.microsoft.com/office/drawing/2014/main" val="1054238221"/>
                    </a:ext>
                  </a:extLst>
                </a:gridCol>
                <a:gridCol w="832081">
                  <a:extLst>
                    <a:ext uri="{9D8B030D-6E8A-4147-A177-3AD203B41FA5}">
                      <a16:colId xmlns:a16="http://schemas.microsoft.com/office/drawing/2014/main" val="4060150137"/>
                    </a:ext>
                  </a:extLst>
                </a:gridCol>
                <a:gridCol w="832081">
                  <a:extLst>
                    <a:ext uri="{9D8B030D-6E8A-4147-A177-3AD203B41FA5}">
                      <a16:colId xmlns:a16="http://schemas.microsoft.com/office/drawing/2014/main" val="3000285104"/>
                    </a:ext>
                  </a:extLst>
                </a:gridCol>
                <a:gridCol w="832081">
                  <a:extLst>
                    <a:ext uri="{9D8B030D-6E8A-4147-A177-3AD203B41FA5}">
                      <a16:colId xmlns:a16="http://schemas.microsoft.com/office/drawing/2014/main" val="2575144572"/>
                    </a:ext>
                  </a:extLst>
                </a:gridCol>
                <a:gridCol w="832081">
                  <a:extLst>
                    <a:ext uri="{9D8B030D-6E8A-4147-A177-3AD203B41FA5}">
                      <a16:colId xmlns:a16="http://schemas.microsoft.com/office/drawing/2014/main" val="1845419619"/>
                    </a:ext>
                  </a:extLst>
                </a:gridCol>
                <a:gridCol w="832081">
                  <a:extLst>
                    <a:ext uri="{9D8B030D-6E8A-4147-A177-3AD203B41FA5}">
                      <a16:colId xmlns:a16="http://schemas.microsoft.com/office/drawing/2014/main" val="303546986"/>
                    </a:ext>
                  </a:extLst>
                </a:gridCol>
              </a:tblGrid>
              <a:tr h="0">
                <a:tc row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algn="ctr"/>
                      <a:r>
                        <a:rPr lang="en-US" sz="900" dirty="0">
                          <a:solidFill>
                            <a:schemeClr val="bg1"/>
                          </a:solidFill>
                          <a:latin typeface="Yu Gothic UI" panose="020B0500000000000000" pitchFamily="34" charset="-128"/>
                          <a:ea typeface="Yu Gothic UI" panose="020B0500000000000000" pitchFamily="34" charset="-128"/>
                        </a:rPr>
                        <a:t>F</a:t>
                      </a:r>
                      <a:r>
                        <a:rPr lang="en-GB" sz="900" dirty="0">
                          <a:solidFill>
                            <a:schemeClr val="bg1"/>
                          </a:solidFill>
                          <a:latin typeface="Yu Gothic UI" panose="020B0500000000000000" pitchFamily="34" charset="-128"/>
                          <a:ea typeface="Yu Gothic UI" panose="020B0500000000000000" pitchFamily="34" charset="-128"/>
                        </a:rPr>
                        <a:t>Y2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ctr"/>
                      <a:r>
                        <a:rPr lang="en-US" sz="900" dirty="0">
                          <a:solidFill>
                            <a:schemeClr val="bg1"/>
                          </a:solidFill>
                          <a:latin typeface="Yu Gothic UI" panose="020B0500000000000000" pitchFamily="34" charset="-128"/>
                          <a:ea typeface="Yu Gothic UI" panose="020B0500000000000000" pitchFamily="34" charset="-128"/>
                        </a:rPr>
                        <a:t>FY26</a:t>
                      </a:r>
                      <a:endParaRPr lang="en-GB" sz="9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gridSpan="2">
                  <a:txBody>
                    <a:bodyPr/>
                    <a:lstStyle/>
                    <a:p>
                      <a:pPr algn="ctr"/>
                      <a:r>
                        <a:rPr lang="en-US" sz="900" dirty="0">
                          <a:solidFill>
                            <a:schemeClr val="bg1"/>
                          </a:solidFill>
                          <a:latin typeface="Yu Gothic UI" panose="020B0500000000000000" pitchFamily="34" charset="-128"/>
                          <a:ea typeface="Yu Gothic UI" panose="020B0500000000000000" pitchFamily="34" charset="-128"/>
                        </a:rPr>
                        <a:t>FY27</a:t>
                      </a:r>
                      <a:endParaRPr lang="en-GB" sz="9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tc gridSpan="2">
                  <a:txBody>
                    <a:bodyPr/>
                    <a:lstStyle/>
                    <a:p>
                      <a:pPr algn="ctr"/>
                      <a:r>
                        <a:rPr lang="en-US" altLang="ja-JP" sz="900" dirty="0">
                          <a:solidFill>
                            <a:schemeClr val="bg1"/>
                          </a:solidFill>
                          <a:latin typeface="Yu Gothic UI" panose="020B0500000000000000" pitchFamily="34" charset="-128"/>
                          <a:ea typeface="Yu Gothic UI" panose="020B0500000000000000" pitchFamily="34" charset="-128"/>
                        </a:rPr>
                        <a:t>FY28</a:t>
                      </a:r>
                      <a:endParaRPr lang="en-GB" sz="9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lang="en-GB"/>
                    </a:p>
                  </a:txBody>
                  <a:tcPr/>
                </a:tc>
                <a:extLst>
                  <a:ext uri="{0D108BD9-81ED-4DB2-BD59-A6C34878D82A}">
                    <a16:rowId xmlns:a16="http://schemas.microsoft.com/office/drawing/2014/main" val="1251851026"/>
                  </a:ext>
                </a:extLst>
              </a:tr>
              <a:tr h="0">
                <a:tc vMerge="1">
                  <a:txBody>
                    <a:bodyPr/>
                    <a:lstStyle/>
                    <a:p>
                      <a:endParaRPr lang="en-GB" sz="800" dirty="0">
                        <a:latin typeface="Yu Gothic UI" panose="020B0500000000000000" pitchFamily="34" charset="-128"/>
                        <a:ea typeface="Yu Gothic UI" panose="020B0500000000000000" pitchFamily="34"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altLang="ja-JP" sz="700" b="1" dirty="0">
                          <a:solidFill>
                            <a:schemeClr val="bg1"/>
                          </a:solidFill>
                          <a:latin typeface="Yu Gothic UI" panose="020B0500000000000000" pitchFamily="34" charset="-128"/>
                          <a:ea typeface="Yu Gothic UI" panose="020B0500000000000000" pitchFamily="34" charset="-128"/>
                        </a:rPr>
                        <a:t>1Q</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ja-JP" altLang="en-US" sz="700" b="1" dirty="0">
                          <a:solidFill>
                            <a:schemeClr val="bg1"/>
                          </a:solidFill>
                          <a:latin typeface="Yu Gothic UI" panose="020B0500000000000000" pitchFamily="34" charset="-128"/>
                          <a:ea typeface="Yu Gothic UI" panose="020B0500000000000000" pitchFamily="34" charset="-128"/>
                        </a:rPr>
                        <a:t>２</a:t>
                      </a:r>
                      <a:r>
                        <a:rPr lang="en-US" altLang="ja-JP" sz="700" b="1" dirty="0">
                          <a:solidFill>
                            <a:schemeClr val="bg1"/>
                          </a:solidFill>
                          <a:latin typeface="Yu Gothic UI" panose="020B0500000000000000" pitchFamily="34" charset="-128"/>
                          <a:ea typeface="Yu Gothic UI" panose="020B0500000000000000" pitchFamily="34" charset="-128"/>
                        </a:rPr>
                        <a:t>Q </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ja-JP" altLang="en-US" sz="700" b="1" dirty="0">
                          <a:solidFill>
                            <a:schemeClr val="bg1"/>
                          </a:solidFill>
                          <a:latin typeface="Yu Gothic UI" panose="020B0500000000000000" pitchFamily="34" charset="-128"/>
                          <a:ea typeface="Yu Gothic UI" panose="020B0500000000000000" pitchFamily="34" charset="-128"/>
                        </a:rPr>
                        <a:t>３</a:t>
                      </a:r>
                      <a:r>
                        <a:rPr lang="en-US" altLang="ja-JP" sz="700" b="1" dirty="0">
                          <a:solidFill>
                            <a:schemeClr val="bg1"/>
                          </a:solidFill>
                          <a:latin typeface="Yu Gothic UI" panose="020B0500000000000000" pitchFamily="34" charset="-128"/>
                          <a:ea typeface="Yu Gothic UI" panose="020B0500000000000000" pitchFamily="34" charset="-128"/>
                        </a:rPr>
                        <a:t>Q</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altLang="ja-JP" sz="700" b="1" dirty="0">
                          <a:solidFill>
                            <a:schemeClr val="bg1"/>
                          </a:solidFill>
                          <a:latin typeface="Yu Gothic UI" panose="020B0500000000000000" pitchFamily="34" charset="-128"/>
                          <a:ea typeface="Yu Gothic UI" panose="020B0500000000000000" pitchFamily="34" charset="-128"/>
                        </a:rPr>
                        <a:t>4Q</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1H</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2H</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1H</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2H</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1H</a:t>
                      </a:r>
                      <a:endParaRPr lang="en-GB" sz="7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US" sz="700" b="1" dirty="0">
                          <a:solidFill>
                            <a:schemeClr val="bg1"/>
                          </a:solidFill>
                          <a:latin typeface="Yu Gothic UI" panose="020B0500000000000000" pitchFamily="34" charset="-128"/>
                          <a:ea typeface="Yu Gothic UI" panose="020B0500000000000000" pitchFamily="34" charset="-128"/>
                        </a:rPr>
                        <a:t>2H</a:t>
                      </a:r>
                      <a:endParaRPr lang="en-GB" sz="700" b="1" dirty="0">
                        <a:solidFill>
                          <a:schemeClr val="bg1"/>
                        </a:solidFill>
                        <a:latin typeface="Yu Gothic UI" panose="020B0500000000000000" pitchFamily="34" charset="-128"/>
                        <a:ea typeface="Yu Gothic UI" panose="020B0500000000000000" pitchFamily="34"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681059997"/>
                  </a:ext>
                </a:extLst>
              </a:tr>
              <a:tr h="0">
                <a:tc>
                  <a:txBody>
                    <a:bodyPr/>
                    <a:lstStyle/>
                    <a:p>
                      <a:pPr algn="ctr"/>
                      <a:r>
                        <a:rPr lang="ja-JP" altLang="en-US" sz="900" dirty="0">
                          <a:latin typeface="Yu Gothic UI" panose="020B0500000000000000" pitchFamily="34" charset="-128"/>
                          <a:ea typeface="Yu Gothic UI" panose="020B0500000000000000" pitchFamily="34" charset="-128"/>
                        </a:rPr>
                        <a:t>マイルストーン</a:t>
                      </a:r>
                      <a:endParaRPr lang="en-GB" sz="900" dirty="0">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2">
                        <a:lumMod val="20000"/>
                        <a:lumOff val="80000"/>
                      </a:schemeClr>
                    </a:solidFill>
                  </a:tcPr>
                </a:tc>
                <a:tc gridSpan="4">
                  <a:txBody>
                    <a:bodyPr/>
                    <a:lstStyle/>
                    <a:p>
                      <a:r>
                        <a:rPr lang="ja-JP" altLang="en-US" sz="1000" dirty="0">
                          <a:latin typeface="Yu Gothic UI" panose="020B0500000000000000" pitchFamily="34" charset="-128"/>
                          <a:ea typeface="Yu Gothic UI" panose="020B0500000000000000" pitchFamily="34" charset="-128"/>
                        </a:rPr>
                        <a:t>　</a:t>
                      </a:r>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2">
                        <a:lumMod val="20000"/>
                        <a:lumOff val="80000"/>
                      </a:schemeClr>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2">
                        <a:lumMod val="20000"/>
                        <a:lumOff val="80000"/>
                      </a:schemeClr>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2">
                        <a:lumMod val="20000"/>
                        <a:lumOff val="80000"/>
                      </a:schemeClr>
                    </a:solidFill>
                  </a:tcPr>
                </a:tc>
                <a:tc hMerge="1">
                  <a:txBody>
                    <a:bodyPr/>
                    <a:lstStyle/>
                    <a:p>
                      <a:endParaRPr lang="en-GB"/>
                    </a:p>
                  </a:txBody>
                  <a:tcPr/>
                </a:tc>
                <a:extLst>
                  <a:ext uri="{0D108BD9-81ED-4DB2-BD59-A6C34878D82A}">
                    <a16:rowId xmlns:a16="http://schemas.microsoft.com/office/drawing/2014/main" val="2248122501"/>
                  </a:ext>
                </a:extLst>
              </a:tr>
              <a:tr h="539083">
                <a:tc>
                  <a:txBody>
                    <a:bodyPr/>
                    <a:lstStyle/>
                    <a:p>
                      <a:pPr algn="ctr">
                        <a:lnSpc>
                          <a:spcPct val="106000"/>
                        </a:lnSpc>
                        <a:buFont typeface="Wingdings 2" pitchFamily="18" charset="2"/>
                        <a:buNone/>
                      </a:pPr>
                      <a:r>
                        <a:rPr lang="ja-JP" altLang="en-US" sz="1000" b="1" dirty="0">
                          <a:solidFill>
                            <a:schemeClr val="bg1"/>
                          </a:solidFill>
                          <a:latin typeface="Yu Gothic UI" panose="020B0500000000000000" pitchFamily="34" charset="-128"/>
                          <a:ea typeface="Yu Gothic UI" panose="020B0500000000000000" pitchFamily="34" charset="-128"/>
                        </a:rPr>
                        <a:t>静的</a:t>
                      </a:r>
                      <a:endParaRPr lang="en-US" altLang="ja-JP" sz="1000" b="1" dirty="0">
                        <a:solidFill>
                          <a:schemeClr val="bg1"/>
                        </a:solidFill>
                        <a:latin typeface="Yu Gothic UI" panose="020B0500000000000000" pitchFamily="34" charset="-128"/>
                        <a:ea typeface="Yu Gothic UI" panose="020B0500000000000000" pitchFamily="34" charset="-128"/>
                      </a:endParaRPr>
                    </a:p>
                    <a:p>
                      <a:pPr algn="ctr">
                        <a:lnSpc>
                          <a:spcPct val="106000"/>
                        </a:lnSpc>
                        <a:buFont typeface="Wingdings 2" pitchFamily="18" charset="2"/>
                        <a:buNone/>
                      </a:pPr>
                      <a:r>
                        <a:rPr lang="ja-JP" altLang="en-US" sz="1000" b="1" dirty="0">
                          <a:solidFill>
                            <a:schemeClr val="bg1"/>
                          </a:solidFill>
                          <a:latin typeface="Yu Gothic UI" panose="020B0500000000000000" pitchFamily="34" charset="-128"/>
                          <a:ea typeface="Yu Gothic UI" panose="020B0500000000000000" pitchFamily="34" charset="-128"/>
                        </a:rPr>
                        <a:t>コンテンツ</a:t>
                      </a:r>
                      <a:endParaRPr lang="en-GB" sz="1000"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gridSpan="4">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a16="http://schemas.microsoft.com/office/drawing/2014/main" val="1242544051"/>
                  </a:ext>
                </a:extLst>
              </a:tr>
              <a:tr h="1041991">
                <a:tc>
                  <a:txBody>
                    <a:bodyPr/>
                    <a:lstStyle/>
                    <a:p>
                      <a:pPr algn="ctr">
                        <a:lnSpc>
                          <a:spcPct val="106000"/>
                        </a:lnSpc>
                        <a:buFont typeface="Wingdings 2" pitchFamily="18" charset="2"/>
                        <a:buNone/>
                      </a:pPr>
                      <a:r>
                        <a:rPr lang="ja-JP" altLang="en-US" sz="1000" b="1" dirty="0">
                          <a:solidFill>
                            <a:schemeClr val="bg1"/>
                          </a:solidFill>
                          <a:latin typeface="Yu Gothic UI" panose="020B0500000000000000" pitchFamily="34" charset="-128"/>
                          <a:ea typeface="Yu Gothic UI" panose="020B0500000000000000" pitchFamily="34" charset="-128"/>
                        </a:rPr>
                        <a:t>動的</a:t>
                      </a:r>
                      <a:endParaRPr lang="en-US" altLang="ja-JP" sz="1000" b="1" dirty="0">
                        <a:solidFill>
                          <a:schemeClr val="bg1"/>
                        </a:solidFill>
                        <a:latin typeface="Yu Gothic UI" panose="020B0500000000000000" pitchFamily="34" charset="-128"/>
                        <a:ea typeface="Yu Gothic UI" panose="020B0500000000000000" pitchFamily="34" charset="-128"/>
                      </a:endParaRPr>
                    </a:p>
                    <a:p>
                      <a:pPr algn="ctr">
                        <a:lnSpc>
                          <a:spcPct val="106000"/>
                        </a:lnSpc>
                        <a:buFont typeface="Wingdings 2" pitchFamily="18" charset="2"/>
                        <a:buNone/>
                      </a:pPr>
                      <a:r>
                        <a:rPr lang="ja-JP" altLang="en-US" sz="1000" b="1" dirty="0">
                          <a:solidFill>
                            <a:schemeClr val="bg1"/>
                          </a:solidFill>
                          <a:latin typeface="Yu Gothic UI" panose="020B0500000000000000" pitchFamily="34" charset="-128"/>
                          <a:ea typeface="Yu Gothic UI" panose="020B0500000000000000" pitchFamily="34" charset="-128"/>
                        </a:rPr>
                        <a:t>コンテンツ</a:t>
                      </a:r>
                      <a:endParaRPr lang="en-US" altLang="ja-JP" sz="1000" b="1" dirty="0">
                        <a:solidFill>
                          <a:schemeClr val="bg1"/>
                        </a:solidFill>
                        <a:latin typeface="Yu Gothic UI" panose="020B0500000000000000" pitchFamily="34" charset="-128"/>
                        <a:ea typeface="Yu Gothic UI" panose="020B0500000000000000" pitchFamily="34"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gridSpan="4">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endParaRPr lang="en-GB" sz="1000" dirty="0">
                        <a:latin typeface="Yu Gothic UI" panose="020B0500000000000000" pitchFamily="34" charset="-128"/>
                        <a:ea typeface="Yu Gothic UI" panose="020B0500000000000000" pitchFamily="34"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a16="http://schemas.microsoft.com/office/drawing/2014/main" val="783230868"/>
                  </a:ext>
                </a:extLst>
              </a:tr>
            </a:tbl>
          </a:graphicData>
        </a:graphic>
      </p:graphicFrame>
      <p:sp>
        <p:nvSpPr>
          <p:cNvPr id="148" name="Arrow: Pentagon 46">
            <a:extLst>
              <a:ext uri="{FF2B5EF4-FFF2-40B4-BE49-F238E27FC236}">
                <a16:creationId xmlns:a16="http://schemas.microsoft.com/office/drawing/2014/main" id="{BEBCE3B9-0C94-BDE1-4B73-67C165070238}"/>
              </a:ext>
            </a:extLst>
          </p:cNvPr>
          <p:cNvSpPr/>
          <p:nvPr/>
        </p:nvSpPr>
        <p:spPr bwMode="gray">
          <a:xfrm>
            <a:off x="1017733" y="4974359"/>
            <a:ext cx="2808000" cy="217393"/>
          </a:xfrm>
          <a:prstGeom prst="homePlate">
            <a:avLst>
              <a:gd name="adj" fmla="val 21839"/>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ja-JP" sz="1000" b="1" dirty="0">
                <a:solidFill>
                  <a:schemeClr val="bg1"/>
                </a:solidFill>
                <a:latin typeface="Yu Gothic UI" panose="020B0500000000000000" pitchFamily="34" charset="-128"/>
                <a:ea typeface="Yu Gothic UI" panose="020B0500000000000000" pitchFamily="34" charset="-128"/>
              </a:rPr>
              <a:t>AEM</a:t>
            </a:r>
            <a:r>
              <a:rPr lang="ja-JP" altLang="en-US" sz="1000" b="1" dirty="0">
                <a:solidFill>
                  <a:schemeClr val="bg1"/>
                </a:solidFill>
                <a:latin typeface="Yu Gothic UI" panose="020B0500000000000000" pitchFamily="34" charset="-128"/>
                <a:ea typeface="Yu Gothic UI" panose="020B0500000000000000" pitchFamily="34" charset="-128"/>
              </a:rPr>
              <a:t>開発（国内・グローバル）</a:t>
            </a:r>
            <a:endParaRPr lang="en-US" altLang="ja-JP" sz="1000" b="1" dirty="0">
              <a:solidFill>
                <a:schemeClr val="bg1"/>
              </a:solidFill>
              <a:latin typeface="Yu Gothic UI" panose="020B0500000000000000" pitchFamily="34" charset="-128"/>
              <a:ea typeface="Yu Gothic UI" panose="020B0500000000000000" pitchFamily="34" charset="-128"/>
            </a:endParaRPr>
          </a:p>
        </p:txBody>
      </p:sp>
      <p:sp>
        <p:nvSpPr>
          <p:cNvPr id="149" name="Rectangle 64">
            <a:extLst>
              <a:ext uri="{FF2B5EF4-FFF2-40B4-BE49-F238E27FC236}">
                <a16:creationId xmlns:a16="http://schemas.microsoft.com/office/drawing/2014/main" id="{7EA0507B-5603-506F-6441-1BDB3E605099}"/>
              </a:ext>
            </a:extLst>
          </p:cNvPr>
          <p:cNvSpPr/>
          <p:nvPr/>
        </p:nvSpPr>
        <p:spPr bwMode="gray">
          <a:xfrm>
            <a:off x="3929560" y="4453390"/>
            <a:ext cx="1644984" cy="230748"/>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900" b="1" dirty="0">
                <a:solidFill>
                  <a:schemeClr val="tx2"/>
                </a:solidFill>
                <a:latin typeface="Yu Gothic UI" panose="020B0500000000000000" pitchFamily="34" charset="-128"/>
                <a:ea typeface="Yu Gothic UI" panose="020B0500000000000000" pitchFamily="34" charset="-128"/>
              </a:rPr>
              <a:t>△ </a:t>
            </a:r>
            <a:r>
              <a:rPr lang="en-US" altLang="ja-JP" sz="900" b="1" dirty="0" err="1">
                <a:solidFill>
                  <a:schemeClr val="tx2"/>
                </a:solidFill>
                <a:latin typeface="Yu Gothic UI" panose="020B0500000000000000" pitchFamily="34" charset="-128"/>
                <a:ea typeface="Yu Gothic UI" panose="020B0500000000000000" pitchFamily="34" charset="-128"/>
              </a:rPr>
              <a:t>Teamsite</a:t>
            </a:r>
            <a:r>
              <a:rPr lang="ja-JP" altLang="en-US" sz="900" b="1" dirty="0">
                <a:solidFill>
                  <a:schemeClr val="tx2"/>
                </a:solidFill>
                <a:latin typeface="Yu Gothic UI" panose="020B0500000000000000" pitchFamily="34" charset="-128"/>
                <a:ea typeface="Yu Gothic UI" panose="020B0500000000000000" pitchFamily="34" charset="-128"/>
              </a:rPr>
              <a:t> サポート終了</a:t>
            </a:r>
            <a:endParaRPr lang="en-GB" altLang="ja-JP" sz="900" b="1" dirty="0">
              <a:solidFill>
                <a:schemeClr val="tx2"/>
              </a:solidFill>
              <a:latin typeface="Yu Gothic UI" panose="020B0500000000000000" pitchFamily="34" charset="-128"/>
              <a:ea typeface="Yu Gothic UI" panose="020B0500000000000000" pitchFamily="34" charset="-128"/>
            </a:endParaRPr>
          </a:p>
        </p:txBody>
      </p:sp>
      <p:sp>
        <p:nvSpPr>
          <p:cNvPr id="150" name="Arrow: Pentagon 46">
            <a:extLst>
              <a:ext uri="{FF2B5EF4-FFF2-40B4-BE49-F238E27FC236}">
                <a16:creationId xmlns:a16="http://schemas.microsoft.com/office/drawing/2014/main" id="{43EEA5BC-8B8E-BF9C-528B-C33618327318}"/>
              </a:ext>
            </a:extLst>
          </p:cNvPr>
          <p:cNvSpPr/>
          <p:nvPr/>
        </p:nvSpPr>
        <p:spPr bwMode="gray">
          <a:xfrm>
            <a:off x="1021530" y="4725111"/>
            <a:ext cx="3312000" cy="217392"/>
          </a:xfrm>
          <a:prstGeom prst="homePlate">
            <a:avLst>
              <a:gd name="adj" fmla="val 21839"/>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ja-JP" sz="1000" b="1" dirty="0" err="1">
                <a:solidFill>
                  <a:schemeClr val="bg1"/>
                </a:solidFill>
                <a:latin typeface="Yu Gothic UI" panose="020B0500000000000000" pitchFamily="34" charset="-128"/>
                <a:ea typeface="Yu Gothic UI" panose="020B0500000000000000" pitchFamily="34" charset="-128"/>
              </a:rPr>
              <a:t>Teamsite</a:t>
            </a:r>
            <a:r>
              <a:rPr lang="ja-JP" altLang="en-US" sz="1000" b="1" dirty="0">
                <a:solidFill>
                  <a:schemeClr val="bg1"/>
                </a:solidFill>
                <a:latin typeface="Yu Gothic UI" panose="020B0500000000000000" pitchFamily="34" charset="-128"/>
                <a:ea typeface="Yu Gothic UI" panose="020B0500000000000000" pitchFamily="34" charset="-128"/>
              </a:rPr>
              <a:t>運用</a:t>
            </a:r>
            <a:endParaRPr lang="en-US" altLang="ja-JP" sz="1000" b="1" dirty="0">
              <a:solidFill>
                <a:schemeClr val="bg1"/>
              </a:solidFill>
              <a:latin typeface="Yu Gothic UI" panose="020B0500000000000000" pitchFamily="34" charset="-128"/>
              <a:ea typeface="Yu Gothic UI" panose="020B0500000000000000" pitchFamily="34" charset="-128"/>
            </a:endParaRPr>
          </a:p>
        </p:txBody>
      </p:sp>
      <p:sp>
        <p:nvSpPr>
          <p:cNvPr id="151" name="Arrow: Pentagon 46">
            <a:extLst>
              <a:ext uri="{FF2B5EF4-FFF2-40B4-BE49-F238E27FC236}">
                <a16:creationId xmlns:a16="http://schemas.microsoft.com/office/drawing/2014/main" id="{EEB8B5CD-11CD-2456-D48C-8EC3BD3109FB}"/>
              </a:ext>
            </a:extLst>
          </p:cNvPr>
          <p:cNvSpPr/>
          <p:nvPr/>
        </p:nvSpPr>
        <p:spPr bwMode="gray">
          <a:xfrm>
            <a:off x="4348343" y="4959997"/>
            <a:ext cx="4968000" cy="221046"/>
          </a:xfrm>
          <a:prstGeom prst="homePlate">
            <a:avLst>
              <a:gd name="adj" fmla="val 21839"/>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ja-JP" sz="1000" b="1" dirty="0">
                <a:solidFill>
                  <a:schemeClr val="bg1"/>
                </a:solidFill>
                <a:latin typeface="Yu Gothic UI" panose="020B0500000000000000" pitchFamily="34" charset="-128"/>
                <a:ea typeface="Yu Gothic UI" panose="020B0500000000000000" pitchFamily="34" charset="-128"/>
              </a:rPr>
              <a:t>AEM</a:t>
            </a:r>
            <a:r>
              <a:rPr lang="ja-JP" altLang="en-US" sz="1000" b="1" dirty="0">
                <a:solidFill>
                  <a:schemeClr val="bg1"/>
                </a:solidFill>
                <a:latin typeface="Yu Gothic UI" panose="020B0500000000000000" pitchFamily="34" charset="-128"/>
                <a:ea typeface="Yu Gothic UI" panose="020B0500000000000000" pitchFamily="34" charset="-128"/>
              </a:rPr>
              <a:t>運用</a:t>
            </a:r>
            <a:endParaRPr lang="en-US" altLang="ja-JP" sz="1000" b="1" dirty="0">
              <a:solidFill>
                <a:schemeClr val="bg1"/>
              </a:solidFill>
              <a:latin typeface="Yu Gothic UI" panose="020B0500000000000000" pitchFamily="34" charset="-128"/>
              <a:ea typeface="Yu Gothic UI" panose="020B0500000000000000" pitchFamily="34" charset="-128"/>
            </a:endParaRPr>
          </a:p>
        </p:txBody>
      </p:sp>
      <p:sp>
        <p:nvSpPr>
          <p:cNvPr id="152" name="Arrow: Pentagon 46">
            <a:extLst>
              <a:ext uri="{FF2B5EF4-FFF2-40B4-BE49-F238E27FC236}">
                <a16:creationId xmlns:a16="http://schemas.microsoft.com/office/drawing/2014/main" id="{8959C693-AC4C-A239-932B-F688C39D2ECB}"/>
              </a:ext>
            </a:extLst>
          </p:cNvPr>
          <p:cNvSpPr/>
          <p:nvPr/>
        </p:nvSpPr>
        <p:spPr bwMode="gray">
          <a:xfrm>
            <a:off x="3841643" y="4962326"/>
            <a:ext cx="496800" cy="230749"/>
          </a:xfrm>
          <a:prstGeom prst="homePlate">
            <a:avLst>
              <a:gd name="adj" fmla="val 21839"/>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000" b="1" dirty="0">
                <a:solidFill>
                  <a:schemeClr val="bg1"/>
                </a:solidFill>
                <a:latin typeface="Yu Gothic UI" panose="020B0500000000000000" pitchFamily="34" charset="-128"/>
                <a:ea typeface="Yu Gothic UI" panose="020B0500000000000000" pitchFamily="34" charset="-128"/>
              </a:rPr>
              <a:t>移行</a:t>
            </a:r>
            <a:endParaRPr lang="en-US" altLang="ja-JP" sz="1000" b="1" dirty="0">
              <a:solidFill>
                <a:schemeClr val="bg1"/>
              </a:solidFill>
              <a:latin typeface="Yu Gothic UI" panose="020B0500000000000000" pitchFamily="34" charset="-128"/>
              <a:ea typeface="Yu Gothic UI" panose="020B0500000000000000" pitchFamily="34" charset="-128"/>
            </a:endParaRPr>
          </a:p>
        </p:txBody>
      </p:sp>
      <p:cxnSp>
        <p:nvCxnSpPr>
          <p:cNvPr id="153" name="Connector: Elbow 104">
            <a:extLst>
              <a:ext uri="{FF2B5EF4-FFF2-40B4-BE49-F238E27FC236}">
                <a16:creationId xmlns:a16="http://schemas.microsoft.com/office/drawing/2014/main" id="{8A3627FB-EF31-38A1-06E6-E698D46F4A45}"/>
              </a:ext>
            </a:extLst>
          </p:cNvPr>
          <p:cNvCxnSpPr>
            <a:cxnSpLocks/>
          </p:cNvCxnSpPr>
          <p:nvPr/>
        </p:nvCxnSpPr>
        <p:spPr>
          <a:xfrm flipH="1">
            <a:off x="4121611" y="4837583"/>
            <a:ext cx="10187" cy="180000"/>
          </a:xfrm>
          <a:prstGeom prst="straightConnector1">
            <a:avLst/>
          </a:prstGeom>
          <a:ln>
            <a:solidFill>
              <a:schemeClr val="tx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4" name="Rectangle 64">
            <a:extLst>
              <a:ext uri="{FF2B5EF4-FFF2-40B4-BE49-F238E27FC236}">
                <a16:creationId xmlns:a16="http://schemas.microsoft.com/office/drawing/2014/main" id="{09A29BC7-5A2E-E9E8-ADAD-DBFC5854817D}"/>
              </a:ext>
            </a:extLst>
          </p:cNvPr>
          <p:cNvSpPr/>
          <p:nvPr/>
        </p:nvSpPr>
        <p:spPr bwMode="gray">
          <a:xfrm>
            <a:off x="8026373" y="4437714"/>
            <a:ext cx="1512810" cy="266400"/>
          </a:xfrm>
          <a:prstGeom prst="rect">
            <a:avLst/>
          </a:prstGeom>
          <a:noFill/>
          <a:ln w="19050" algn="ctr">
            <a:noFill/>
            <a:miter lim="800000"/>
            <a:headEnd/>
            <a:tailEnd/>
          </a:ln>
        </p:spPr>
        <p:txBody>
          <a:bodyPr wrap="square" lIns="88900" tIns="88900" rIns="88900" bIns="88900" rtlCol="0" anchor="ctr"/>
          <a:lstStyle/>
          <a:p>
            <a:pPr>
              <a:lnSpc>
                <a:spcPct val="106000"/>
              </a:lnSpc>
            </a:pPr>
            <a:r>
              <a:rPr lang="ja-JP" altLang="en-US" sz="900" b="1" dirty="0">
                <a:solidFill>
                  <a:schemeClr val="tx2"/>
                </a:solidFill>
                <a:latin typeface="Yu Gothic UI" panose="020B0500000000000000" pitchFamily="34" charset="-128"/>
                <a:ea typeface="Yu Gothic UI" panose="020B0500000000000000" pitchFamily="34" charset="-128"/>
              </a:rPr>
              <a:t>宣伝部環境提供終了△</a:t>
            </a:r>
            <a:endParaRPr lang="en-GB" altLang="ja-JP" sz="900" b="1" dirty="0">
              <a:solidFill>
                <a:schemeClr val="tx2"/>
              </a:solidFill>
              <a:latin typeface="Yu Gothic UI" panose="020B0500000000000000" pitchFamily="34" charset="-128"/>
              <a:ea typeface="Yu Gothic UI" panose="020B0500000000000000" pitchFamily="34" charset="-128"/>
            </a:endParaRPr>
          </a:p>
        </p:txBody>
      </p:sp>
      <p:sp>
        <p:nvSpPr>
          <p:cNvPr id="155" name="Arrow: Pentagon 46">
            <a:extLst>
              <a:ext uri="{FF2B5EF4-FFF2-40B4-BE49-F238E27FC236}">
                <a16:creationId xmlns:a16="http://schemas.microsoft.com/office/drawing/2014/main" id="{522DB18B-3DBA-4E22-7FCC-2D4D4898F1CB}"/>
              </a:ext>
            </a:extLst>
          </p:cNvPr>
          <p:cNvSpPr/>
          <p:nvPr/>
        </p:nvSpPr>
        <p:spPr bwMode="gray">
          <a:xfrm>
            <a:off x="1016546" y="5257034"/>
            <a:ext cx="8316000" cy="223200"/>
          </a:xfrm>
          <a:prstGeom prst="homePlate">
            <a:avLst>
              <a:gd name="adj" fmla="val 21839"/>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ja-JP" sz="1000" b="1" dirty="0">
                <a:solidFill>
                  <a:schemeClr val="bg1"/>
                </a:solidFill>
                <a:latin typeface="Yu Gothic UI" panose="020B0500000000000000" pitchFamily="34" charset="-128"/>
                <a:ea typeface="Yu Gothic UI" panose="020B0500000000000000" pitchFamily="34" charset="-128"/>
              </a:rPr>
              <a:t>Java</a:t>
            </a:r>
            <a:r>
              <a:rPr lang="ja-JP" altLang="en-US" sz="1000" b="1" dirty="0">
                <a:solidFill>
                  <a:schemeClr val="bg1"/>
                </a:solidFill>
                <a:latin typeface="Yu Gothic UI" panose="020B0500000000000000" pitchFamily="34" charset="-128"/>
                <a:ea typeface="Yu Gothic UI" panose="020B0500000000000000" pitchFamily="34" charset="-128"/>
              </a:rPr>
              <a:t>システム維持・運用（宣伝部環境）</a:t>
            </a:r>
            <a:endParaRPr lang="en-US" altLang="ja-JP" sz="1000" b="1" dirty="0">
              <a:solidFill>
                <a:schemeClr val="bg1"/>
              </a:solidFill>
              <a:latin typeface="Yu Gothic UI" panose="020B0500000000000000" pitchFamily="34" charset="-128"/>
              <a:ea typeface="Yu Gothic UI" panose="020B0500000000000000" pitchFamily="34" charset="-128"/>
            </a:endParaRPr>
          </a:p>
        </p:txBody>
      </p:sp>
      <p:sp>
        <p:nvSpPr>
          <p:cNvPr id="156" name="Arrow: Pentagon 80">
            <a:extLst>
              <a:ext uri="{FF2B5EF4-FFF2-40B4-BE49-F238E27FC236}">
                <a16:creationId xmlns:a16="http://schemas.microsoft.com/office/drawing/2014/main" id="{0E612A6C-B106-FA7E-B2DE-43A5E2C3C5DC}"/>
              </a:ext>
            </a:extLst>
          </p:cNvPr>
          <p:cNvSpPr/>
          <p:nvPr/>
        </p:nvSpPr>
        <p:spPr bwMode="gray">
          <a:xfrm>
            <a:off x="1017947" y="5515333"/>
            <a:ext cx="8294400" cy="684000"/>
          </a:xfrm>
          <a:prstGeom prst="roundRect">
            <a:avLst>
              <a:gd name="adj" fmla="val 7458"/>
            </a:avLst>
          </a:prstGeom>
          <a:solidFill>
            <a:schemeClr val="bg1">
              <a:lumMod val="65000"/>
            </a:schemeClr>
          </a:solidFill>
          <a:ln w="19050" algn="ctr">
            <a:noFill/>
            <a:miter lim="800000"/>
            <a:headEnd/>
            <a:tailEnd/>
          </a:ln>
        </p:spPr>
        <p:txBody>
          <a:bodyPr wrap="none" lIns="88900" tIns="25200" rIns="88900" bIns="36000" rtlCol="0" anchor="t"/>
          <a:lstStyle/>
          <a:p>
            <a:pPr algn="ctr">
              <a:lnSpc>
                <a:spcPct val="106000"/>
              </a:lnSpc>
              <a:buFont typeface="Wingdings 2" pitchFamily="18" charset="2"/>
              <a:buNone/>
            </a:pPr>
            <a:r>
              <a:rPr lang="en-US" altLang="ja-JP" sz="1000" b="1" dirty="0">
                <a:solidFill>
                  <a:schemeClr val="bg1"/>
                </a:solidFill>
                <a:latin typeface="Yu Gothic UI" panose="020B0500000000000000" pitchFamily="34" charset="-128"/>
                <a:ea typeface="Yu Gothic UI" panose="020B0500000000000000" pitchFamily="34" charset="-128"/>
              </a:rPr>
              <a:t>FA</a:t>
            </a:r>
            <a:r>
              <a:rPr lang="ja-JP" altLang="en-US" sz="1000" b="1" dirty="0">
                <a:solidFill>
                  <a:schemeClr val="bg1"/>
                </a:solidFill>
                <a:latin typeface="Yu Gothic UI" panose="020B0500000000000000" pitchFamily="34" charset="-128"/>
                <a:ea typeface="Yu Gothic UI" panose="020B0500000000000000" pitchFamily="34" charset="-128"/>
              </a:rPr>
              <a:t>本専用環境構築</a:t>
            </a:r>
            <a:endParaRPr lang="en-GB" sz="900" b="1" dirty="0">
              <a:solidFill>
                <a:schemeClr val="bg1"/>
              </a:solidFill>
              <a:latin typeface="Yu Gothic UI" panose="020B0500000000000000" pitchFamily="34" charset="-128"/>
              <a:ea typeface="Yu Gothic UI" panose="020B0500000000000000" pitchFamily="34" charset="-128"/>
            </a:endParaRPr>
          </a:p>
        </p:txBody>
      </p:sp>
      <p:sp>
        <p:nvSpPr>
          <p:cNvPr id="157" name="Arrow: Pentagon 80">
            <a:extLst>
              <a:ext uri="{FF2B5EF4-FFF2-40B4-BE49-F238E27FC236}">
                <a16:creationId xmlns:a16="http://schemas.microsoft.com/office/drawing/2014/main" id="{3DDB69E5-6E10-0DA5-1975-7FF42FC1A924}"/>
              </a:ext>
            </a:extLst>
          </p:cNvPr>
          <p:cNvSpPr/>
          <p:nvPr/>
        </p:nvSpPr>
        <p:spPr bwMode="gray">
          <a:xfrm>
            <a:off x="1045140" y="5714746"/>
            <a:ext cx="3276000" cy="216000"/>
          </a:xfrm>
          <a:prstGeom prst="homePlate">
            <a:avLst>
              <a:gd name="adj" fmla="val 26289"/>
            </a:avLst>
          </a:prstGeom>
          <a:solidFill>
            <a:schemeClr val="bg1">
              <a:lumMod val="85000"/>
            </a:schemeClr>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00" b="1" dirty="0">
                <a:latin typeface="Yu Gothic UI" panose="020B0500000000000000" pitchFamily="34" charset="-128"/>
                <a:ea typeface="Yu Gothic UI" panose="020B0500000000000000" pitchFamily="34" charset="-128"/>
              </a:rPr>
              <a:t>構想検討</a:t>
            </a:r>
            <a:endParaRPr lang="en-GB" sz="1000" b="1" dirty="0">
              <a:latin typeface="Yu Gothic UI" panose="020B0500000000000000" pitchFamily="34" charset="-128"/>
              <a:ea typeface="Yu Gothic UI" panose="020B0500000000000000" pitchFamily="34" charset="-128"/>
            </a:endParaRPr>
          </a:p>
        </p:txBody>
      </p:sp>
      <p:sp>
        <p:nvSpPr>
          <p:cNvPr id="158" name="Arrow: Pentagon 81">
            <a:extLst>
              <a:ext uri="{FF2B5EF4-FFF2-40B4-BE49-F238E27FC236}">
                <a16:creationId xmlns:a16="http://schemas.microsoft.com/office/drawing/2014/main" id="{5FECDC5E-D4CE-411A-8B4E-B914C87CD7C7}"/>
              </a:ext>
            </a:extLst>
          </p:cNvPr>
          <p:cNvSpPr/>
          <p:nvPr/>
        </p:nvSpPr>
        <p:spPr bwMode="gray">
          <a:xfrm>
            <a:off x="5208398" y="5710713"/>
            <a:ext cx="3304800" cy="450000"/>
          </a:xfrm>
          <a:prstGeom prst="homePlate">
            <a:avLst>
              <a:gd name="adj" fmla="val 2198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ja-JP" altLang="en-US" sz="1000" b="1" dirty="0">
                <a:latin typeface="Yu Gothic UI" panose="020B0500000000000000" pitchFamily="34" charset="-128"/>
                <a:ea typeface="Yu Gothic UI" panose="020B0500000000000000" pitchFamily="34" charset="-128"/>
              </a:rPr>
              <a:t>開発・テスト</a:t>
            </a:r>
            <a:endParaRPr lang="en-GB" sz="1000" b="1" dirty="0">
              <a:latin typeface="Yu Gothic UI" panose="020B0500000000000000" pitchFamily="34" charset="-128"/>
              <a:ea typeface="Yu Gothic UI" panose="020B0500000000000000" pitchFamily="34" charset="-128"/>
            </a:endParaRPr>
          </a:p>
        </p:txBody>
      </p:sp>
      <p:sp>
        <p:nvSpPr>
          <p:cNvPr id="159" name="Arrow: Pentagon 3">
            <a:extLst>
              <a:ext uri="{FF2B5EF4-FFF2-40B4-BE49-F238E27FC236}">
                <a16:creationId xmlns:a16="http://schemas.microsoft.com/office/drawing/2014/main" id="{EEFAD1A4-0F6E-987D-D6E6-AA1A81C6C86F}"/>
              </a:ext>
            </a:extLst>
          </p:cNvPr>
          <p:cNvSpPr/>
          <p:nvPr/>
        </p:nvSpPr>
        <p:spPr bwMode="gray">
          <a:xfrm>
            <a:off x="8511413" y="5710713"/>
            <a:ext cx="792000" cy="450000"/>
          </a:xfrm>
          <a:prstGeom prst="homePlate">
            <a:avLst>
              <a:gd name="adj" fmla="val 16350"/>
            </a:avLst>
          </a:prstGeom>
          <a:solidFill>
            <a:schemeClr val="bg1">
              <a:lumMod val="85000"/>
            </a:schemeClr>
          </a:solidFill>
          <a:ln w="19050" algn="ctr">
            <a:noFill/>
            <a:miter lim="800000"/>
            <a:headEnd/>
            <a:tailEnd/>
          </a:ln>
        </p:spPr>
        <p:txBody>
          <a:bodyPr wrap="none" lIns="88900" tIns="88900" rIns="88900" bIns="88900" rtlCol="0" anchor="ctr"/>
          <a:lstStyle/>
          <a:p>
            <a:pPr algn="ctr">
              <a:lnSpc>
                <a:spcPct val="106000"/>
              </a:lnSpc>
            </a:pPr>
            <a:r>
              <a:rPr lang="ja-JP" altLang="en-US" sz="900" b="1" dirty="0">
                <a:latin typeface="Yu Gothic UI" panose="020B0500000000000000" pitchFamily="34" charset="-128"/>
                <a:ea typeface="Yu Gothic UI" panose="020B0500000000000000" pitchFamily="34" charset="-128"/>
              </a:rPr>
              <a:t>システム</a:t>
            </a:r>
            <a:endParaRPr lang="en-US" altLang="ja-JP" sz="900" b="1" dirty="0">
              <a:latin typeface="Yu Gothic UI" panose="020B0500000000000000" pitchFamily="34" charset="-128"/>
              <a:ea typeface="Yu Gothic UI" panose="020B0500000000000000" pitchFamily="34" charset="-128"/>
            </a:endParaRPr>
          </a:p>
          <a:p>
            <a:pPr algn="ctr">
              <a:lnSpc>
                <a:spcPct val="106000"/>
              </a:lnSpc>
            </a:pPr>
            <a:r>
              <a:rPr lang="ja-JP" altLang="en-US" sz="900" b="1" dirty="0">
                <a:latin typeface="Yu Gothic UI" panose="020B0500000000000000" pitchFamily="34" charset="-128"/>
                <a:ea typeface="Yu Gothic UI" panose="020B0500000000000000" pitchFamily="34" charset="-128"/>
              </a:rPr>
              <a:t>切替</a:t>
            </a:r>
            <a:endParaRPr lang="en-US" altLang="ja-JP" sz="900" b="1" dirty="0">
              <a:latin typeface="Yu Gothic UI" panose="020B0500000000000000" pitchFamily="34" charset="-128"/>
              <a:ea typeface="Yu Gothic UI" panose="020B0500000000000000" pitchFamily="34" charset="-128"/>
            </a:endParaRPr>
          </a:p>
        </p:txBody>
      </p:sp>
      <p:sp>
        <p:nvSpPr>
          <p:cNvPr id="160" name="Arrow: Pentagon 80">
            <a:extLst>
              <a:ext uri="{FF2B5EF4-FFF2-40B4-BE49-F238E27FC236}">
                <a16:creationId xmlns:a16="http://schemas.microsoft.com/office/drawing/2014/main" id="{89903DD6-5D4A-0B65-97DB-3F4010580291}"/>
              </a:ext>
            </a:extLst>
          </p:cNvPr>
          <p:cNvSpPr/>
          <p:nvPr/>
        </p:nvSpPr>
        <p:spPr bwMode="gray">
          <a:xfrm>
            <a:off x="4383005" y="5718526"/>
            <a:ext cx="820800" cy="450000"/>
          </a:xfrm>
          <a:prstGeom prst="homePlate">
            <a:avLst>
              <a:gd name="adj" fmla="val 16969"/>
            </a:avLst>
          </a:prstGeom>
          <a:solidFill>
            <a:schemeClr val="bg1">
              <a:lumMod val="85000"/>
            </a:schemeClr>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00" b="1" dirty="0">
                <a:latin typeface="Yu Gothic UI" panose="020B0500000000000000" pitchFamily="34" charset="-128"/>
                <a:ea typeface="Yu Gothic UI" panose="020B0500000000000000" pitchFamily="34" charset="-128"/>
              </a:rPr>
              <a:t>要件定義</a:t>
            </a:r>
            <a:endParaRPr lang="en-GB" sz="900" b="1" dirty="0">
              <a:latin typeface="Yu Gothic UI" panose="020B0500000000000000" pitchFamily="34" charset="-128"/>
              <a:ea typeface="Yu Gothic UI" panose="020B0500000000000000" pitchFamily="34" charset="-128"/>
            </a:endParaRPr>
          </a:p>
        </p:txBody>
      </p:sp>
      <p:sp>
        <p:nvSpPr>
          <p:cNvPr id="161" name="Arrow: Pentagon 80">
            <a:extLst>
              <a:ext uri="{FF2B5EF4-FFF2-40B4-BE49-F238E27FC236}">
                <a16:creationId xmlns:a16="http://schemas.microsoft.com/office/drawing/2014/main" id="{52F8DC4F-52B2-FF8E-AAD0-071C206FB746}"/>
              </a:ext>
            </a:extLst>
          </p:cNvPr>
          <p:cNvSpPr/>
          <p:nvPr/>
        </p:nvSpPr>
        <p:spPr bwMode="gray">
          <a:xfrm>
            <a:off x="1045140" y="5952293"/>
            <a:ext cx="734400" cy="216000"/>
          </a:xfrm>
          <a:prstGeom prst="homePlate">
            <a:avLst>
              <a:gd name="adj" fmla="val 29559"/>
            </a:avLst>
          </a:prstGeom>
          <a:solidFill>
            <a:schemeClr val="bg1">
              <a:lumMod val="85000"/>
            </a:schemeClr>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00" b="1" dirty="0">
                <a:latin typeface="Yu Gothic UI" panose="020B0500000000000000" pitchFamily="34" charset="-128"/>
                <a:ea typeface="Yu Gothic UI" panose="020B0500000000000000" pitchFamily="34" charset="-128"/>
              </a:rPr>
              <a:t>環境調査</a:t>
            </a:r>
            <a:endParaRPr lang="en-GB" sz="900" b="1" dirty="0">
              <a:latin typeface="Yu Gothic UI" panose="020B0500000000000000" pitchFamily="34" charset="-128"/>
              <a:ea typeface="Yu Gothic UI" panose="020B0500000000000000" pitchFamily="34" charset="-128"/>
            </a:endParaRPr>
          </a:p>
        </p:txBody>
      </p:sp>
      <p:sp>
        <p:nvSpPr>
          <p:cNvPr id="163" name="Arrow: Pentagon 80">
            <a:extLst>
              <a:ext uri="{FF2B5EF4-FFF2-40B4-BE49-F238E27FC236}">
                <a16:creationId xmlns:a16="http://schemas.microsoft.com/office/drawing/2014/main" id="{701BD222-B742-EED5-1362-9646D44C3B49}"/>
              </a:ext>
            </a:extLst>
          </p:cNvPr>
          <p:cNvSpPr/>
          <p:nvPr/>
        </p:nvSpPr>
        <p:spPr bwMode="gray">
          <a:xfrm>
            <a:off x="3481188" y="5958724"/>
            <a:ext cx="864000" cy="212400"/>
          </a:xfrm>
          <a:prstGeom prst="homePlate">
            <a:avLst>
              <a:gd name="adj" fmla="val 25623"/>
            </a:avLst>
          </a:prstGeom>
          <a:solidFill>
            <a:schemeClr val="bg1">
              <a:lumMod val="85000"/>
            </a:schemeClr>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ja-JP" altLang="en-US" sz="1000" b="1" dirty="0">
                <a:latin typeface="Yu Gothic UI" panose="020B0500000000000000" pitchFamily="34" charset="-128"/>
                <a:ea typeface="Yu Gothic UI" panose="020B0500000000000000" pitchFamily="34" charset="-128"/>
              </a:rPr>
              <a:t>プロジェクト立上げ</a:t>
            </a:r>
            <a:endParaRPr lang="en-GB" sz="1000" b="1" dirty="0">
              <a:latin typeface="Yu Gothic UI" panose="020B0500000000000000" pitchFamily="34" charset="-128"/>
              <a:ea typeface="Yu Gothic UI" panose="020B0500000000000000" pitchFamily="34" charset="-128"/>
            </a:endParaRPr>
          </a:p>
        </p:txBody>
      </p:sp>
      <p:sp>
        <p:nvSpPr>
          <p:cNvPr id="164" name="吹き出し: 角を丸めた四角形 163">
            <a:extLst>
              <a:ext uri="{FF2B5EF4-FFF2-40B4-BE49-F238E27FC236}">
                <a16:creationId xmlns:a16="http://schemas.microsoft.com/office/drawing/2014/main" id="{7F91FE8A-9D49-A994-4629-888E202550A5}"/>
              </a:ext>
            </a:extLst>
          </p:cNvPr>
          <p:cNvSpPr/>
          <p:nvPr/>
        </p:nvSpPr>
        <p:spPr>
          <a:xfrm>
            <a:off x="1391817" y="6254530"/>
            <a:ext cx="1503824" cy="432909"/>
          </a:xfrm>
          <a:prstGeom prst="wedgeRoundRectCallout">
            <a:avLst>
              <a:gd name="adj1" fmla="val -38356"/>
              <a:gd name="adj2" fmla="val -76250"/>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30000"/>
              </a:lnSpc>
            </a:pPr>
            <a:r>
              <a:rPr kumimoji="1" lang="ja-JP" altLang="en-US" sz="1000" dirty="0">
                <a:solidFill>
                  <a:schemeClr val="tx1"/>
                </a:solidFill>
                <a:latin typeface="+mn-ea"/>
              </a:rPr>
              <a:t>海外販社環境を含めた環境調査・整理</a:t>
            </a:r>
          </a:p>
        </p:txBody>
      </p:sp>
      <p:sp>
        <p:nvSpPr>
          <p:cNvPr id="165" name="吹き出し: 角を丸めた四角形 164">
            <a:extLst>
              <a:ext uri="{FF2B5EF4-FFF2-40B4-BE49-F238E27FC236}">
                <a16:creationId xmlns:a16="http://schemas.microsoft.com/office/drawing/2014/main" id="{A8D845F4-97EE-8088-80F4-34FDC34E96AA}"/>
              </a:ext>
            </a:extLst>
          </p:cNvPr>
          <p:cNvSpPr/>
          <p:nvPr/>
        </p:nvSpPr>
        <p:spPr>
          <a:xfrm>
            <a:off x="3554779" y="6262583"/>
            <a:ext cx="3280364" cy="449142"/>
          </a:xfrm>
          <a:prstGeom prst="wedgeRoundRectCallout">
            <a:avLst>
              <a:gd name="adj1" fmla="val -34271"/>
              <a:gd name="adj2" fmla="val -82461"/>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ja-JP" sz="1000" dirty="0">
                <a:solidFill>
                  <a:schemeClr val="tx1"/>
                </a:solidFill>
                <a:latin typeface="+mn-ea"/>
              </a:rPr>
              <a:t>RFP</a:t>
            </a:r>
            <a:r>
              <a:rPr kumimoji="1" lang="ja-JP" altLang="en-US" sz="1000" dirty="0">
                <a:solidFill>
                  <a:schemeClr val="tx1"/>
                </a:solidFill>
                <a:latin typeface="+mn-ea"/>
              </a:rPr>
              <a:t>作成から、発出、ベンダ選定、当社社内審議まで</a:t>
            </a:r>
            <a:endParaRPr kumimoji="1" lang="en-US" altLang="ja-JP" sz="1000" dirty="0">
              <a:solidFill>
                <a:schemeClr val="tx1"/>
              </a:solidFill>
              <a:latin typeface="+mn-ea"/>
            </a:endParaRPr>
          </a:p>
          <a:p>
            <a:pPr algn="ctr">
              <a:lnSpc>
                <a:spcPct val="130000"/>
              </a:lnSpc>
            </a:pPr>
            <a:r>
              <a:rPr kumimoji="1" lang="en-US" altLang="ja-JP" sz="1000" dirty="0">
                <a:solidFill>
                  <a:schemeClr val="tx1"/>
                </a:solidFill>
                <a:latin typeface="+mn-ea"/>
              </a:rPr>
              <a:t>FY26</a:t>
            </a:r>
            <a:r>
              <a:rPr kumimoji="1" lang="ja-JP" altLang="en-US" sz="1000" dirty="0">
                <a:solidFill>
                  <a:schemeClr val="tx1"/>
                </a:solidFill>
                <a:latin typeface="+mn-ea"/>
              </a:rPr>
              <a:t>～</a:t>
            </a:r>
            <a:r>
              <a:rPr kumimoji="1" lang="en-US" altLang="ja-JP" sz="1000" dirty="0">
                <a:solidFill>
                  <a:schemeClr val="tx1"/>
                </a:solidFill>
                <a:latin typeface="+mn-ea"/>
              </a:rPr>
              <a:t>28</a:t>
            </a:r>
            <a:r>
              <a:rPr kumimoji="1" lang="ja-JP" altLang="en-US" sz="1000" dirty="0">
                <a:solidFill>
                  <a:schemeClr val="tx1"/>
                </a:solidFill>
                <a:latin typeface="+mn-ea"/>
              </a:rPr>
              <a:t>までの概算費用を</a:t>
            </a:r>
            <a:r>
              <a:rPr kumimoji="1" lang="en-US" altLang="ja-JP" sz="1000" dirty="0">
                <a:solidFill>
                  <a:schemeClr val="tx1"/>
                </a:solidFill>
                <a:latin typeface="+mn-ea"/>
              </a:rPr>
              <a:t>25/12</a:t>
            </a:r>
            <a:r>
              <a:rPr kumimoji="1" lang="ja-JP" altLang="en-US" sz="1000" dirty="0">
                <a:solidFill>
                  <a:schemeClr val="tx1"/>
                </a:solidFill>
                <a:latin typeface="+mn-ea"/>
              </a:rPr>
              <a:t>までに算出</a:t>
            </a:r>
            <a:endParaRPr kumimoji="1" lang="en-US" altLang="ja-JP" sz="1000" dirty="0">
              <a:solidFill>
                <a:schemeClr val="tx1"/>
              </a:solidFill>
              <a:latin typeface="+mn-ea"/>
            </a:endParaRPr>
          </a:p>
        </p:txBody>
      </p:sp>
      <p:cxnSp>
        <p:nvCxnSpPr>
          <p:cNvPr id="166" name="Connector: Elbow 104">
            <a:extLst>
              <a:ext uri="{FF2B5EF4-FFF2-40B4-BE49-F238E27FC236}">
                <a16:creationId xmlns:a16="http://schemas.microsoft.com/office/drawing/2014/main" id="{6F2DFF45-4AD5-FF29-8B1B-0D865F0A490E}"/>
              </a:ext>
            </a:extLst>
          </p:cNvPr>
          <p:cNvCxnSpPr>
            <a:cxnSpLocks/>
          </p:cNvCxnSpPr>
          <p:nvPr/>
        </p:nvCxnSpPr>
        <p:spPr>
          <a:xfrm>
            <a:off x="9084237" y="5388611"/>
            <a:ext cx="0" cy="396000"/>
          </a:xfrm>
          <a:prstGeom prst="straightConnector1">
            <a:avLst/>
          </a:prstGeom>
          <a:ln>
            <a:solidFill>
              <a:schemeClr val="tx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テキスト ボックス 67">
            <a:extLst>
              <a:ext uri="{FF2B5EF4-FFF2-40B4-BE49-F238E27FC236}">
                <a16:creationId xmlns:a16="http://schemas.microsoft.com/office/drawing/2014/main" id="{65EB4606-DF61-465D-F093-CD29362B69B7}"/>
              </a:ext>
            </a:extLst>
          </p:cNvPr>
          <p:cNvSpPr txBox="1"/>
          <p:nvPr/>
        </p:nvSpPr>
        <p:spPr>
          <a:xfrm>
            <a:off x="175993" y="3814798"/>
            <a:ext cx="1082348" cy="276871"/>
          </a:xfrm>
          <a:prstGeom prst="rect">
            <a:avLst/>
          </a:prstGeom>
          <a:noFill/>
        </p:spPr>
        <p:txBody>
          <a:bodyPr wrap="none" rtlCol="0">
            <a:spAutoFit/>
          </a:bodyPr>
          <a:lstStyle/>
          <a:p>
            <a:pPr algn="l">
              <a:lnSpc>
                <a:spcPct val="130000"/>
              </a:lnSpc>
            </a:pPr>
            <a:r>
              <a:rPr kumimoji="1" lang="en-US" altLang="ja-JP" sz="1000" dirty="0"/>
              <a:t>【</a:t>
            </a:r>
            <a:r>
              <a:rPr kumimoji="1" lang="ja-JP" altLang="en-US" sz="1000" dirty="0"/>
              <a:t>今後の計画</a:t>
            </a:r>
            <a:r>
              <a:rPr kumimoji="1" lang="en-US" altLang="ja-JP" sz="1000" dirty="0"/>
              <a:t>】</a:t>
            </a:r>
            <a:endParaRPr kumimoji="1" lang="ja-JP" altLang="en-US" sz="1000" dirty="0"/>
          </a:p>
        </p:txBody>
      </p:sp>
    </p:spTree>
    <p:extLst>
      <p:ext uri="{BB962C8B-B14F-4D97-AF65-F5344CB8AC3E}">
        <p14:creationId xmlns:p14="http://schemas.microsoft.com/office/powerpoint/2010/main" val="21177287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F2C39E-82E4-58C4-5A76-55E6EF83DE65}"/>
              </a:ext>
            </a:extLst>
          </p:cNvPr>
          <p:cNvSpPr>
            <a:spLocks noGrp="1"/>
          </p:cNvSpPr>
          <p:nvPr>
            <p:ph type="sldNum" sz="quarter" idx="18"/>
          </p:nvPr>
        </p:nvSpPr>
        <p:spPr/>
        <p:txBody>
          <a:bodyPr/>
          <a:lstStyle/>
          <a:p>
            <a:fld id="{8E309D18-5CEC-4165-B971-DC4DA761F26D}" type="slidenum">
              <a:rPr lang="ja-JP" altLang="en-US" smtClean="0"/>
              <a:pPr/>
              <a:t>25</a:t>
            </a:fld>
            <a:endParaRPr lang="ja-JP" altLang="en-US" dirty="0"/>
          </a:p>
        </p:txBody>
      </p:sp>
      <p:sp>
        <p:nvSpPr>
          <p:cNvPr id="11" name="タイトル 3">
            <a:extLst>
              <a:ext uri="{FF2B5EF4-FFF2-40B4-BE49-F238E27FC236}">
                <a16:creationId xmlns:a16="http://schemas.microsoft.com/office/drawing/2014/main" id="{7917487D-4289-CD26-64FE-2F80C0453E03}"/>
              </a:ext>
            </a:extLst>
          </p:cNvPr>
          <p:cNvSpPr txBox="1">
            <a:spLocks/>
          </p:cNvSpPr>
          <p:nvPr/>
        </p:nvSpPr>
        <p:spPr>
          <a:xfrm>
            <a:off x="1179095" y="12029"/>
            <a:ext cx="9241699" cy="684000"/>
          </a:xfrm>
          <a:prstGeom prst="rect">
            <a:avLst/>
          </a:prstGeom>
        </p:spPr>
        <p:txBody>
          <a:bodyPr vert="horz" lIns="284400" tIns="72000" rIns="284400" bIns="72000" rtlCol="0" anchor="ctr">
            <a:noAutofit/>
          </a:bodyPr>
          <a:lstStyle>
            <a:lvl1pPr algn="l" defTabSz="914400" rtl="0" eaLnBrk="1" latinLnBrk="0" hangingPunct="1">
              <a:lnSpc>
                <a:spcPct val="100000"/>
              </a:lnSpc>
              <a:spcBef>
                <a:spcPct val="0"/>
              </a:spcBef>
              <a:buNone/>
              <a:defRPr kumimoji="1" lang="en-US" altLang="en-US" sz="2000" b="1" kern="1200" spc="300">
                <a:solidFill>
                  <a:schemeClr val="tx1">
                    <a:lumMod val="75000"/>
                    <a:lumOff val="25000"/>
                  </a:schemeClr>
                </a:solidFill>
                <a:latin typeface="Yu Gothic UI" panose="020B0500000000000000" pitchFamily="50" charset="-128"/>
                <a:ea typeface="Yu Gothic UI" panose="020B0500000000000000" pitchFamily="50" charset="-128"/>
                <a:cs typeface="+mj-cs"/>
              </a:defRPr>
            </a:lvl1pPr>
          </a:lstStyle>
          <a:p>
            <a:pPr algn="ctr"/>
            <a:r>
              <a:rPr lang="en-US" altLang="ja-JP" dirty="0">
                <a:latin typeface="+mn-ea"/>
                <a:ea typeface="+mn-ea"/>
              </a:rPr>
              <a:t>*2.</a:t>
            </a:r>
            <a:r>
              <a:rPr lang="ja-JP" altLang="en-US" dirty="0">
                <a:latin typeface="+mn-ea"/>
                <a:ea typeface="+mn-ea"/>
              </a:rPr>
              <a:t>開発案件事例</a:t>
            </a:r>
          </a:p>
        </p:txBody>
      </p:sp>
      <p:sp>
        <p:nvSpPr>
          <p:cNvPr id="2" name="Text Placeholder 2">
            <a:extLst>
              <a:ext uri="{FF2B5EF4-FFF2-40B4-BE49-F238E27FC236}">
                <a16:creationId xmlns:a16="http://schemas.microsoft.com/office/drawing/2014/main" id="{D0ECB01D-D01D-3491-A308-05AEE9EF0C49}"/>
              </a:ext>
            </a:extLst>
          </p:cNvPr>
          <p:cNvSpPr txBox="1">
            <a:spLocks/>
          </p:cNvSpPr>
          <p:nvPr/>
        </p:nvSpPr>
        <p:spPr>
          <a:xfrm>
            <a:off x="839971" y="830747"/>
            <a:ext cx="10421587" cy="631498"/>
          </a:xfrm>
          <a:prstGeom prst="rect">
            <a:avLst/>
          </a:prstGeom>
        </p:spPr>
        <p:txBody>
          <a:bodyPr>
            <a:normAutofit/>
          </a:bodyPr>
          <a:lstStyle>
            <a:lvl1pPr marL="228600" indent="-228600" algn="l" defTabSz="914400" rtl="0" eaLnBrk="1" latinLnBrk="0" hangingPunct="1">
              <a:lnSpc>
                <a:spcPct val="130000"/>
              </a:lnSpc>
              <a:spcBef>
                <a:spcPts val="1000"/>
              </a:spcBef>
              <a:buFont typeface="Arial" panose="020B0604020202020204" pitchFamily="34" charset="0"/>
              <a:buChar char="•"/>
              <a:defRPr kumimoji="1" lang="ja-JP" altLang="en-US" sz="1600" kern="1200" dirty="0">
                <a:solidFill>
                  <a:schemeClr val="tx1"/>
                </a:solidFill>
                <a:latin typeface="Meiryo UI" panose="020B0604030504040204" pitchFamily="34" charset="-128"/>
                <a:ea typeface="Meiryo UI" panose="020B0604030504040204" pitchFamily="34" charset="-128"/>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kumimoji="1" lang="ja-JP" altLang="en-US" sz="1400" kern="1200" dirty="0">
                <a:solidFill>
                  <a:schemeClr val="tx1"/>
                </a:solidFill>
                <a:latin typeface="Meiryo UI" panose="020B0604030504040204" pitchFamily="34" charset="-128"/>
                <a:ea typeface="Meiryo UI" panose="020B0604030504040204" pitchFamily="34" charset="-128"/>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kumimoji="1" lang="ja-JP" altLang="en-US" sz="1200" kern="1200" dirty="0">
                <a:solidFill>
                  <a:schemeClr val="tx1"/>
                </a:solidFill>
                <a:latin typeface="Meiryo UI" panose="020B0604030504040204" pitchFamily="34" charset="-128"/>
                <a:ea typeface="Meiryo UI" panose="020B0604030504040204" pitchFamily="34" charset="-128"/>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kumimoji="1" lang="ja-JP" altLang="en-US" sz="1100" kern="1200" dirty="0">
                <a:solidFill>
                  <a:schemeClr val="tx1"/>
                </a:solidFill>
                <a:latin typeface="Meiryo UI" panose="020B0604030504040204" pitchFamily="34" charset="-128"/>
                <a:ea typeface="Meiryo UI" panose="020B0604030504040204" pitchFamily="34" charset="-128"/>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kumimoji="1" lang="en-US" altLang="en-US" sz="1100" kern="1200" dirty="0">
                <a:solidFill>
                  <a:schemeClr val="tx1"/>
                </a:solidFill>
                <a:latin typeface="Meiryo UI" panose="020B0604030504040204" pitchFamily="34" charset="-128"/>
                <a:ea typeface="Meiryo UI"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1400" dirty="0">
                <a:solidFill>
                  <a:srgbClr val="000000"/>
                </a:solidFill>
                <a:latin typeface="+mn-ea"/>
                <a:ea typeface="+mn-ea"/>
              </a:rPr>
              <a:t>業務内容一覧③開発については下記の事例に対する見積もり金額を算出ください</a:t>
            </a:r>
          </a:p>
        </p:txBody>
      </p:sp>
      <p:sp>
        <p:nvSpPr>
          <p:cNvPr id="5" name="テキスト ボックス 4">
            <a:extLst>
              <a:ext uri="{FF2B5EF4-FFF2-40B4-BE49-F238E27FC236}">
                <a16:creationId xmlns:a16="http://schemas.microsoft.com/office/drawing/2014/main" id="{6894179F-468B-AFF0-874F-6D2AF8FF0B61}"/>
              </a:ext>
            </a:extLst>
          </p:cNvPr>
          <p:cNvSpPr txBox="1"/>
          <p:nvPr/>
        </p:nvSpPr>
        <p:spPr>
          <a:xfrm>
            <a:off x="1208936" y="1245983"/>
            <a:ext cx="9211858" cy="461665"/>
          </a:xfrm>
          <a:prstGeom prst="rect">
            <a:avLst/>
          </a:prstGeom>
          <a:noFill/>
        </p:spPr>
        <p:txBody>
          <a:bodyPr wrap="square">
            <a:spAutoFit/>
          </a:bodyPr>
          <a:lstStyle/>
          <a:p>
            <a:pPr marL="285750" indent="-285750">
              <a:buFont typeface="Wingdings" panose="05000000000000000000" pitchFamily="2" charset="2"/>
              <a:buChar char="n"/>
            </a:pPr>
            <a:r>
              <a:rPr lang="en-US" altLang="ja-JP" sz="1200" dirty="0">
                <a:solidFill>
                  <a:srgbClr val="000000"/>
                </a:solidFill>
                <a:latin typeface="游ゴシック 本文"/>
                <a:ea typeface="Yu Gothic UI" panose="020B0500000000000000" pitchFamily="50" charset="-128"/>
              </a:rPr>
              <a:t>FA</a:t>
            </a:r>
            <a:r>
              <a:rPr lang="ja-JP" altLang="en-US" sz="1200" dirty="0">
                <a:solidFill>
                  <a:srgbClr val="000000"/>
                </a:solidFill>
                <a:latin typeface="游ゴシック 本文"/>
                <a:ea typeface="Yu Gothic UI" panose="020B0500000000000000" pitchFamily="50" charset="-128"/>
              </a:rPr>
              <a:t>サイト</a:t>
            </a:r>
            <a:r>
              <a:rPr lang="en-US" altLang="ja-JP" sz="1200" dirty="0">
                <a:solidFill>
                  <a:srgbClr val="000000"/>
                </a:solidFill>
                <a:latin typeface="游ゴシック 本文"/>
                <a:ea typeface="Yu Gothic UI" panose="020B0500000000000000" pitchFamily="50" charset="-128"/>
              </a:rPr>
              <a:t>TOP</a:t>
            </a:r>
            <a:r>
              <a:rPr lang="ja-JP" altLang="en-US" sz="1200" dirty="0">
                <a:solidFill>
                  <a:srgbClr val="000000"/>
                </a:solidFill>
                <a:latin typeface="游ゴシック 本文"/>
                <a:ea typeface="Yu Gothic UI" panose="020B0500000000000000" pitchFamily="50" charset="-128"/>
              </a:rPr>
              <a:t>ページ “形名検索” 機能の再構築</a:t>
            </a:r>
            <a:endParaRPr lang="en-US" altLang="ja-JP" sz="1200" dirty="0">
              <a:solidFill>
                <a:srgbClr val="000000"/>
              </a:solidFill>
              <a:latin typeface="游ゴシック 本文"/>
              <a:ea typeface="Yu Gothic UI" panose="020B0500000000000000" pitchFamily="50" charset="-128"/>
            </a:endParaRPr>
          </a:p>
          <a:p>
            <a:r>
              <a:rPr lang="ja-JP" altLang="en-US" sz="1200" dirty="0">
                <a:solidFill>
                  <a:srgbClr val="000000"/>
                </a:solidFill>
                <a:latin typeface="游ゴシック 本文"/>
                <a:ea typeface="Yu Gothic UI" panose="020B0500000000000000" pitchFamily="50" charset="-128"/>
              </a:rPr>
              <a:t>　　 現在の形名検索機能は旧システムの</a:t>
            </a:r>
            <a:r>
              <a:rPr lang="en-US" altLang="ja-JP" sz="1200" dirty="0">
                <a:solidFill>
                  <a:srgbClr val="000000"/>
                </a:solidFill>
                <a:latin typeface="游ゴシック 本文"/>
                <a:ea typeface="Yu Gothic UI" panose="020B0500000000000000" pitchFamily="50" charset="-128"/>
              </a:rPr>
              <a:t>DB</a:t>
            </a:r>
            <a:r>
              <a:rPr lang="ja-JP" altLang="en-US" sz="1200" dirty="0">
                <a:solidFill>
                  <a:srgbClr val="000000"/>
                </a:solidFill>
                <a:latin typeface="游ゴシック 本文"/>
                <a:ea typeface="Yu Gothic UI" panose="020B0500000000000000" pitchFamily="50" charset="-128"/>
              </a:rPr>
              <a:t>を参照しているため、それを</a:t>
            </a:r>
            <a:r>
              <a:rPr lang="en-US" altLang="ja-JP" sz="1200" dirty="0">
                <a:solidFill>
                  <a:srgbClr val="000000"/>
                </a:solidFill>
                <a:latin typeface="游ゴシック 本文"/>
                <a:ea typeface="Yu Gothic UI" panose="020B0500000000000000" pitchFamily="50" charset="-128"/>
              </a:rPr>
              <a:t>Web</a:t>
            </a:r>
            <a:r>
              <a:rPr lang="ja-JP" altLang="en-US" sz="1200" dirty="0">
                <a:solidFill>
                  <a:srgbClr val="000000"/>
                </a:solidFill>
                <a:latin typeface="游ゴシック 本文"/>
                <a:ea typeface="Yu Gothic UI" panose="020B0500000000000000" pitchFamily="50" charset="-128"/>
              </a:rPr>
              <a:t>コンテンツ管理システムの</a:t>
            </a:r>
            <a:r>
              <a:rPr lang="en-US" altLang="ja-JP" sz="1200" dirty="0">
                <a:solidFill>
                  <a:srgbClr val="000000"/>
                </a:solidFill>
                <a:latin typeface="游ゴシック 本文"/>
                <a:ea typeface="Yu Gothic UI" panose="020B0500000000000000" pitchFamily="50" charset="-128"/>
              </a:rPr>
              <a:t>DB</a:t>
            </a:r>
            <a:r>
              <a:rPr lang="ja-JP" altLang="en-US" sz="1200" dirty="0">
                <a:solidFill>
                  <a:srgbClr val="000000"/>
                </a:solidFill>
                <a:latin typeface="游ゴシック 本文"/>
                <a:ea typeface="Yu Gothic UI" panose="020B0500000000000000" pitchFamily="50" charset="-128"/>
              </a:rPr>
              <a:t>を参照した機能を開発する</a:t>
            </a:r>
          </a:p>
        </p:txBody>
      </p:sp>
      <p:pic>
        <p:nvPicPr>
          <p:cNvPr id="19" name="図 18">
            <a:extLst>
              <a:ext uri="{FF2B5EF4-FFF2-40B4-BE49-F238E27FC236}">
                <a16:creationId xmlns:a16="http://schemas.microsoft.com/office/drawing/2014/main" id="{00130A25-4A69-D2F5-37DC-FA01ABF1C68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91887" y="1885717"/>
            <a:ext cx="4320000" cy="2912881"/>
          </a:xfrm>
          <a:prstGeom prst="rect">
            <a:avLst/>
          </a:prstGeom>
          <a:ln>
            <a:solidFill>
              <a:schemeClr val="bg1">
                <a:lumMod val="95000"/>
              </a:schemeClr>
            </a:solidFill>
          </a:ln>
        </p:spPr>
      </p:pic>
      <p:sp>
        <p:nvSpPr>
          <p:cNvPr id="15" name="正方形/長方形 14">
            <a:extLst>
              <a:ext uri="{FF2B5EF4-FFF2-40B4-BE49-F238E27FC236}">
                <a16:creationId xmlns:a16="http://schemas.microsoft.com/office/drawing/2014/main" id="{2969931B-83F8-1DB8-3231-7652097C2DF6}"/>
              </a:ext>
            </a:extLst>
          </p:cNvPr>
          <p:cNvSpPr>
            <a:spLocks/>
          </p:cNvSpPr>
          <p:nvPr/>
        </p:nvSpPr>
        <p:spPr>
          <a:xfrm>
            <a:off x="570593" y="3696469"/>
            <a:ext cx="3847028" cy="180000"/>
          </a:xfrm>
          <a:prstGeom prst="rect">
            <a:avLst/>
          </a:prstGeom>
          <a:noFill/>
          <a:ln w="19050" cap="flat" cmpd="sng" algn="ctr">
            <a:solidFill>
              <a:srgbClr val="C00000"/>
            </a:solid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p:txBody>
      </p:sp>
      <p:sp>
        <p:nvSpPr>
          <p:cNvPr id="26" name="正方形/長方形 25">
            <a:extLst>
              <a:ext uri="{FF2B5EF4-FFF2-40B4-BE49-F238E27FC236}">
                <a16:creationId xmlns:a16="http://schemas.microsoft.com/office/drawing/2014/main" id="{9E43204D-60B6-251D-7B06-E367B6A62201}"/>
              </a:ext>
            </a:extLst>
          </p:cNvPr>
          <p:cNvSpPr/>
          <p:nvPr/>
        </p:nvSpPr>
        <p:spPr>
          <a:xfrm>
            <a:off x="502728" y="2580121"/>
            <a:ext cx="774000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sz="1600" dirty="0">
              <a:solidFill>
                <a:schemeClr val="tx1"/>
              </a:solidFill>
            </a:endParaRPr>
          </a:p>
        </p:txBody>
      </p:sp>
      <p:pic>
        <p:nvPicPr>
          <p:cNvPr id="25" name="図 24">
            <a:extLst>
              <a:ext uri="{FF2B5EF4-FFF2-40B4-BE49-F238E27FC236}">
                <a16:creationId xmlns:a16="http://schemas.microsoft.com/office/drawing/2014/main" id="{52EED413-2D01-E134-1584-B69581997F6A}"/>
              </a:ext>
            </a:extLst>
          </p:cNvPr>
          <p:cNvPicPr>
            <a:picLocks noChangeAspect="1"/>
          </p:cNvPicPr>
          <p:nvPr/>
        </p:nvPicPr>
        <p:blipFill>
          <a:blip r:embed="rId3"/>
          <a:srcRect t="17460" b="12448"/>
          <a:stretch/>
        </p:blipFill>
        <p:spPr>
          <a:xfrm>
            <a:off x="519347" y="2610417"/>
            <a:ext cx="7671461" cy="330893"/>
          </a:xfrm>
          <a:prstGeom prst="rect">
            <a:avLst/>
          </a:prstGeom>
          <a:ln>
            <a:solidFill>
              <a:srgbClr val="C00000"/>
            </a:solidFill>
          </a:ln>
        </p:spPr>
      </p:pic>
      <p:pic>
        <p:nvPicPr>
          <p:cNvPr id="23" name="グラフィックス 22" descr="戻る 単色塗りつぶし">
            <a:extLst>
              <a:ext uri="{FF2B5EF4-FFF2-40B4-BE49-F238E27FC236}">
                <a16:creationId xmlns:a16="http://schemas.microsoft.com/office/drawing/2014/main" id="{1F97C4D0-C181-EC69-132A-29D5FDB7F1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8658296">
            <a:off x="336297" y="2750863"/>
            <a:ext cx="993788" cy="1023548"/>
          </a:xfrm>
          <a:prstGeom prst="rect">
            <a:avLst/>
          </a:prstGeom>
        </p:spPr>
      </p:pic>
      <p:sp>
        <p:nvSpPr>
          <p:cNvPr id="27" name="テキスト ボックス 26">
            <a:extLst>
              <a:ext uri="{FF2B5EF4-FFF2-40B4-BE49-F238E27FC236}">
                <a16:creationId xmlns:a16="http://schemas.microsoft.com/office/drawing/2014/main" id="{06A38DDF-8479-0C8C-9AFF-3D0F5B9E74DD}"/>
              </a:ext>
            </a:extLst>
          </p:cNvPr>
          <p:cNvSpPr txBox="1"/>
          <p:nvPr/>
        </p:nvSpPr>
        <p:spPr>
          <a:xfrm>
            <a:off x="5799944" y="1767676"/>
            <a:ext cx="5596578" cy="261610"/>
          </a:xfrm>
          <a:prstGeom prst="rect">
            <a:avLst/>
          </a:prstGeom>
          <a:noFill/>
        </p:spPr>
        <p:txBody>
          <a:bodyPr wrap="square" rtlCol="0">
            <a:spAutoFit/>
          </a:bodyPr>
          <a:lstStyle/>
          <a:p>
            <a:r>
              <a:rPr kumimoji="1" lang="en-US" altLang="ja-JP" sz="1100" dirty="0">
                <a:latin typeface="Yu Gothic UI" panose="020B0500000000000000" pitchFamily="50" charset="-128"/>
                <a:ea typeface="Yu Gothic UI" panose="020B0500000000000000" pitchFamily="50" charset="-128"/>
              </a:rPr>
              <a:t>※DB</a:t>
            </a:r>
            <a:r>
              <a:rPr kumimoji="1" lang="ja-JP" altLang="en-US" sz="1100" dirty="0">
                <a:latin typeface="Yu Gothic UI" panose="020B0500000000000000" pitchFamily="50" charset="-128"/>
                <a:ea typeface="Yu Gothic UI" panose="020B0500000000000000" pitchFamily="50" charset="-128"/>
              </a:rPr>
              <a:t>設計に関しては別添資料「</a:t>
            </a:r>
            <a:r>
              <a:rPr kumimoji="1" lang="en-US" altLang="ja-JP" sz="1100" dirty="0">
                <a:latin typeface="Yu Gothic UI" panose="020B0500000000000000" pitchFamily="50" charset="-128"/>
                <a:ea typeface="Yu Gothic UI" panose="020B0500000000000000" pitchFamily="50" charset="-128"/>
              </a:rPr>
              <a:t>40_xxx</a:t>
            </a:r>
            <a:r>
              <a:rPr kumimoji="1" lang="ja-JP" altLang="en-US" sz="1100" dirty="0">
                <a:latin typeface="Yu Gothic UI" panose="020B0500000000000000" pitchFamily="50" charset="-128"/>
                <a:ea typeface="Yu Gothic UI" panose="020B0500000000000000" pitchFamily="50" charset="-128"/>
              </a:rPr>
              <a:t>」を参照してください</a:t>
            </a:r>
          </a:p>
        </p:txBody>
      </p:sp>
      <p:pic>
        <p:nvPicPr>
          <p:cNvPr id="29" name="図 28">
            <a:extLst>
              <a:ext uri="{FF2B5EF4-FFF2-40B4-BE49-F238E27FC236}">
                <a16:creationId xmlns:a16="http://schemas.microsoft.com/office/drawing/2014/main" id="{D61D39E0-EAE0-7DAC-A55C-B1DC3BCE9344}"/>
              </a:ext>
            </a:extLst>
          </p:cNvPr>
          <p:cNvPicPr>
            <a:picLocks noChangeAspect="1"/>
          </p:cNvPicPr>
          <p:nvPr/>
        </p:nvPicPr>
        <p:blipFill>
          <a:blip r:embed="rId6"/>
          <a:srcRect l="1663" r="1607"/>
          <a:stretch/>
        </p:blipFill>
        <p:spPr>
          <a:xfrm>
            <a:off x="5598295" y="3167025"/>
            <a:ext cx="6077090" cy="3590032"/>
          </a:xfrm>
          <a:prstGeom prst="rect">
            <a:avLst/>
          </a:prstGeom>
          <a:ln>
            <a:solidFill>
              <a:schemeClr val="bg1">
                <a:lumMod val="95000"/>
              </a:schemeClr>
            </a:solidFill>
          </a:ln>
        </p:spPr>
      </p:pic>
      <p:sp>
        <p:nvSpPr>
          <p:cNvPr id="30" name="テキスト ボックス 29">
            <a:extLst>
              <a:ext uri="{FF2B5EF4-FFF2-40B4-BE49-F238E27FC236}">
                <a16:creationId xmlns:a16="http://schemas.microsoft.com/office/drawing/2014/main" id="{ED083AE1-886E-C122-9B44-2BB60316B800}"/>
              </a:ext>
            </a:extLst>
          </p:cNvPr>
          <p:cNvSpPr txBox="1"/>
          <p:nvPr/>
        </p:nvSpPr>
        <p:spPr>
          <a:xfrm>
            <a:off x="10758374" y="2944491"/>
            <a:ext cx="1188000" cy="230832"/>
          </a:xfrm>
          <a:prstGeom prst="rect">
            <a:avLst/>
          </a:prstGeom>
          <a:noFill/>
        </p:spPr>
        <p:txBody>
          <a:bodyPr wrap="square" rtlCol="0">
            <a:spAutoFit/>
          </a:bodyPr>
          <a:lstStyle/>
          <a:p>
            <a:r>
              <a:rPr kumimoji="1" lang="en-US" altLang="ja-JP" sz="900" dirty="0">
                <a:latin typeface="Yu Gothic UI" panose="020B0500000000000000" pitchFamily="50" charset="-128"/>
                <a:ea typeface="Yu Gothic UI" panose="020B0500000000000000" pitchFamily="50" charset="-128"/>
              </a:rPr>
              <a:t>[</a:t>
            </a:r>
            <a:r>
              <a:rPr kumimoji="1" lang="ja-JP" altLang="en-US" sz="900" dirty="0">
                <a:latin typeface="Yu Gothic UI" panose="020B0500000000000000" pitchFamily="50" charset="-128"/>
                <a:ea typeface="Yu Gothic UI" panose="020B0500000000000000" pitchFamily="50" charset="-128"/>
              </a:rPr>
              <a:t>検索結果画面</a:t>
            </a:r>
            <a:r>
              <a:rPr kumimoji="1" lang="en-US" altLang="ja-JP" sz="900" dirty="0">
                <a:latin typeface="Yu Gothic UI" panose="020B0500000000000000" pitchFamily="50" charset="-128"/>
                <a:ea typeface="Yu Gothic UI" panose="020B0500000000000000" pitchFamily="50" charset="-128"/>
              </a:rPr>
              <a:t>]</a:t>
            </a:r>
            <a:endParaRPr kumimoji="1" lang="ja-JP" altLang="en-US" sz="900" dirty="0">
              <a:latin typeface="Yu Gothic UI" panose="020B0500000000000000" pitchFamily="50" charset="-128"/>
              <a:ea typeface="Yu Gothic UI" panose="020B0500000000000000" pitchFamily="50" charset="-128"/>
            </a:endParaRPr>
          </a:p>
        </p:txBody>
      </p:sp>
      <p:sp>
        <p:nvSpPr>
          <p:cNvPr id="40" name="矢印: ストライプ 39">
            <a:extLst>
              <a:ext uri="{FF2B5EF4-FFF2-40B4-BE49-F238E27FC236}">
                <a16:creationId xmlns:a16="http://schemas.microsoft.com/office/drawing/2014/main" id="{66282692-8DFF-93B2-AA56-6DA164AF9781}"/>
              </a:ext>
            </a:extLst>
          </p:cNvPr>
          <p:cNvSpPr/>
          <p:nvPr/>
        </p:nvSpPr>
        <p:spPr>
          <a:xfrm>
            <a:off x="4859409" y="3631556"/>
            <a:ext cx="591364" cy="511606"/>
          </a:xfrm>
          <a:prstGeom prst="strip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sz="1600" dirty="0">
              <a:solidFill>
                <a:schemeClr val="tx1"/>
              </a:solidFill>
            </a:endParaRPr>
          </a:p>
        </p:txBody>
      </p:sp>
      <p:sp>
        <p:nvSpPr>
          <p:cNvPr id="41" name="テキスト ボックス 40">
            <a:extLst>
              <a:ext uri="{FF2B5EF4-FFF2-40B4-BE49-F238E27FC236}">
                <a16:creationId xmlns:a16="http://schemas.microsoft.com/office/drawing/2014/main" id="{AC6409F5-E800-151B-E796-F7BDDAC16005}"/>
              </a:ext>
            </a:extLst>
          </p:cNvPr>
          <p:cNvSpPr txBox="1"/>
          <p:nvPr/>
        </p:nvSpPr>
        <p:spPr>
          <a:xfrm>
            <a:off x="331998" y="4787251"/>
            <a:ext cx="1188000" cy="230832"/>
          </a:xfrm>
          <a:prstGeom prst="rect">
            <a:avLst/>
          </a:prstGeom>
          <a:noFill/>
        </p:spPr>
        <p:txBody>
          <a:bodyPr wrap="square" rtlCol="0">
            <a:spAutoFit/>
          </a:bodyPr>
          <a:lstStyle/>
          <a:p>
            <a:r>
              <a:rPr kumimoji="1" lang="en-US" altLang="ja-JP" sz="900" dirty="0">
                <a:latin typeface="Yu Gothic UI" panose="020B0500000000000000" pitchFamily="50" charset="-128"/>
                <a:ea typeface="Yu Gothic UI" panose="020B0500000000000000" pitchFamily="50" charset="-128"/>
              </a:rPr>
              <a:t>[FA</a:t>
            </a:r>
            <a:r>
              <a:rPr kumimoji="1" lang="ja-JP" altLang="en-US" sz="900" dirty="0">
                <a:latin typeface="Yu Gothic UI" panose="020B0500000000000000" pitchFamily="50" charset="-128"/>
                <a:ea typeface="Yu Gothic UI" panose="020B0500000000000000" pitchFamily="50" charset="-128"/>
              </a:rPr>
              <a:t>サイト</a:t>
            </a:r>
            <a:r>
              <a:rPr kumimoji="1" lang="en-US" altLang="ja-JP" sz="900" dirty="0">
                <a:latin typeface="Yu Gothic UI" panose="020B0500000000000000" pitchFamily="50" charset="-128"/>
                <a:ea typeface="Yu Gothic UI" panose="020B0500000000000000" pitchFamily="50" charset="-128"/>
              </a:rPr>
              <a:t>TOP]</a:t>
            </a:r>
            <a:endParaRPr kumimoji="1" lang="ja-JP" altLang="en-US" sz="9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818588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33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210E6A70-4C8A-844C-BA67-300CC44EDE88}"/>
              </a:ext>
            </a:extLst>
          </p:cNvPr>
          <p:cNvSpPr>
            <a:spLocks noGrp="1"/>
          </p:cNvSpPr>
          <p:nvPr>
            <p:ph type="sldNum" sz="quarter" idx="18"/>
          </p:nvPr>
        </p:nvSpPr>
        <p:spPr/>
        <p:txBody>
          <a:bodyPr/>
          <a:lstStyle/>
          <a:p>
            <a:fld id="{8E309D18-5CEC-4165-B971-DC4DA761F26D}" type="slidenum">
              <a:rPr lang="ja-JP" altLang="en-US" smtClean="0"/>
              <a:pPr/>
              <a:t>3</a:t>
            </a:fld>
            <a:endParaRPr lang="ja-JP" altLang="en-US" dirty="0"/>
          </a:p>
        </p:txBody>
      </p:sp>
      <p:sp>
        <p:nvSpPr>
          <p:cNvPr id="4" name="タイトル 3">
            <a:extLst>
              <a:ext uri="{FF2B5EF4-FFF2-40B4-BE49-F238E27FC236}">
                <a16:creationId xmlns:a16="http://schemas.microsoft.com/office/drawing/2014/main" id="{35A3C06A-2818-21A7-58E0-EDF42886DEDF}"/>
              </a:ext>
            </a:extLst>
          </p:cNvPr>
          <p:cNvSpPr>
            <a:spLocks noGrp="1"/>
          </p:cNvSpPr>
          <p:nvPr>
            <p:ph type="title"/>
          </p:nvPr>
        </p:nvSpPr>
        <p:spPr/>
        <p:txBody>
          <a:bodyPr/>
          <a:lstStyle/>
          <a:p>
            <a:pPr algn="ctr"/>
            <a:r>
              <a:rPr lang="en-US" altLang="ja-JP" dirty="0">
                <a:latin typeface="游ゴシック 本文"/>
                <a:ea typeface="+mn-ea"/>
              </a:rPr>
              <a:t>1-1.</a:t>
            </a:r>
            <a:r>
              <a:rPr kumimoji="1" lang="ja-JP" altLang="en-US" dirty="0">
                <a:latin typeface="游ゴシック 本文"/>
              </a:rPr>
              <a:t>機密保持</a:t>
            </a:r>
          </a:p>
        </p:txBody>
      </p:sp>
      <p:sp>
        <p:nvSpPr>
          <p:cNvPr id="6" name="テキスト ボックス 5">
            <a:extLst>
              <a:ext uri="{FF2B5EF4-FFF2-40B4-BE49-F238E27FC236}">
                <a16:creationId xmlns:a16="http://schemas.microsoft.com/office/drawing/2014/main" id="{439DF21B-89F4-94AA-914B-1B2E4C09144A}"/>
              </a:ext>
            </a:extLst>
          </p:cNvPr>
          <p:cNvSpPr txBox="1"/>
          <p:nvPr/>
        </p:nvSpPr>
        <p:spPr>
          <a:xfrm>
            <a:off x="2111829" y="1637338"/>
            <a:ext cx="8098973" cy="3539430"/>
          </a:xfrm>
          <a:prstGeom prst="rect">
            <a:avLst/>
          </a:prstGeom>
          <a:noFill/>
        </p:spPr>
        <p:txBody>
          <a:bodyPr wrap="square">
            <a:spAutoFit/>
          </a:bodyPr>
          <a:lstStyle/>
          <a:p>
            <a:r>
              <a:rPr lang="ja-JP" altLang="en-US" sz="1600" dirty="0">
                <a:solidFill>
                  <a:srgbClr val="000000"/>
                </a:solidFill>
                <a:latin typeface="Yu Gothic UI" panose="020B0500000000000000" pitchFamily="50" charset="-128"/>
                <a:ea typeface="Yu Gothic UI" panose="020B0500000000000000" pitchFamily="50" charset="-128"/>
              </a:rPr>
              <a:t>■本書は、三菱電機株式会社の</a:t>
            </a:r>
            <a:r>
              <a:rPr lang="en-US" altLang="ja-JP" sz="1600" dirty="0">
                <a:solidFill>
                  <a:srgbClr val="000000"/>
                </a:solidFill>
                <a:latin typeface="Yu Gothic UI" panose="020B0500000000000000" pitchFamily="50" charset="-128"/>
                <a:ea typeface="Yu Gothic UI" panose="020B0500000000000000" pitchFamily="50" charset="-128"/>
              </a:rPr>
              <a:t>FA</a:t>
            </a:r>
            <a:r>
              <a:rPr lang="ja-JP" altLang="en-US" sz="1600" dirty="0">
                <a:solidFill>
                  <a:srgbClr val="000000"/>
                </a:solidFill>
                <a:latin typeface="Yu Gothic UI" panose="020B0500000000000000" pitchFamily="50" charset="-128"/>
                <a:ea typeface="Yu Gothic UI" panose="020B0500000000000000" pitchFamily="50" charset="-128"/>
              </a:rPr>
              <a:t>サイトおよび周辺システムに関する保守運用に対する提案依頼書</a:t>
            </a:r>
            <a:r>
              <a:rPr lang="en-US" altLang="ja-JP" sz="1600" dirty="0">
                <a:solidFill>
                  <a:srgbClr val="000000"/>
                </a:solidFill>
                <a:latin typeface="Yu Gothic UI" panose="020B0500000000000000" pitchFamily="50" charset="-128"/>
                <a:ea typeface="Yu Gothic UI" panose="020B0500000000000000" pitchFamily="50" charset="-128"/>
              </a:rPr>
              <a:t>(</a:t>
            </a:r>
            <a:r>
              <a:rPr lang="ja-JP" altLang="en-US" sz="1600" dirty="0">
                <a:solidFill>
                  <a:srgbClr val="000000"/>
                </a:solidFill>
                <a:latin typeface="Yu Gothic UI" panose="020B0500000000000000" pitchFamily="50" charset="-128"/>
                <a:ea typeface="Yu Gothic UI" panose="020B0500000000000000" pitchFamily="50" charset="-128"/>
              </a:rPr>
              <a:t>以下、</a:t>
            </a:r>
            <a:r>
              <a:rPr lang="en-US" altLang="ja-JP" sz="1600" dirty="0">
                <a:solidFill>
                  <a:srgbClr val="000000"/>
                </a:solidFill>
                <a:latin typeface="Yu Gothic UI" panose="020B0500000000000000" pitchFamily="50" charset="-128"/>
                <a:ea typeface="Yu Gothic UI" panose="020B0500000000000000" pitchFamily="50" charset="-128"/>
              </a:rPr>
              <a:t>RFP)</a:t>
            </a:r>
            <a:r>
              <a:rPr lang="ja-JP" altLang="en-US" sz="1600" dirty="0">
                <a:solidFill>
                  <a:srgbClr val="000000"/>
                </a:solidFill>
                <a:latin typeface="Yu Gothic UI" panose="020B0500000000000000" pitchFamily="50" charset="-128"/>
                <a:ea typeface="Yu Gothic UI" panose="020B0500000000000000" pitchFamily="50" charset="-128"/>
              </a:rPr>
              <a:t>です。本書及び、提案書作成に関する質問への回答等の情報は、提案書作成にのみ使用されるべきものであり</a:t>
            </a:r>
            <a:r>
              <a:rPr lang="en-US" altLang="ja-JP" sz="1600" dirty="0">
                <a:solidFill>
                  <a:srgbClr val="000000"/>
                </a:solidFill>
                <a:latin typeface="Yu Gothic UI" panose="020B0500000000000000" pitchFamily="50" charset="-128"/>
                <a:ea typeface="Yu Gothic UI" panose="020B0500000000000000" pitchFamily="50" charset="-128"/>
              </a:rPr>
              <a:t>､</a:t>
            </a:r>
            <a:r>
              <a:rPr lang="ja-JP" altLang="en-US" sz="1600" dirty="0">
                <a:solidFill>
                  <a:srgbClr val="000000"/>
                </a:solidFill>
                <a:latin typeface="Yu Gothic UI" panose="020B0500000000000000" pitchFamily="50" charset="-128"/>
                <a:ea typeface="Yu Gothic UI" panose="020B0500000000000000" pitchFamily="50" charset="-128"/>
              </a:rPr>
              <a:t>それ以外の目的での使用、または第三者への情報開示は一切禁じます。</a:t>
            </a:r>
            <a:endParaRPr lang="en-US" altLang="ja-JP" sz="1600" dirty="0">
              <a:solidFill>
                <a:srgbClr val="000000"/>
              </a:solidFill>
              <a:latin typeface="Yu Gothic UI" panose="020B0500000000000000" pitchFamily="50" charset="-128"/>
              <a:ea typeface="Yu Gothic UI" panose="020B0500000000000000" pitchFamily="50" charset="-128"/>
            </a:endParaRPr>
          </a:p>
          <a:p>
            <a:r>
              <a:rPr lang="ja-JP" altLang="en-US" sz="1600" dirty="0">
                <a:solidFill>
                  <a:srgbClr val="000000"/>
                </a:solidFill>
                <a:latin typeface="Yu Gothic UI" panose="020B0500000000000000" pitchFamily="50" charset="-128"/>
                <a:ea typeface="Yu Gothic UI" panose="020B0500000000000000" pitchFamily="50" charset="-128"/>
              </a:rPr>
              <a:t>本書記載の依頼事項・条件に基づいた、システム保守運用の提案・見積もりをお願いいたします。</a:t>
            </a:r>
            <a:endParaRPr lang="en-US" altLang="ja-JP" sz="1600" dirty="0">
              <a:solidFill>
                <a:srgbClr val="000000"/>
              </a:solidFill>
              <a:latin typeface="Yu Gothic UI" panose="020B0500000000000000" pitchFamily="50" charset="-128"/>
              <a:ea typeface="Yu Gothic UI" panose="020B0500000000000000" pitchFamily="50" charset="-128"/>
            </a:endParaRPr>
          </a:p>
          <a:p>
            <a:endParaRPr lang="ja-JP" altLang="en-US" sz="1600" dirty="0">
              <a:solidFill>
                <a:srgbClr val="000000"/>
              </a:solidFill>
              <a:latin typeface="Yu Gothic UI" panose="020B0500000000000000" pitchFamily="50" charset="-128"/>
              <a:ea typeface="Yu Gothic UI" panose="020B0500000000000000" pitchFamily="50" charset="-128"/>
            </a:endParaRPr>
          </a:p>
          <a:p>
            <a:r>
              <a:rPr lang="ja-JP" altLang="en-US" sz="1600" dirty="0">
                <a:solidFill>
                  <a:srgbClr val="000000"/>
                </a:solidFill>
                <a:latin typeface="Yu Gothic UI" panose="020B0500000000000000" pitchFamily="50" charset="-128"/>
                <a:ea typeface="Yu Gothic UI" panose="020B0500000000000000" pitchFamily="50" charset="-128"/>
              </a:rPr>
              <a:t>■事前に書面による弊社の同意がない限り、本</a:t>
            </a:r>
            <a:r>
              <a:rPr lang="en-US" altLang="ja-JP" sz="1600" dirty="0">
                <a:solidFill>
                  <a:srgbClr val="000000"/>
                </a:solidFill>
                <a:latin typeface="Yu Gothic UI" panose="020B0500000000000000" pitchFamily="50" charset="-128"/>
                <a:ea typeface="Yu Gothic UI" panose="020B0500000000000000" pitchFamily="50" charset="-128"/>
              </a:rPr>
              <a:t>RFP</a:t>
            </a:r>
            <a:r>
              <a:rPr lang="ja-JP" altLang="en-US" sz="1600" dirty="0">
                <a:solidFill>
                  <a:srgbClr val="000000"/>
                </a:solidFill>
                <a:latin typeface="Yu Gothic UI" panose="020B0500000000000000" pitchFamily="50" charset="-128"/>
                <a:ea typeface="Yu Gothic UI" panose="020B0500000000000000" pitchFamily="50" charset="-128"/>
              </a:rPr>
              <a:t>を複写してはなりません。また同に弊社の名称、商標、記章、その他、本書に関する情報を、雑誌、商用書類、新聞、出版物、広告その他印刷物や販売促進活動・資料に使用することは禁じます。</a:t>
            </a:r>
            <a:endParaRPr lang="en-US" altLang="ja-JP" sz="1600" dirty="0">
              <a:solidFill>
                <a:srgbClr val="000000"/>
              </a:solidFill>
              <a:latin typeface="Yu Gothic UI" panose="020B0500000000000000" pitchFamily="50" charset="-128"/>
              <a:ea typeface="Yu Gothic UI" panose="020B0500000000000000" pitchFamily="50" charset="-128"/>
            </a:endParaRPr>
          </a:p>
          <a:p>
            <a:endParaRPr lang="ja-JP" altLang="en-US" sz="1600" dirty="0">
              <a:solidFill>
                <a:srgbClr val="000000"/>
              </a:solidFill>
              <a:latin typeface="Yu Gothic UI" panose="020B0500000000000000" pitchFamily="50" charset="-128"/>
              <a:ea typeface="Yu Gothic UI" panose="020B0500000000000000" pitchFamily="50" charset="-128"/>
            </a:endParaRPr>
          </a:p>
          <a:p>
            <a:r>
              <a:rPr lang="ja-JP" altLang="en-US" sz="1600" dirty="0">
                <a:solidFill>
                  <a:srgbClr val="000000"/>
                </a:solidFill>
                <a:latin typeface="Yu Gothic UI" panose="020B0500000000000000" pitchFamily="50" charset="-128"/>
                <a:ea typeface="Yu Gothic UI" panose="020B0500000000000000" pitchFamily="50" charset="-128"/>
              </a:rPr>
              <a:t>■本件に関しては、別途締結の秘密保持契約（</a:t>
            </a:r>
            <a:r>
              <a:rPr lang="en-US" altLang="ja-JP" sz="1600" dirty="0">
                <a:solidFill>
                  <a:srgbClr val="000000"/>
                </a:solidFill>
                <a:latin typeface="Yu Gothic UI" panose="020B0500000000000000" pitchFamily="50" charset="-128"/>
                <a:ea typeface="Yu Gothic UI" panose="020B0500000000000000" pitchFamily="50" charset="-128"/>
              </a:rPr>
              <a:t>NDA</a:t>
            </a:r>
            <a:r>
              <a:rPr lang="ja-JP" altLang="en-US" sz="1600" dirty="0">
                <a:solidFill>
                  <a:srgbClr val="000000"/>
                </a:solidFill>
                <a:latin typeface="Yu Gothic UI" panose="020B0500000000000000" pitchFamily="50" charset="-128"/>
                <a:ea typeface="Yu Gothic UI" panose="020B0500000000000000" pitchFamily="50" charset="-128"/>
              </a:rPr>
              <a:t>）に基づき、以下を厳守して下さい。</a:t>
            </a:r>
          </a:p>
          <a:p>
            <a:r>
              <a:rPr lang="ja-JP" altLang="en-US" sz="1600" dirty="0">
                <a:solidFill>
                  <a:srgbClr val="000000"/>
                </a:solidFill>
                <a:latin typeface="Yu Gothic UI" panose="020B0500000000000000" pitchFamily="50" charset="-128"/>
                <a:ea typeface="Yu Gothic UI" panose="020B0500000000000000" pitchFamily="50" charset="-128"/>
              </a:rPr>
              <a:t>－本書は、</a:t>
            </a:r>
            <a:r>
              <a:rPr lang="en-US" altLang="ja-JP" sz="1600" dirty="0">
                <a:solidFill>
                  <a:srgbClr val="000000"/>
                </a:solidFill>
                <a:latin typeface="Yu Gothic UI" panose="020B0500000000000000" pitchFamily="50" charset="-128"/>
                <a:ea typeface="Yu Gothic UI" panose="020B0500000000000000" pitchFamily="50" charset="-128"/>
              </a:rPr>
              <a:t>NDA</a:t>
            </a:r>
            <a:r>
              <a:rPr lang="ja-JP" altLang="en-US" sz="1600" dirty="0">
                <a:solidFill>
                  <a:srgbClr val="000000"/>
                </a:solidFill>
                <a:latin typeface="Yu Gothic UI" panose="020B0500000000000000" pitchFamily="50" charset="-128"/>
                <a:ea typeface="Yu Gothic UI" panose="020B0500000000000000" pitchFamily="50" charset="-128"/>
              </a:rPr>
              <a:t>の元、三菱電機が選定した関係者のみに配布します。</a:t>
            </a:r>
          </a:p>
          <a:p>
            <a:r>
              <a:rPr lang="ja-JP" altLang="en-US" sz="1600" dirty="0">
                <a:solidFill>
                  <a:srgbClr val="000000"/>
                </a:solidFill>
                <a:latin typeface="Yu Gothic UI" panose="020B0500000000000000" pitchFamily="50" charset="-128"/>
                <a:ea typeface="Yu Gothic UI" panose="020B0500000000000000" pitchFamily="50" charset="-128"/>
              </a:rPr>
              <a:t>－本書記載内容および</a:t>
            </a:r>
            <a:r>
              <a:rPr lang="en-US" altLang="ja-JP" sz="1600" dirty="0">
                <a:solidFill>
                  <a:srgbClr val="000000"/>
                </a:solidFill>
                <a:latin typeface="Yu Gothic UI" panose="020B0500000000000000" pitchFamily="50" charset="-128"/>
                <a:ea typeface="Yu Gothic UI" panose="020B0500000000000000" pitchFamily="50" charset="-128"/>
              </a:rPr>
              <a:t>Q&amp;A</a:t>
            </a:r>
            <a:r>
              <a:rPr lang="ja-JP" altLang="en-US" sz="1600" dirty="0">
                <a:solidFill>
                  <a:srgbClr val="000000"/>
                </a:solidFill>
                <a:latin typeface="Yu Gothic UI" panose="020B0500000000000000" pitchFamily="50" charset="-128"/>
                <a:ea typeface="Yu Gothic UI" panose="020B0500000000000000" pitchFamily="50" charset="-128"/>
              </a:rPr>
              <a:t>の質疑回答内容を受け取ったすべての貴社関係者は、</a:t>
            </a:r>
          </a:p>
          <a:p>
            <a:r>
              <a:rPr lang="ja-JP" altLang="en-US" sz="1600" dirty="0">
                <a:solidFill>
                  <a:srgbClr val="000000"/>
                </a:solidFill>
                <a:latin typeface="Yu Gothic UI" panose="020B0500000000000000" pitchFamily="50" charset="-128"/>
                <a:ea typeface="Yu Gothic UI" panose="020B0500000000000000" pitchFamily="50" charset="-128"/>
              </a:rPr>
              <a:t>　</a:t>
            </a:r>
            <a:r>
              <a:rPr lang="en-US" altLang="ja-JP" sz="1600" dirty="0">
                <a:solidFill>
                  <a:srgbClr val="000000"/>
                </a:solidFill>
                <a:latin typeface="Yu Gothic UI" panose="020B0500000000000000" pitchFamily="50" charset="-128"/>
                <a:ea typeface="Yu Gothic UI" panose="020B0500000000000000" pitchFamily="50" charset="-128"/>
              </a:rPr>
              <a:t>NDA</a:t>
            </a:r>
            <a:r>
              <a:rPr lang="ja-JP" altLang="en-US" sz="1600" dirty="0">
                <a:solidFill>
                  <a:srgbClr val="000000"/>
                </a:solidFill>
                <a:latin typeface="Yu Gothic UI" panose="020B0500000000000000" pitchFamily="50" charset="-128"/>
                <a:ea typeface="Yu Gothic UI" panose="020B0500000000000000" pitchFamily="50" charset="-128"/>
              </a:rPr>
              <a:t>を締結することに合意したものとみなします。</a:t>
            </a:r>
          </a:p>
        </p:txBody>
      </p:sp>
    </p:spTree>
    <p:extLst>
      <p:ext uri="{BB962C8B-B14F-4D97-AF65-F5344CB8AC3E}">
        <p14:creationId xmlns:p14="http://schemas.microsoft.com/office/powerpoint/2010/main" val="2884942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6232CD-2D75-B6AE-2D6F-91C305CB1CF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476232CD-2D75-B6AE-2D6F-91C305CB1CF1}"/>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5674D74-4297-78BA-16A7-38D8AC679C75}"/>
              </a:ext>
            </a:extLst>
          </p:cNvPr>
          <p:cNvSpPr>
            <a:spLocks noGrp="1"/>
          </p:cNvSpPr>
          <p:nvPr>
            <p:ph type="sldNum" sz="quarter" idx="11"/>
          </p:nvPr>
        </p:nvSpPr>
        <p:spPr>
          <a:xfrm>
            <a:off x="1672494" y="6654007"/>
            <a:ext cx="59312" cy="115416"/>
          </a:xfrm>
        </p:spPr>
        <p:txBody>
          <a:bodyPr/>
          <a:lstStyle/>
          <a:p>
            <a:pPr defTabSz="914400">
              <a:defRPr/>
            </a:pPr>
            <a:fld id="{AA5FCFE5-FE56-4EF1-80A8-07776887C2A1}" type="slidenum">
              <a:rPr kumimoji="0" lang="ja-JP" altLang="en-US" spc="0">
                <a:solidFill>
                  <a:prstClr val="black"/>
                </a:solidFill>
              </a:rPr>
              <a:pPr defTabSz="914400">
                <a:defRPr/>
              </a:pPr>
              <a:t>4</a:t>
            </a:fld>
            <a:endParaRPr kumimoji="0" lang="ja-JP" altLang="en-US" spc="0">
              <a:solidFill>
                <a:prstClr val="black"/>
              </a:solidFill>
            </a:endParaRPr>
          </a:p>
        </p:txBody>
      </p:sp>
      <p:sp>
        <p:nvSpPr>
          <p:cNvPr id="4" name="タイトル 3">
            <a:extLst>
              <a:ext uri="{FF2B5EF4-FFF2-40B4-BE49-F238E27FC236}">
                <a16:creationId xmlns:a16="http://schemas.microsoft.com/office/drawing/2014/main" id="{AD5A7CF8-5A19-97F9-4663-37525F96D7AF}"/>
              </a:ext>
            </a:extLst>
          </p:cNvPr>
          <p:cNvSpPr>
            <a:spLocks noGrp="1"/>
          </p:cNvSpPr>
          <p:nvPr>
            <p:ph type="title"/>
          </p:nvPr>
        </p:nvSpPr>
        <p:spPr>
          <a:xfrm>
            <a:off x="1908924" y="0"/>
            <a:ext cx="8374154" cy="689767"/>
          </a:xfrm>
        </p:spPr>
        <p:txBody>
          <a:bodyPr vert="horz" anchor="ctr">
            <a:normAutofit/>
          </a:bodyPr>
          <a:lstStyle/>
          <a:p>
            <a:r>
              <a:rPr lang="en-US" altLang="ja-JP" sz="2000" dirty="0">
                <a:latin typeface="+mn-ea"/>
                <a:ea typeface="+mn-ea"/>
              </a:rPr>
              <a:t>1-2</a:t>
            </a:r>
            <a:r>
              <a:rPr kumimoji="1" lang="en-US" altLang="ja-JP" sz="2000" dirty="0">
                <a:latin typeface="+mn-ea"/>
                <a:ea typeface="+mn-ea"/>
              </a:rPr>
              <a:t>. </a:t>
            </a:r>
            <a:r>
              <a:rPr kumimoji="1" lang="ja-JP" altLang="en-US" sz="2000" dirty="0">
                <a:latin typeface="+mn-ea"/>
                <a:ea typeface="+mn-ea"/>
              </a:rPr>
              <a:t>用語</a:t>
            </a:r>
            <a:r>
              <a:rPr lang="ja-JP" altLang="en-US" sz="2000" dirty="0">
                <a:latin typeface="+mn-ea"/>
                <a:ea typeface="+mn-ea"/>
              </a:rPr>
              <a:t>集</a:t>
            </a:r>
          </a:p>
        </p:txBody>
      </p:sp>
      <p:graphicFrame>
        <p:nvGraphicFramePr>
          <p:cNvPr id="5" name="表 5">
            <a:extLst>
              <a:ext uri="{FF2B5EF4-FFF2-40B4-BE49-F238E27FC236}">
                <a16:creationId xmlns:a16="http://schemas.microsoft.com/office/drawing/2014/main" id="{C7FA3ACE-51E2-15B1-131F-140A55BD9125}"/>
              </a:ext>
            </a:extLst>
          </p:cNvPr>
          <p:cNvGraphicFramePr>
            <a:graphicFrameLocks noGrp="1"/>
          </p:cNvGraphicFramePr>
          <p:nvPr>
            <p:extLst>
              <p:ext uri="{D42A27DB-BD31-4B8C-83A1-F6EECF244321}">
                <p14:modId xmlns:p14="http://schemas.microsoft.com/office/powerpoint/2010/main" val="3015053871"/>
              </p:ext>
            </p:extLst>
          </p:nvPr>
        </p:nvGraphicFramePr>
        <p:xfrm>
          <a:off x="1774960" y="927751"/>
          <a:ext cx="8640000" cy="4734394"/>
        </p:xfrm>
        <a:graphic>
          <a:graphicData uri="http://schemas.openxmlformats.org/drawingml/2006/table">
            <a:tbl>
              <a:tblPr firstRow="1" bandRow="1">
                <a:tableStyleId>{073A0DAA-6AF3-43AB-8588-CEC1D06C72B9}</a:tableStyleId>
              </a:tblPr>
              <a:tblGrid>
                <a:gridCol w="1620000">
                  <a:extLst>
                    <a:ext uri="{9D8B030D-6E8A-4147-A177-3AD203B41FA5}">
                      <a16:colId xmlns:a16="http://schemas.microsoft.com/office/drawing/2014/main" val="2246107304"/>
                    </a:ext>
                  </a:extLst>
                </a:gridCol>
                <a:gridCol w="1620000">
                  <a:extLst>
                    <a:ext uri="{9D8B030D-6E8A-4147-A177-3AD203B41FA5}">
                      <a16:colId xmlns:a16="http://schemas.microsoft.com/office/drawing/2014/main" val="2462628712"/>
                    </a:ext>
                  </a:extLst>
                </a:gridCol>
                <a:gridCol w="5400000">
                  <a:extLst>
                    <a:ext uri="{9D8B030D-6E8A-4147-A177-3AD203B41FA5}">
                      <a16:colId xmlns:a16="http://schemas.microsoft.com/office/drawing/2014/main" val="1985552099"/>
                    </a:ext>
                  </a:extLst>
                </a:gridCol>
              </a:tblGrid>
              <a:tr h="210713">
                <a:tc>
                  <a:txBody>
                    <a:bodyPr/>
                    <a:lstStyle/>
                    <a:p>
                      <a:pPr algn="ctr"/>
                      <a:r>
                        <a:rPr kumimoji="1" lang="ja-JP" altLang="en-US" sz="1050">
                          <a:latin typeface="Yu Gothic UI" panose="020B0500000000000000" pitchFamily="50" charset="-128"/>
                          <a:ea typeface="Yu Gothic UI" panose="020B0500000000000000" pitchFamily="50" charset="-128"/>
                        </a:rPr>
                        <a:t>分類</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kumimoji="1" lang="ja-JP" altLang="en-US" sz="1050">
                          <a:latin typeface="Yu Gothic UI" panose="020B0500000000000000" pitchFamily="50" charset="-128"/>
                          <a:ea typeface="Yu Gothic UI" panose="020B0500000000000000" pitchFamily="50" charset="-128"/>
                        </a:rPr>
                        <a:t>用語</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kumimoji="1" lang="ja-JP" altLang="en-US" sz="1050" dirty="0">
                          <a:latin typeface="Yu Gothic UI" panose="020B0500000000000000" pitchFamily="50" charset="-128"/>
                          <a:ea typeface="Yu Gothic UI" panose="020B0500000000000000" pitchFamily="50" charset="-128"/>
                        </a:rPr>
                        <a:t>定義</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52772135"/>
                  </a:ext>
                </a:extLst>
              </a:tr>
              <a:tr h="398194">
                <a:tc rowSpan="8">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周辺システム</a:t>
                      </a:r>
                      <a:r>
                        <a:rPr lang="en-US" altLang="ja-JP" sz="1050" b="0"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サイト</a:t>
                      </a:r>
                    </a:p>
                  </a:txBody>
                  <a:tcPr marL="36000" marR="36000" marT="108000" marB="36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確認サイト</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en-US" altLang="ja-JP" sz="1050" dirty="0">
                          <a:latin typeface="Yu Gothic UI" panose="020B0500000000000000" pitchFamily="50" charset="-128"/>
                          <a:ea typeface="Yu Gothic UI" panose="020B0500000000000000" pitchFamily="50" charset="-128"/>
                        </a:rPr>
                        <a:t>Web</a:t>
                      </a:r>
                      <a:r>
                        <a:rPr kumimoji="1" lang="ja-JP" altLang="en-US" sz="1050" dirty="0">
                          <a:latin typeface="Yu Gothic UI" panose="020B0500000000000000" pitchFamily="50" charset="-128"/>
                          <a:ea typeface="Yu Gothic UI" panose="020B0500000000000000" pitchFamily="50" charset="-128"/>
                        </a:rPr>
                        <a:t>サイト本番公開前の表示確認を行うイントラネット上のサイト。本番環境</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検証環境それぞれに存在</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9759359"/>
                  </a:ext>
                </a:extLst>
              </a:tr>
              <a:tr h="50400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検証環境</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1050" dirty="0">
                          <a:latin typeface="Yu Gothic UI" panose="020B0500000000000000" pitchFamily="50" charset="-128"/>
                          <a:ea typeface="Yu Gothic UI" panose="020B0500000000000000" pitchFamily="50" charset="-128"/>
                        </a:rPr>
                        <a:t>アプリの動作確認、機能検証等を行う環境。検証環境用にも</a:t>
                      </a:r>
                      <a:r>
                        <a:rPr kumimoji="1" lang="en-US" altLang="ja-JP" sz="1050" dirty="0">
                          <a:latin typeface="Yu Gothic UI" panose="020B0500000000000000" pitchFamily="50" charset="-128"/>
                          <a:ea typeface="Yu Gothic UI" panose="020B0500000000000000" pitchFamily="50" charset="-128"/>
                        </a:rPr>
                        <a:t>CMS</a:t>
                      </a:r>
                      <a:r>
                        <a:rPr kumimoji="1" lang="ja-JP" altLang="en-US" sz="1050" dirty="0">
                          <a:latin typeface="Yu Gothic UI" panose="020B0500000000000000" pitchFamily="50" charset="-128"/>
                          <a:ea typeface="Yu Gothic UI" panose="020B0500000000000000" pitchFamily="50" charset="-128"/>
                        </a:rPr>
                        <a:t>、確認サイト、公開サイトがそれぞれ存在</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61044122"/>
                  </a:ext>
                </a:extLst>
              </a:tr>
              <a:tr h="50400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製品情報</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en-US" altLang="ja-JP" sz="1050" dirty="0">
                          <a:latin typeface="Yu Gothic UI" panose="020B0500000000000000" pitchFamily="50" charset="-128"/>
                          <a:ea typeface="Yu Gothic UI" panose="020B0500000000000000" pitchFamily="50" charset="-128"/>
                        </a:rPr>
                        <a:t>FA</a:t>
                      </a:r>
                      <a:r>
                        <a:rPr kumimoji="1" lang="ja-JP" altLang="en-US" sz="1050" dirty="0">
                          <a:latin typeface="Yu Gothic UI" panose="020B0500000000000000" pitchFamily="50" charset="-128"/>
                          <a:ea typeface="Yu Gothic UI" panose="020B0500000000000000" pitchFamily="50" charset="-128"/>
                        </a:rPr>
                        <a:t>システム事業本部および海外販社で取り扱う製品の仕様情報や規格適合情報等を指す。基本的に</a:t>
                      </a:r>
                      <a:r>
                        <a:rPr kumimoji="1" lang="en-US" altLang="ja-JP" sz="1050" dirty="0">
                          <a:latin typeface="Yu Gothic UI" panose="020B0500000000000000" pitchFamily="50" charset="-128"/>
                          <a:ea typeface="Yu Gothic UI" panose="020B0500000000000000" pitchFamily="50" charset="-128"/>
                        </a:rPr>
                        <a:t>PIM</a:t>
                      </a:r>
                      <a:r>
                        <a:rPr kumimoji="1" lang="ja-JP" altLang="en-US" sz="1050" dirty="0">
                          <a:latin typeface="Yu Gothic UI" panose="020B0500000000000000" pitchFamily="50" charset="-128"/>
                          <a:ea typeface="Yu Gothic UI" panose="020B0500000000000000" pitchFamily="50" charset="-128"/>
                        </a:rPr>
                        <a:t>で製品情報が管理される</a:t>
                      </a:r>
                      <a:endParaRPr kumimoji="1" lang="en-US" altLang="ja-JP" sz="1050" dirty="0">
                        <a:latin typeface="Yu Gothic UI" panose="020B0500000000000000" pitchFamily="50" charset="-128"/>
                        <a:ea typeface="Yu Gothic UI" panose="020B0500000000000000" pitchFamily="50" charset="-128"/>
                      </a:endParaRP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0786356"/>
                  </a:ext>
                </a:extLst>
              </a:tr>
              <a:tr h="504000">
                <a:tc vMerge="1">
                  <a:txBody>
                    <a:bodyPr/>
                    <a:lstStyle/>
                    <a:p>
                      <a:pPr algn="l" rtl="0" fontAlgn="ctr"/>
                      <a:endParaRPr lang="ja-JP" altLang="en-US" sz="105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000000"/>
                          </a:solidFill>
                          <a:effectLst/>
                          <a:latin typeface="Yu Gothic UI" panose="020B0500000000000000" pitchFamily="50" charset="-128"/>
                          <a:ea typeface="Yu Gothic UI" panose="020B0500000000000000" pitchFamily="50" charset="-128"/>
                        </a:rPr>
                        <a:t>デジタルアセット</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1050" dirty="0">
                          <a:latin typeface="Yu Gothic UI" panose="020B0500000000000000" pitchFamily="50" charset="-128"/>
                          <a:ea typeface="Yu Gothic UI" panose="020B0500000000000000" pitchFamily="50" charset="-128"/>
                        </a:rPr>
                        <a:t>製品のカタログ・マニュアル・</a:t>
                      </a:r>
                      <a:r>
                        <a:rPr kumimoji="1" lang="en-US" altLang="ja-JP" sz="1050" dirty="0">
                          <a:latin typeface="Yu Gothic UI" panose="020B0500000000000000" pitchFamily="50" charset="-128"/>
                          <a:ea typeface="Yu Gothic UI" panose="020B0500000000000000" pitchFamily="50" charset="-128"/>
                        </a:rPr>
                        <a:t>CAD</a:t>
                      </a:r>
                      <a:r>
                        <a:rPr kumimoji="1" lang="ja-JP" altLang="en-US" sz="1050" dirty="0">
                          <a:latin typeface="Yu Gothic UI" panose="020B0500000000000000" pitchFamily="50" charset="-128"/>
                          <a:ea typeface="Yu Gothic UI" panose="020B0500000000000000" pitchFamily="50" charset="-128"/>
                        </a:rPr>
                        <a:t>（外形図）・技術資料 ・ソフトウェア・ サンプルライブラリ等を指す。基本的に</a:t>
                      </a:r>
                      <a:r>
                        <a:rPr kumimoji="1" lang="en-US" altLang="ja-JP" sz="1050" dirty="0">
                          <a:latin typeface="Yu Gothic UI" panose="020B0500000000000000" pitchFamily="50" charset="-128"/>
                          <a:ea typeface="Yu Gothic UI" panose="020B0500000000000000" pitchFamily="50" charset="-128"/>
                        </a:rPr>
                        <a:t>PIM</a:t>
                      </a:r>
                      <a:r>
                        <a:rPr kumimoji="1" lang="ja-JP" altLang="en-US" sz="1050" dirty="0">
                          <a:latin typeface="Yu Gothic UI" panose="020B0500000000000000" pitchFamily="50" charset="-128"/>
                          <a:ea typeface="Yu Gothic UI" panose="020B0500000000000000" pitchFamily="50" charset="-128"/>
                        </a:rPr>
                        <a:t>でデジタルアセットが管理される</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9934274"/>
                  </a:ext>
                </a:extLst>
              </a:tr>
              <a:tr h="504000">
                <a:tc vMerge="1">
                  <a:txBody>
                    <a:bodyPr/>
                    <a:lstStyle/>
                    <a:p>
                      <a:endParaRPr kumimoji="1" lang="ja-JP" altLang="en-US"/>
                    </a:p>
                  </a:txBody>
                  <a:tcPr/>
                </a:tc>
                <a:tc>
                  <a:txBody>
                    <a:bodyPr/>
                    <a:lstStyle/>
                    <a:p>
                      <a:pPr algn="l" rtl="0" fontAlgn="ctr"/>
                      <a:r>
                        <a:rPr lang="en-US" altLang="ja-JP" sz="1050" b="0" i="0" u="none" strike="noStrike" dirty="0">
                          <a:solidFill>
                            <a:srgbClr val="000000"/>
                          </a:solidFill>
                          <a:effectLst/>
                          <a:latin typeface="Yu Gothic UI" panose="020B0500000000000000" pitchFamily="50" charset="-128"/>
                          <a:ea typeface="Yu Gothic UI" panose="020B0500000000000000" pitchFamily="50" charset="-128"/>
                        </a:rPr>
                        <a:t>FA-PIM</a:t>
                      </a:r>
                    </a:p>
                    <a:p>
                      <a:pPr algn="l" rtl="0" fontAlgn="ct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資料上の</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PIM</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表記は</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FA-PIM</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を指す</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en-US" altLang="ja-JP" sz="1050" dirty="0">
                          <a:solidFill>
                            <a:schemeClr val="tx1"/>
                          </a:solidFill>
                          <a:latin typeface="Yu Gothic UI" panose="020B0500000000000000" pitchFamily="50" charset="-128"/>
                          <a:ea typeface="Yu Gothic UI" panose="020B0500000000000000" pitchFamily="50" charset="-128"/>
                        </a:rPr>
                        <a:t>FA</a:t>
                      </a:r>
                      <a:r>
                        <a:rPr kumimoji="1" lang="ja-JP" altLang="en-US" sz="1050" dirty="0">
                          <a:solidFill>
                            <a:schemeClr val="tx1"/>
                          </a:solidFill>
                          <a:latin typeface="Yu Gothic UI" panose="020B0500000000000000" pitchFamily="50" charset="-128"/>
                          <a:ea typeface="Yu Gothic UI" panose="020B0500000000000000" pitchFamily="50" charset="-128"/>
                        </a:rPr>
                        <a:t>で取り扱う製品情報</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のマスタを管理するシステム</a:t>
                      </a:r>
                      <a:endParaRPr kumimoji="1" lang="en-US" altLang="ja-JP" sz="1050" dirty="0">
                        <a:solidFill>
                          <a:schemeClr val="tx1"/>
                        </a:solidFill>
                        <a:latin typeface="Yu Gothic UI" panose="020B0500000000000000" pitchFamily="50" charset="-128"/>
                        <a:ea typeface="Yu Gothic UI" panose="020B0500000000000000" pitchFamily="50" charset="-128"/>
                      </a:endParaRPr>
                    </a:p>
                    <a:p>
                      <a:pPr algn="l"/>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管理対象データ：製品情報</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製品画像</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カタログ</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マニュアル</a:t>
                      </a:r>
                      <a:r>
                        <a:rPr kumimoji="1" lang="en-US" altLang="ja-JP" sz="1050" dirty="0">
                          <a:solidFill>
                            <a:schemeClr val="tx1"/>
                          </a:solidFill>
                          <a:latin typeface="Yu Gothic UI" panose="020B0500000000000000" pitchFamily="50" charset="-128"/>
                          <a:ea typeface="Yu Gothic UI" panose="020B0500000000000000" pitchFamily="50" charset="-128"/>
                        </a:rPr>
                        <a:t>/CAD/</a:t>
                      </a:r>
                      <a:r>
                        <a:rPr kumimoji="1" lang="ja-JP" altLang="en-US" sz="1050" dirty="0">
                          <a:solidFill>
                            <a:schemeClr val="tx1"/>
                          </a:solidFill>
                          <a:latin typeface="Yu Gothic UI" panose="020B0500000000000000" pitchFamily="50" charset="-128"/>
                          <a:ea typeface="Yu Gothic UI" panose="020B0500000000000000" pitchFamily="50" charset="-128"/>
                        </a:rPr>
                        <a:t>技術資料等</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0377683"/>
                  </a:ext>
                </a:extLst>
              </a:tr>
              <a:tr h="504000">
                <a:tc vMerge="1">
                  <a:txBody>
                    <a:bodyPr/>
                    <a:lstStyle/>
                    <a:p>
                      <a:pPr algn="l" rtl="0" fontAlgn="ctr"/>
                      <a:endParaRPr lang="ja-JP" altLang="en-US" sz="105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000000"/>
                          </a:solidFill>
                          <a:effectLst/>
                          <a:latin typeface="Yu Gothic UI" panose="020B0500000000000000" pitchFamily="50" charset="-128"/>
                          <a:ea typeface="Yu Gothic UI" panose="020B0500000000000000" pitchFamily="50" charset="-128"/>
                        </a:rPr>
                        <a:t>社内</a:t>
                      </a:r>
                      <a:r>
                        <a:rPr lang="en-US" altLang="ja-JP" sz="1050" b="0" i="0" u="none" strike="noStrike">
                          <a:solidFill>
                            <a:srgbClr val="000000"/>
                          </a:solidFill>
                          <a:effectLst/>
                          <a:latin typeface="Yu Gothic UI" panose="020B0500000000000000" pitchFamily="50" charset="-128"/>
                          <a:ea typeface="Yu Gothic UI" panose="020B0500000000000000" pitchFamily="50" charset="-128"/>
                        </a:rPr>
                        <a:t>AD</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zh-TW" altLang="en-US" sz="1050" dirty="0">
                          <a:latin typeface="Yu Gothic UI" panose="020B0500000000000000" pitchFamily="50" charset="-128"/>
                          <a:ea typeface="Yu Gothic UI" panose="020B0500000000000000" pitchFamily="50" charset="-128"/>
                        </a:rPr>
                        <a:t>社内用認証基盤 </a:t>
                      </a:r>
                      <a:r>
                        <a:rPr kumimoji="1" lang="en-US" altLang="ja-JP" sz="1050" dirty="0">
                          <a:latin typeface="Yu Gothic UI" panose="020B0500000000000000" pitchFamily="50" charset="-128"/>
                          <a:ea typeface="Yu Gothic UI" panose="020B0500000000000000" pitchFamily="50" charset="-128"/>
                        </a:rPr>
                        <a:t>*Entra</a:t>
                      </a:r>
                      <a:r>
                        <a:rPr kumimoji="1" lang="ja-JP" altLang="en-US" sz="1050" dirty="0">
                          <a:latin typeface="Yu Gothic UI" panose="020B0500000000000000" pitchFamily="50" charset="-128"/>
                          <a:ea typeface="Yu Gothic UI" panose="020B0500000000000000" pitchFamily="50" charset="-128"/>
                        </a:rPr>
                        <a:t> </a:t>
                      </a:r>
                      <a:r>
                        <a:rPr kumimoji="1" lang="en-US" altLang="ja-JP" sz="1050" dirty="0">
                          <a:latin typeface="Yu Gothic UI" panose="020B0500000000000000" pitchFamily="50" charset="-128"/>
                          <a:ea typeface="Yu Gothic UI" panose="020B0500000000000000" pitchFamily="50" charset="-128"/>
                        </a:rPr>
                        <a:t>ID(</a:t>
                      </a:r>
                      <a:r>
                        <a:rPr kumimoji="1" lang="ja-JP" altLang="en-US" sz="1050" dirty="0">
                          <a:latin typeface="Yu Gothic UI" panose="020B0500000000000000" pitchFamily="50" charset="-128"/>
                          <a:ea typeface="Yu Gothic UI" panose="020B0500000000000000" pitchFamily="50" charset="-128"/>
                        </a:rPr>
                        <a:t>旧称 </a:t>
                      </a:r>
                      <a:r>
                        <a:rPr kumimoji="1" lang="en-US" altLang="ja-JP" sz="1050" dirty="0">
                          <a:latin typeface="Yu Gothic UI" panose="020B0500000000000000" pitchFamily="50" charset="-128"/>
                          <a:ea typeface="Yu Gothic UI" panose="020B0500000000000000" pitchFamily="50" charset="-128"/>
                        </a:rPr>
                        <a:t>Azure AD)</a:t>
                      </a:r>
                      <a:r>
                        <a:rPr kumimoji="1" lang="ja-JP" altLang="en-US" sz="1050" dirty="0">
                          <a:latin typeface="Yu Gothic UI" panose="020B0500000000000000" pitchFamily="50" charset="-128"/>
                          <a:ea typeface="Yu Gothic UI" panose="020B0500000000000000" pitchFamily="50" charset="-128"/>
                        </a:rPr>
                        <a:t>を利用する予定</a:t>
                      </a:r>
                      <a:endParaRPr kumimoji="1" lang="en-US" altLang="ja-JP" sz="1050" dirty="0">
                        <a:latin typeface="Yu Gothic UI" panose="020B0500000000000000" pitchFamily="50" charset="-128"/>
                        <a:ea typeface="Yu Gothic UI" panose="020B0500000000000000" pitchFamily="50" charset="-128"/>
                      </a:endParaRP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3191720"/>
                  </a:ext>
                </a:extLst>
              </a:tr>
              <a:tr h="504000">
                <a:tc vMerge="1">
                  <a:txBody>
                    <a:bodyPr/>
                    <a:lstStyle/>
                    <a:p>
                      <a:pPr algn="l" rtl="0" fontAlgn="ctr"/>
                      <a:endParaRPr lang="ja-JP" altLang="en-US" sz="105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108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altLang="ja-JP" sz="1050" b="0" i="0" u="none" strike="noStrike" dirty="0">
                          <a:solidFill>
                            <a:srgbClr val="000000"/>
                          </a:solidFill>
                          <a:effectLst/>
                          <a:latin typeface="Yu Gothic UI" panose="020B0500000000000000" pitchFamily="50" charset="-128"/>
                          <a:ea typeface="Yu Gothic UI" panose="020B0500000000000000" pitchFamily="50" charset="-128"/>
                        </a:rPr>
                        <a:t>TeamSite</a:t>
                      </a:r>
                      <a:endParaRPr lang="ja-JP" altLang="en-US" sz="105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1050" dirty="0">
                          <a:latin typeface="Yu Gothic UI" panose="020B0500000000000000" pitchFamily="50" charset="-128"/>
                          <a:ea typeface="Yu Gothic UI" panose="020B0500000000000000" pitchFamily="50" charset="-128"/>
                        </a:rPr>
                        <a:t>デジタルマーケティンググループ</a:t>
                      </a:r>
                      <a:r>
                        <a:rPr kumimoji="1" lang="en-US" altLang="ja-JP" sz="1050" dirty="0">
                          <a:latin typeface="Yu Gothic UI" panose="020B0500000000000000" pitchFamily="50" charset="-128"/>
                          <a:ea typeface="Yu Gothic UI" panose="020B0500000000000000" pitchFamily="50" charset="-128"/>
                        </a:rPr>
                        <a:t>(DMG)</a:t>
                      </a:r>
                      <a:r>
                        <a:rPr kumimoji="1" lang="ja-JP" altLang="en-US" sz="1050" dirty="0">
                          <a:latin typeface="Yu Gothic UI" panose="020B0500000000000000" pitchFamily="50" charset="-128"/>
                          <a:ea typeface="Yu Gothic UI" panose="020B0500000000000000" pitchFamily="50" charset="-128"/>
                        </a:rPr>
                        <a:t>が管理する国内</a:t>
                      </a:r>
                      <a:r>
                        <a:rPr kumimoji="1" lang="en-US" altLang="ja-JP" sz="1050" dirty="0">
                          <a:latin typeface="Yu Gothic UI" panose="020B0500000000000000" pitchFamily="50" charset="-128"/>
                          <a:ea typeface="Yu Gothic UI" panose="020B0500000000000000" pitchFamily="50" charset="-128"/>
                        </a:rPr>
                        <a:t>FA</a:t>
                      </a:r>
                      <a:r>
                        <a:rPr kumimoji="1" lang="ja-JP" altLang="en-US" sz="1050" dirty="0">
                          <a:latin typeface="Yu Gothic UI" panose="020B0500000000000000" pitchFamily="50" charset="-128"/>
                          <a:ea typeface="Yu Gothic UI" panose="020B0500000000000000" pitchFamily="50" charset="-128"/>
                        </a:rPr>
                        <a:t>サイト、グローバル</a:t>
                      </a:r>
                      <a:r>
                        <a:rPr kumimoji="1" lang="en-US" altLang="ja-JP" sz="1050" dirty="0">
                          <a:latin typeface="Yu Gothic UI" panose="020B0500000000000000" pitchFamily="50" charset="-128"/>
                          <a:ea typeface="Yu Gothic UI" panose="020B0500000000000000" pitchFamily="50" charset="-128"/>
                        </a:rPr>
                        <a:t>FA</a:t>
                      </a:r>
                      <a:r>
                        <a:rPr kumimoji="1" lang="ja-JP" altLang="en-US" sz="1050" dirty="0">
                          <a:latin typeface="Yu Gothic UI" panose="020B0500000000000000" pitchFamily="50" charset="-128"/>
                          <a:ea typeface="Yu Gothic UI" panose="020B0500000000000000" pitchFamily="50" charset="-128"/>
                        </a:rPr>
                        <a:t>サイトの内、静的コンテンツ群の管理システムを指す。主な機能は、コンテンツ配信の承認ワークフロー</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テンプレート</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サイト配信等</a:t>
                      </a:r>
                      <a:endParaRPr kumimoji="1" lang="en-US" altLang="ja-JP" sz="1050" dirty="0">
                        <a:latin typeface="Yu Gothic UI" panose="020B0500000000000000" pitchFamily="50" charset="-128"/>
                        <a:ea typeface="Yu Gothic UI" panose="020B0500000000000000" pitchFamily="50" charset="-128"/>
                      </a:endParaRPr>
                    </a:p>
                    <a:p>
                      <a:pPr algn="l"/>
                      <a:r>
                        <a:rPr kumimoji="1" lang="en-US" altLang="ja-JP" sz="1050" dirty="0">
                          <a:latin typeface="Yu Gothic UI" panose="020B0500000000000000" pitchFamily="50" charset="-128"/>
                          <a:ea typeface="Yu Gothic UI" panose="020B0500000000000000" pitchFamily="50" charset="-128"/>
                        </a:rPr>
                        <a:t>26</a:t>
                      </a:r>
                      <a:r>
                        <a:rPr kumimoji="1" lang="ja-JP" altLang="en-US" sz="1050" dirty="0">
                          <a:latin typeface="Yu Gothic UI" panose="020B0500000000000000" pitchFamily="50" charset="-128"/>
                          <a:ea typeface="Yu Gothic UI" panose="020B0500000000000000" pitchFamily="50" charset="-128"/>
                        </a:rPr>
                        <a:t>年</a:t>
                      </a:r>
                      <a:r>
                        <a:rPr kumimoji="1" lang="en-US" altLang="ja-JP" sz="1050" dirty="0">
                          <a:latin typeface="Yu Gothic UI" panose="020B0500000000000000" pitchFamily="50" charset="-128"/>
                          <a:ea typeface="Yu Gothic UI" panose="020B0500000000000000" pitchFamily="50" charset="-128"/>
                        </a:rPr>
                        <a:t>3</a:t>
                      </a:r>
                      <a:r>
                        <a:rPr kumimoji="1" lang="ja-JP" altLang="en-US" sz="1050" dirty="0">
                          <a:latin typeface="Yu Gothic UI" panose="020B0500000000000000" pitchFamily="50" charset="-128"/>
                          <a:ea typeface="Yu Gothic UI" panose="020B0500000000000000" pitchFamily="50" charset="-128"/>
                        </a:rPr>
                        <a:t>月利用終了、</a:t>
                      </a:r>
                      <a:r>
                        <a:rPr kumimoji="1" lang="en-US" altLang="ja-JP" sz="1050" dirty="0">
                          <a:latin typeface="Yu Gothic UI" panose="020B0500000000000000" pitchFamily="50" charset="-128"/>
                          <a:ea typeface="Yu Gothic UI" panose="020B0500000000000000" pitchFamily="50" charset="-128"/>
                        </a:rPr>
                        <a:t>AEM</a:t>
                      </a:r>
                      <a:r>
                        <a:rPr kumimoji="1" lang="ja-JP" altLang="en-US" sz="1050" dirty="0">
                          <a:latin typeface="Yu Gothic UI" panose="020B0500000000000000" pitchFamily="50" charset="-128"/>
                          <a:ea typeface="Yu Gothic UI" panose="020B0500000000000000" pitchFamily="50" charset="-128"/>
                        </a:rPr>
                        <a:t>に移管予定</a:t>
                      </a:r>
                      <a:endParaRPr kumimoji="1" lang="en-US" altLang="ja-JP" sz="1050" dirty="0">
                        <a:latin typeface="Yu Gothic UI" panose="020B0500000000000000" pitchFamily="50" charset="-128"/>
                        <a:ea typeface="Yu Gothic UI" panose="020B0500000000000000" pitchFamily="50" charset="-128"/>
                      </a:endParaRP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09398005"/>
                  </a:ext>
                </a:extLst>
              </a:tr>
              <a:tr h="504000">
                <a:tc vMerge="1">
                  <a:txBody>
                    <a:bodyPr/>
                    <a:lstStyle/>
                    <a:p>
                      <a:pPr algn="l" rtl="0" fontAlgn="ctr"/>
                      <a:endParaRPr lang="ja-JP" altLang="en-US" sz="1050" b="0" i="0" u="none" strike="noStrike">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altLang="ja-JP" sz="1050" b="0" i="0" u="none" strike="noStrike" dirty="0">
                          <a:solidFill>
                            <a:srgbClr val="000000"/>
                          </a:solidFill>
                          <a:effectLst/>
                          <a:latin typeface="Yu Gothic UI" panose="020B0500000000000000" pitchFamily="50" charset="-128"/>
                          <a:ea typeface="Yu Gothic UI" panose="020B0500000000000000" pitchFamily="50" charset="-128"/>
                        </a:rPr>
                        <a:t>Akamai</a:t>
                      </a:r>
                      <a:endParaRPr lang="ja-JP" altLang="en-US" sz="105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lnL w="12700" cap="flat" cmpd="sng" algn="ctr">
                      <a:solidFill>
                        <a:schemeClr val="bg1">
                          <a:lumMod val="65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1050" dirty="0">
                          <a:latin typeface="Yu Gothic UI" panose="020B0500000000000000" pitchFamily="50" charset="-128"/>
                          <a:ea typeface="Yu Gothic UI" panose="020B0500000000000000" pitchFamily="50" charset="-128"/>
                        </a:rPr>
                        <a:t>世界最大の</a:t>
                      </a:r>
                      <a:r>
                        <a:rPr kumimoji="1" lang="en-US" altLang="ja-JP" sz="1050" dirty="0">
                          <a:latin typeface="Yu Gothic UI" panose="020B0500000000000000" pitchFamily="50" charset="-128"/>
                          <a:ea typeface="Yu Gothic UI" panose="020B0500000000000000" pitchFamily="50" charset="-128"/>
                        </a:rPr>
                        <a:t>CDN(Contents Delivery Network</a:t>
                      </a:r>
                      <a:r>
                        <a:rPr kumimoji="1" lang="ja-JP" altLang="en-US" sz="1050" dirty="0">
                          <a:latin typeface="Yu Gothic UI" panose="020B0500000000000000" pitchFamily="50" charset="-128"/>
                          <a:ea typeface="Yu Gothic UI" panose="020B0500000000000000" pitchFamily="50" charset="-128"/>
                        </a:rPr>
                        <a:t>）サービスで、三菱電機では宣伝部が管理をしている。</a:t>
                      </a:r>
                    </a:p>
                    <a:p>
                      <a:pPr algn="l"/>
                      <a:r>
                        <a:rPr kumimoji="1" lang="ja-JP" altLang="en-US" sz="1050" dirty="0">
                          <a:latin typeface="Yu Gothic UI" panose="020B0500000000000000" pitchFamily="50" charset="-128"/>
                          <a:ea typeface="Yu Gothic UI" panose="020B0500000000000000" pitchFamily="50" charset="-128"/>
                        </a:rPr>
                        <a:t>主に国内</a:t>
                      </a:r>
                      <a:r>
                        <a:rPr kumimoji="1" lang="en-US" altLang="ja-JP" sz="1050" dirty="0">
                          <a:latin typeface="Yu Gothic UI" panose="020B0500000000000000" pitchFamily="50" charset="-128"/>
                          <a:ea typeface="Yu Gothic UI" panose="020B0500000000000000" pitchFamily="50" charset="-128"/>
                        </a:rPr>
                        <a:t>FA</a:t>
                      </a:r>
                      <a:r>
                        <a:rPr kumimoji="1" lang="ja-JP" altLang="en-US" sz="1050" dirty="0">
                          <a:latin typeface="Yu Gothic UI" panose="020B0500000000000000" pitchFamily="50" charset="-128"/>
                          <a:ea typeface="Yu Gothic UI" panose="020B0500000000000000" pitchFamily="50" charset="-128"/>
                        </a:rPr>
                        <a:t>サイト、グローバル</a:t>
                      </a:r>
                      <a:r>
                        <a:rPr kumimoji="1" lang="en-US" altLang="ja-JP" sz="1050" dirty="0">
                          <a:latin typeface="Yu Gothic UI" panose="020B0500000000000000" pitchFamily="50" charset="-128"/>
                          <a:ea typeface="Yu Gothic UI" panose="020B0500000000000000" pitchFamily="50" charset="-128"/>
                        </a:rPr>
                        <a:t>FA</a:t>
                      </a:r>
                      <a:r>
                        <a:rPr kumimoji="1" lang="ja-JP" altLang="en-US" sz="1050" dirty="0">
                          <a:latin typeface="Yu Gothic UI" panose="020B0500000000000000" pitchFamily="50" charset="-128"/>
                          <a:ea typeface="Yu Gothic UI" panose="020B0500000000000000" pitchFamily="50" charset="-128"/>
                        </a:rPr>
                        <a:t>サイトでは、社外からのアクセスに対して、一度</a:t>
                      </a:r>
                      <a:r>
                        <a:rPr kumimoji="1" lang="en-US" altLang="ja-JP" sz="1050" dirty="0">
                          <a:latin typeface="Yu Gothic UI" panose="020B0500000000000000" pitchFamily="50" charset="-128"/>
                          <a:ea typeface="Yu Gothic UI" panose="020B0500000000000000" pitchFamily="50" charset="-128"/>
                        </a:rPr>
                        <a:t>Akamai</a:t>
                      </a:r>
                      <a:r>
                        <a:rPr kumimoji="1" lang="ja-JP" altLang="en-US" sz="1050" dirty="0">
                          <a:latin typeface="Yu Gothic UI" panose="020B0500000000000000" pitchFamily="50" charset="-128"/>
                          <a:ea typeface="Yu Gothic UI" panose="020B0500000000000000" pitchFamily="50" charset="-128"/>
                        </a:rPr>
                        <a:t>がリクエストを受けつけ、対象コンテンツによって、宣伝部環境のサーバへリクエスト転送するか、</a:t>
                      </a:r>
                      <a:r>
                        <a:rPr kumimoji="1" lang="en-US" altLang="ja-JP" sz="1050" dirty="0">
                          <a:latin typeface="Yu Gothic UI" panose="020B0500000000000000" pitchFamily="50" charset="-128"/>
                          <a:ea typeface="Yu Gothic UI" panose="020B0500000000000000" pitchFamily="50" charset="-128"/>
                        </a:rPr>
                        <a:t>Akamai</a:t>
                      </a:r>
                      <a:r>
                        <a:rPr kumimoji="1" lang="ja-JP" altLang="en-US" sz="1050" dirty="0">
                          <a:latin typeface="Yu Gothic UI" panose="020B0500000000000000" pitchFamily="50" charset="-128"/>
                          <a:ea typeface="Yu Gothic UI" panose="020B0500000000000000" pitchFamily="50" charset="-128"/>
                        </a:rPr>
                        <a:t>エッジサーバがプロキシとしてページを返すのかを判断している。</a:t>
                      </a:r>
                    </a:p>
                    <a:p>
                      <a:pPr algn="l"/>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現在利用しているサービス：</a:t>
                      </a:r>
                      <a:r>
                        <a:rPr kumimoji="1" lang="en-US" altLang="ja-JP" sz="1050" dirty="0">
                          <a:latin typeface="Yu Gothic UI" panose="020B0500000000000000" pitchFamily="50" charset="-128"/>
                          <a:ea typeface="Yu Gothic UI" panose="020B0500000000000000" pitchFamily="50" charset="-128"/>
                        </a:rPr>
                        <a:t>Web</a:t>
                      </a:r>
                      <a:r>
                        <a:rPr kumimoji="1" lang="ja-JP" altLang="en-US" sz="1050" dirty="0">
                          <a:latin typeface="Yu Gothic UI" panose="020B0500000000000000" pitchFamily="50" charset="-128"/>
                          <a:ea typeface="Yu Gothic UI" panose="020B0500000000000000" pitchFamily="50" charset="-128"/>
                        </a:rPr>
                        <a:t>配信高速化サービス</a:t>
                      </a:r>
                      <a:r>
                        <a:rPr kumimoji="1" lang="en-US" altLang="ja-JP" sz="1050" dirty="0">
                          <a:latin typeface="Yu Gothic UI" panose="020B0500000000000000" pitchFamily="50" charset="-128"/>
                          <a:ea typeface="Yu Gothic UI" panose="020B0500000000000000" pitchFamily="50" charset="-128"/>
                        </a:rPr>
                        <a:t>(ION) </a:t>
                      </a:r>
                      <a:r>
                        <a:rPr kumimoji="1" lang="ja-JP" altLang="en-US" sz="1050" dirty="0">
                          <a:latin typeface="Yu Gothic UI" panose="020B0500000000000000" pitchFamily="50" charset="-128"/>
                          <a:ea typeface="Yu Gothic UI" panose="020B0500000000000000" pitchFamily="50" charset="-128"/>
                        </a:rPr>
                        <a:t>、ダウンロード高速化サービス</a:t>
                      </a:r>
                      <a:r>
                        <a:rPr kumimoji="1" lang="en-US" altLang="ja-JP" sz="1050" dirty="0">
                          <a:latin typeface="Yu Gothic UI" panose="020B0500000000000000" pitchFamily="50" charset="-128"/>
                          <a:ea typeface="Yu Gothic UI" panose="020B0500000000000000" pitchFamily="50" charset="-128"/>
                        </a:rPr>
                        <a:t>(</a:t>
                      </a:r>
                      <a:r>
                        <a:rPr kumimoji="1" lang="en-US" altLang="ja-JP" sz="1050" dirty="0" err="1">
                          <a:latin typeface="Yu Gothic UI" panose="020B0500000000000000" pitchFamily="50" charset="-128"/>
                          <a:ea typeface="Yu Gothic UI" panose="020B0500000000000000" pitchFamily="50" charset="-128"/>
                        </a:rPr>
                        <a:t>DownloadDelivery</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ネットストレージ</a:t>
                      </a:r>
                    </a:p>
                  </a:txBody>
                  <a:tcPr marL="36000" marR="36000" marT="36000" marB="360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000009"/>
                  </a:ext>
                </a:extLst>
              </a:tr>
            </a:tbl>
          </a:graphicData>
        </a:graphic>
      </p:graphicFrame>
    </p:spTree>
    <p:extLst>
      <p:ext uri="{BB962C8B-B14F-4D97-AF65-F5344CB8AC3E}">
        <p14:creationId xmlns:p14="http://schemas.microsoft.com/office/powerpoint/2010/main" val="252631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AEB7D4C5-8999-AEEF-1510-3D81FA36F74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20" name="オブジェクト 19" hidden="1">
                        <a:extLst>
                          <a:ext uri="{FF2B5EF4-FFF2-40B4-BE49-F238E27FC236}">
                            <a16:creationId xmlns:a16="http://schemas.microsoft.com/office/drawing/2014/main" id="{AEB7D4C5-8999-AEEF-1510-3D81FA36F74E}"/>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23DE20B0-29A4-6EF4-3AAA-10D5621D2F6B}"/>
              </a:ext>
            </a:extLst>
          </p:cNvPr>
          <p:cNvSpPr>
            <a:spLocks noGrp="1"/>
          </p:cNvSpPr>
          <p:nvPr>
            <p:ph type="sldNum" sz="quarter" idx="11"/>
          </p:nvPr>
        </p:nvSpPr>
        <p:spPr>
          <a:xfrm>
            <a:off x="106015" y="6654007"/>
            <a:ext cx="144270" cy="115416"/>
          </a:xfrm>
        </p:spPr>
        <p:txBody>
          <a:bodyPr/>
          <a:lstStyle/>
          <a:p>
            <a:fld id="{8CB7DC12-2148-4A7F-924A-4883C590EAC3}" type="slidenum">
              <a:rPr lang="ja-JP" altLang="en-US" smtClean="0"/>
              <a:pPr/>
              <a:t>5</a:t>
            </a:fld>
            <a:endParaRPr lang="ja-JP" altLang="en-US"/>
          </a:p>
        </p:txBody>
      </p:sp>
      <p:sp>
        <p:nvSpPr>
          <p:cNvPr id="3" name="タイトル 2">
            <a:extLst>
              <a:ext uri="{FF2B5EF4-FFF2-40B4-BE49-F238E27FC236}">
                <a16:creationId xmlns:a16="http://schemas.microsoft.com/office/drawing/2014/main" id="{8CC49938-8000-4966-70A6-A912B5B85DED}"/>
              </a:ext>
            </a:extLst>
          </p:cNvPr>
          <p:cNvSpPr>
            <a:spLocks noGrp="1"/>
          </p:cNvSpPr>
          <p:nvPr>
            <p:ph type="title"/>
          </p:nvPr>
        </p:nvSpPr>
        <p:spPr>
          <a:xfrm>
            <a:off x="513232" y="88672"/>
            <a:ext cx="11165539" cy="597356"/>
          </a:xfrm>
        </p:spPr>
        <p:txBody>
          <a:bodyPr vert="horz" anchor="ctr"/>
          <a:lstStyle/>
          <a:p>
            <a:r>
              <a:rPr lang="en-US" altLang="ja-JP" dirty="0">
                <a:latin typeface="+mn-ea"/>
                <a:ea typeface="+mn-ea"/>
              </a:rPr>
              <a:t>2-1.</a:t>
            </a:r>
            <a:r>
              <a:rPr lang="ja-JP" altLang="en-US" dirty="0">
                <a:latin typeface="+mn-ea"/>
                <a:ea typeface="+mn-ea"/>
              </a:rPr>
              <a:t> 本プロジェクトの背景と目的</a:t>
            </a:r>
            <a:endParaRPr lang="en-US" dirty="0">
              <a:latin typeface="+mn-ea"/>
              <a:ea typeface="+mn-ea"/>
            </a:endParaRPr>
          </a:p>
        </p:txBody>
      </p:sp>
      <p:sp>
        <p:nvSpPr>
          <p:cNvPr id="9" name="正方形/長方形 8">
            <a:extLst>
              <a:ext uri="{FF2B5EF4-FFF2-40B4-BE49-F238E27FC236}">
                <a16:creationId xmlns:a16="http://schemas.microsoft.com/office/drawing/2014/main" id="{EE09BBB4-74BF-3BB6-BDD9-D6E34F9C3077}"/>
              </a:ext>
            </a:extLst>
          </p:cNvPr>
          <p:cNvSpPr/>
          <p:nvPr/>
        </p:nvSpPr>
        <p:spPr>
          <a:xfrm>
            <a:off x="1504874" y="3148957"/>
            <a:ext cx="1067977" cy="818257"/>
          </a:xfrm>
          <a:prstGeom prst="rect">
            <a:avLst/>
          </a:prstGeom>
          <a:solidFill>
            <a:schemeClr val="bg2">
              <a:lumMod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400" dirty="0">
                <a:solidFill>
                  <a:schemeClr val="bg1"/>
                </a:solidFill>
                <a:latin typeface="Yu Gothic UI" panose="020B0500000000000000" pitchFamily="50" charset="-128"/>
                <a:ea typeface="Yu Gothic UI" panose="020B0500000000000000" pitchFamily="50" charset="-128"/>
              </a:rPr>
              <a:t>目的</a:t>
            </a:r>
          </a:p>
        </p:txBody>
      </p:sp>
      <p:sp>
        <p:nvSpPr>
          <p:cNvPr id="10" name="正方形/長方形 9">
            <a:extLst>
              <a:ext uri="{FF2B5EF4-FFF2-40B4-BE49-F238E27FC236}">
                <a16:creationId xmlns:a16="http://schemas.microsoft.com/office/drawing/2014/main" id="{D75E7B1E-668E-A3CB-FBA2-8E2FEAB8F8EF}"/>
              </a:ext>
            </a:extLst>
          </p:cNvPr>
          <p:cNvSpPr/>
          <p:nvPr/>
        </p:nvSpPr>
        <p:spPr>
          <a:xfrm>
            <a:off x="2674519" y="3170001"/>
            <a:ext cx="8032465" cy="797213"/>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kumimoji="1" lang="ja-JP" altLang="en-US" sz="1200" dirty="0">
                <a:solidFill>
                  <a:schemeClr val="tx1"/>
                </a:solidFill>
                <a:latin typeface="Yu Gothic UI" panose="020B0500000000000000" pitchFamily="50" charset="-128"/>
                <a:ea typeface="Yu Gothic UI" panose="020B0500000000000000" pitchFamily="50" charset="-128"/>
              </a:rPr>
              <a:t>運用保守ベンダ入替</a:t>
            </a:r>
          </a:p>
          <a:p>
            <a:pPr marL="628650" lvl="1" indent="-171450">
              <a:spcBef>
                <a:spcPts val="300"/>
              </a:spcBef>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維持運用コストを抑えつつ、業務効率化、サービス品質の向上させる</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6" name="正方形/長方形 5">
            <a:extLst>
              <a:ext uri="{FF2B5EF4-FFF2-40B4-BE49-F238E27FC236}">
                <a16:creationId xmlns:a16="http://schemas.microsoft.com/office/drawing/2014/main" id="{98343680-0125-C413-0B05-20C11AB23595}"/>
              </a:ext>
            </a:extLst>
          </p:cNvPr>
          <p:cNvSpPr/>
          <p:nvPr/>
        </p:nvSpPr>
        <p:spPr>
          <a:xfrm>
            <a:off x="1504873" y="1744747"/>
            <a:ext cx="1067978" cy="315596"/>
          </a:xfrm>
          <a:prstGeom prst="rect">
            <a:avLst/>
          </a:prstGeom>
          <a:solidFill>
            <a:schemeClr val="bg2">
              <a:lumMod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400" dirty="0">
                <a:solidFill>
                  <a:schemeClr val="bg1"/>
                </a:solidFill>
                <a:latin typeface="Yu Gothic UI" panose="020B0500000000000000" pitchFamily="50" charset="-128"/>
                <a:ea typeface="Yu Gothic UI" panose="020B0500000000000000" pitchFamily="50" charset="-128"/>
              </a:rPr>
              <a:t>推進主体</a:t>
            </a:r>
            <a:endParaRPr kumimoji="1" lang="en-US" altLang="ja-JP" sz="1400" dirty="0">
              <a:solidFill>
                <a:schemeClr val="bg1"/>
              </a:solidFill>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1F50B9AE-E4BD-A444-4C3F-6695E0F1F2E3}"/>
              </a:ext>
            </a:extLst>
          </p:cNvPr>
          <p:cNvSpPr/>
          <p:nvPr/>
        </p:nvSpPr>
        <p:spPr>
          <a:xfrm>
            <a:off x="2656370" y="1755789"/>
            <a:ext cx="8052404" cy="315596"/>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kumimoji="1" lang="en-US" altLang="ja-JP" sz="1200" dirty="0">
                <a:solidFill>
                  <a:schemeClr val="tx1"/>
                </a:solidFill>
                <a:latin typeface="Yu Gothic UI" panose="020B0500000000000000" pitchFamily="50" charset="-128"/>
                <a:ea typeface="Yu Gothic UI" panose="020B0500000000000000" pitchFamily="50" charset="-128"/>
              </a:rPr>
              <a:t>FA</a:t>
            </a:r>
            <a:r>
              <a:rPr kumimoji="1" lang="ja-JP" altLang="en-US" sz="1200" dirty="0">
                <a:solidFill>
                  <a:schemeClr val="tx1"/>
                </a:solidFill>
                <a:latin typeface="Yu Gothic UI" panose="020B0500000000000000" pitchFamily="50" charset="-128"/>
                <a:ea typeface="Yu Gothic UI" panose="020B0500000000000000" pitchFamily="50" charset="-128"/>
              </a:rPr>
              <a:t>システム事業本部（</a:t>
            </a:r>
            <a:r>
              <a:rPr kumimoji="1" lang="en-US" altLang="ja-JP" sz="1200" dirty="0">
                <a:solidFill>
                  <a:schemeClr val="tx1"/>
                </a:solidFill>
                <a:latin typeface="Yu Gothic UI" panose="020B0500000000000000" pitchFamily="50" charset="-128"/>
                <a:ea typeface="Yu Gothic UI" panose="020B0500000000000000" pitchFamily="50" charset="-128"/>
              </a:rPr>
              <a:t>FA</a:t>
            </a:r>
            <a:r>
              <a:rPr kumimoji="1" lang="ja-JP" altLang="en-US" sz="1200" dirty="0">
                <a:solidFill>
                  <a:schemeClr val="tx1"/>
                </a:solidFill>
                <a:latin typeface="Yu Gothic UI" panose="020B0500000000000000" pitchFamily="50" charset="-128"/>
                <a:ea typeface="Yu Gothic UI" panose="020B0500000000000000" pitchFamily="50" charset="-128"/>
              </a:rPr>
              <a:t>本）</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7" name="正方形/長方形 6">
            <a:extLst>
              <a:ext uri="{FF2B5EF4-FFF2-40B4-BE49-F238E27FC236}">
                <a16:creationId xmlns:a16="http://schemas.microsoft.com/office/drawing/2014/main" id="{D4ECF59E-B6EB-63AF-05E0-62E0289F6581}"/>
              </a:ext>
            </a:extLst>
          </p:cNvPr>
          <p:cNvSpPr/>
          <p:nvPr/>
        </p:nvSpPr>
        <p:spPr>
          <a:xfrm>
            <a:off x="1504873" y="2126169"/>
            <a:ext cx="1067978" cy="968071"/>
          </a:xfrm>
          <a:prstGeom prst="rect">
            <a:avLst/>
          </a:prstGeom>
          <a:solidFill>
            <a:schemeClr val="bg2">
              <a:lumMod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400" dirty="0">
                <a:solidFill>
                  <a:schemeClr val="bg1"/>
                </a:solidFill>
                <a:latin typeface="Yu Gothic UI" panose="020B0500000000000000" pitchFamily="50" charset="-128"/>
                <a:ea typeface="Yu Gothic UI" panose="020B0500000000000000" pitchFamily="50" charset="-128"/>
              </a:rPr>
              <a:t>背景</a:t>
            </a:r>
          </a:p>
        </p:txBody>
      </p:sp>
      <p:sp>
        <p:nvSpPr>
          <p:cNvPr id="8" name="正方形/長方形 7">
            <a:extLst>
              <a:ext uri="{FF2B5EF4-FFF2-40B4-BE49-F238E27FC236}">
                <a16:creationId xmlns:a16="http://schemas.microsoft.com/office/drawing/2014/main" id="{4148C64B-63A1-5099-9F06-9EB18CE86B19}"/>
              </a:ext>
            </a:extLst>
          </p:cNvPr>
          <p:cNvSpPr/>
          <p:nvPr/>
        </p:nvSpPr>
        <p:spPr>
          <a:xfrm>
            <a:off x="2678535" y="2126169"/>
            <a:ext cx="8028053" cy="968072"/>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kumimoji="1" lang="en-US" altLang="ja-JP" sz="1200" dirty="0">
                <a:solidFill>
                  <a:schemeClr val="tx1"/>
                </a:solidFill>
                <a:latin typeface="Yu Gothic UI" panose="020B0500000000000000" pitchFamily="50" charset="-128"/>
                <a:ea typeface="Yu Gothic UI" panose="020B0500000000000000" pitchFamily="50" charset="-128"/>
              </a:rPr>
              <a:t>FA</a:t>
            </a:r>
            <a:r>
              <a:rPr kumimoji="1" lang="ja-JP" altLang="en-US" sz="1200" dirty="0">
                <a:solidFill>
                  <a:schemeClr val="tx1"/>
                </a:solidFill>
                <a:latin typeface="Yu Gothic UI" panose="020B0500000000000000" pitchFamily="50" charset="-128"/>
                <a:ea typeface="Yu Gothic UI" panose="020B0500000000000000" pitchFamily="50" charset="-128"/>
              </a:rPr>
              <a:t>サイト運用保守体制における課題：</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628650" lvl="1" indent="-171450">
              <a:spcBef>
                <a:spcPts val="300"/>
              </a:spcBef>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現行ベンダによる保守運用業務の品質が低下し、各種問題が発生している状況、かつ運用費用が嵩み思うような改善がされない状況のため、費用逓減と保守運用体制の改善が必要となっている</a:t>
            </a:r>
            <a:endParaRPr kumimoji="1" lang="en-US" altLang="ja-JP" sz="1200" baseline="30000" dirty="0">
              <a:solidFill>
                <a:schemeClr val="tx1"/>
              </a:solidFill>
              <a:latin typeface="Yu Gothic UI" panose="020B0500000000000000" pitchFamily="50" charset="-128"/>
              <a:ea typeface="Yu Gothic UI" panose="020B0500000000000000" pitchFamily="50" charset="-128"/>
            </a:endParaRPr>
          </a:p>
        </p:txBody>
      </p:sp>
      <p:sp>
        <p:nvSpPr>
          <p:cNvPr id="21" name="テキスト ボックス 20">
            <a:extLst>
              <a:ext uri="{FF2B5EF4-FFF2-40B4-BE49-F238E27FC236}">
                <a16:creationId xmlns:a16="http://schemas.microsoft.com/office/drawing/2014/main" id="{44EE487E-1D55-6F08-0CE2-09C8C5A7264D}"/>
              </a:ext>
            </a:extLst>
          </p:cNvPr>
          <p:cNvSpPr txBox="1"/>
          <p:nvPr/>
        </p:nvSpPr>
        <p:spPr>
          <a:xfrm>
            <a:off x="2633021" y="5393371"/>
            <a:ext cx="8653957" cy="246221"/>
          </a:xfrm>
          <a:prstGeom prst="rect">
            <a:avLst/>
          </a:prstGeom>
          <a:noFill/>
        </p:spPr>
        <p:txBody>
          <a:bodyPr wrap="square" rtlCol="0">
            <a:spAutoFit/>
          </a:bodyPr>
          <a:lstStyle/>
          <a:p>
            <a:r>
              <a:rPr kumimoji="1" lang="en-US" altLang="ja-JP" sz="1000" dirty="0">
                <a:latin typeface="Yu Gothic UI" panose="020B0500000000000000" pitchFamily="50" charset="-128"/>
                <a:ea typeface="Yu Gothic UI" panose="020B0500000000000000" pitchFamily="50" charset="-128"/>
              </a:rPr>
              <a:t>*1: </a:t>
            </a:r>
            <a:r>
              <a:rPr kumimoji="1" lang="ja-JP" altLang="en-US" sz="1000" dirty="0">
                <a:latin typeface="Yu Gothic UI" panose="020B0500000000000000" pitchFamily="50" charset="-128"/>
                <a:ea typeface="Yu Gothic UI" panose="020B0500000000000000" pitchFamily="50" charset="-128"/>
              </a:rPr>
              <a:t>本提案依頼の範囲外。インフラ環境の今後の計画については、</a:t>
            </a:r>
            <a:r>
              <a:rPr kumimoji="1" lang="en-US" altLang="ja-JP" sz="1000" dirty="0">
                <a:latin typeface="Yu Gothic UI" panose="020B0500000000000000" pitchFamily="50" charset="-128"/>
                <a:ea typeface="Yu Gothic UI" panose="020B0500000000000000" pitchFamily="50" charset="-128"/>
              </a:rPr>
              <a:t>Appendix</a:t>
            </a:r>
            <a:r>
              <a:rPr kumimoji="1" lang="ja-JP" altLang="en-US" sz="1000" dirty="0">
                <a:latin typeface="Yu Gothic UI" panose="020B0500000000000000" pitchFamily="50" charset="-128"/>
                <a:ea typeface="Yu Gothic UI" panose="020B0500000000000000" pitchFamily="50" charset="-128"/>
              </a:rPr>
              <a:t>参照</a:t>
            </a:r>
          </a:p>
        </p:txBody>
      </p:sp>
      <p:sp>
        <p:nvSpPr>
          <p:cNvPr id="5" name="テキスト プレースホルダー 4">
            <a:extLst>
              <a:ext uri="{FF2B5EF4-FFF2-40B4-BE49-F238E27FC236}">
                <a16:creationId xmlns:a16="http://schemas.microsoft.com/office/drawing/2014/main" id="{FE802E55-7313-488A-9BB1-9B8B22738332}"/>
              </a:ext>
            </a:extLst>
          </p:cNvPr>
          <p:cNvSpPr>
            <a:spLocks noGrp="1"/>
          </p:cNvSpPr>
          <p:nvPr>
            <p:ph type="body" sz="quarter" idx="15"/>
          </p:nvPr>
        </p:nvSpPr>
        <p:spPr/>
        <p:txBody>
          <a:bodyPr/>
          <a:lstStyle/>
          <a:p>
            <a:endParaRPr lang="ja-JP" altLang="en-US" dirty="0"/>
          </a:p>
        </p:txBody>
      </p:sp>
      <p:sp>
        <p:nvSpPr>
          <p:cNvPr id="4" name="正方形/長方形 3">
            <a:extLst>
              <a:ext uri="{FF2B5EF4-FFF2-40B4-BE49-F238E27FC236}">
                <a16:creationId xmlns:a16="http://schemas.microsoft.com/office/drawing/2014/main" id="{3158548A-966D-F6FC-7782-8C1B255053FC}"/>
              </a:ext>
            </a:extLst>
          </p:cNvPr>
          <p:cNvSpPr/>
          <p:nvPr/>
        </p:nvSpPr>
        <p:spPr>
          <a:xfrm>
            <a:off x="2674519" y="4042973"/>
            <a:ext cx="8032465" cy="1311611"/>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kumimoji="1" lang="ja-JP" altLang="en-US" sz="1200" dirty="0">
                <a:solidFill>
                  <a:schemeClr val="tx1"/>
                </a:solidFill>
                <a:latin typeface="Yu Gothic UI" panose="020B0500000000000000" pitchFamily="50" charset="-128"/>
                <a:ea typeface="Yu Gothic UI" panose="020B0500000000000000" pitchFamily="50" charset="-128"/>
              </a:rPr>
              <a:t>インフラ環境の変更</a:t>
            </a:r>
            <a:r>
              <a:rPr kumimoji="1" lang="ja-JP" altLang="en-US" sz="1200" baseline="40000" dirty="0">
                <a:solidFill>
                  <a:schemeClr val="tx1"/>
                </a:solidFill>
                <a:latin typeface="Yu Gothic UI" panose="020B0500000000000000" pitchFamily="50" charset="-128"/>
                <a:ea typeface="Yu Gothic UI" panose="020B0500000000000000" pitchFamily="50" charset="-128"/>
              </a:rPr>
              <a:t>*</a:t>
            </a:r>
            <a:r>
              <a:rPr kumimoji="1" lang="en-US" altLang="ja-JP" sz="1200" baseline="40000" dirty="0">
                <a:solidFill>
                  <a:schemeClr val="tx1"/>
                </a:solidFill>
                <a:latin typeface="Yu Gothic UI" panose="020B0500000000000000" pitchFamily="50" charset="-128"/>
                <a:ea typeface="Yu Gothic UI" panose="020B0500000000000000" pitchFamily="50" charset="-128"/>
              </a:rPr>
              <a:t>1</a:t>
            </a:r>
            <a:r>
              <a:rPr kumimoji="1" lang="ja-JP" altLang="en-US" sz="1200" baseline="40000" dirty="0">
                <a:solidFill>
                  <a:schemeClr val="tx1"/>
                </a:solidFill>
                <a:latin typeface="Yu Gothic UI" panose="020B0500000000000000" pitchFamily="50" charset="-128"/>
                <a:ea typeface="Yu Gothic UI" panose="020B0500000000000000" pitchFamily="50" charset="-128"/>
              </a:rPr>
              <a:t>：</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628650" lvl="1" indent="-171450">
              <a:spcBef>
                <a:spcPts val="300"/>
              </a:spcBef>
              <a:buFont typeface="Wingdings" panose="05000000000000000000" pitchFamily="2" charset="2"/>
              <a:buChar char="Ø"/>
            </a:pPr>
            <a:r>
              <a:rPr kumimoji="1" lang="en-US" altLang="ja-JP" sz="1200" dirty="0">
                <a:solidFill>
                  <a:schemeClr val="tx1"/>
                </a:solidFill>
                <a:latin typeface="Yu Gothic UI" panose="020B0500000000000000" pitchFamily="50" charset="-128"/>
                <a:ea typeface="Yu Gothic UI" panose="020B0500000000000000" pitchFamily="50" charset="-128"/>
              </a:rPr>
              <a:t>FA</a:t>
            </a:r>
            <a:r>
              <a:rPr kumimoji="1" lang="ja-JP" altLang="en-US" sz="1200" dirty="0">
                <a:solidFill>
                  <a:schemeClr val="tx1"/>
                </a:solidFill>
                <a:latin typeface="Yu Gothic UI" panose="020B0500000000000000" pitchFamily="50" charset="-128"/>
                <a:ea typeface="Yu Gothic UI" panose="020B0500000000000000" pitchFamily="50" charset="-128"/>
              </a:rPr>
              <a:t>サイトでサービスを提供しているインフラ環境は、宣伝部提供の環境を利用しているが、</a:t>
            </a:r>
            <a:r>
              <a:rPr kumimoji="1" lang="en-US" altLang="ja-JP" sz="1200" dirty="0">
                <a:solidFill>
                  <a:schemeClr val="tx1"/>
                </a:solidFill>
                <a:latin typeface="Yu Gothic UI" panose="020B0500000000000000" pitchFamily="50" charset="-128"/>
                <a:ea typeface="Yu Gothic UI" panose="020B0500000000000000" pitchFamily="50" charset="-128"/>
              </a:rPr>
              <a:t>OS</a:t>
            </a:r>
            <a:r>
              <a:rPr kumimoji="1" lang="ja-JP" altLang="en-US" sz="1200" dirty="0">
                <a:solidFill>
                  <a:schemeClr val="tx1"/>
                </a:solidFill>
                <a:latin typeface="Yu Gothic UI" panose="020B0500000000000000" pitchFamily="50" charset="-128"/>
                <a:ea typeface="Yu Gothic UI" panose="020B0500000000000000" pitchFamily="50" charset="-128"/>
              </a:rPr>
              <a:t>のサポート終了期間を基準として、順次提供サービスの変更・終了を予定しているため、今後</a:t>
            </a:r>
            <a:r>
              <a:rPr kumimoji="1" lang="en-US" altLang="ja-JP" sz="1200" dirty="0">
                <a:solidFill>
                  <a:schemeClr val="tx1"/>
                </a:solidFill>
                <a:latin typeface="Yu Gothic UI" panose="020B0500000000000000" pitchFamily="50" charset="-128"/>
                <a:ea typeface="Yu Gothic UI" panose="020B0500000000000000" pitchFamily="50" charset="-128"/>
              </a:rPr>
              <a:t>FA</a:t>
            </a:r>
            <a:r>
              <a:rPr kumimoji="1" lang="ja-JP" altLang="en-US" sz="1200" dirty="0">
                <a:solidFill>
                  <a:schemeClr val="tx1"/>
                </a:solidFill>
                <a:latin typeface="Yu Gothic UI" panose="020B0500000000000000" pitchFamily="50" charset="-128"/>
                <a:ea typeface="Yu Gothic UI" panose="020B0500000000000000" pitchFamily="50" charset="-128"/>
              </a:rPr>
              <a:t>本で独自のインフラ環境構築が必要となっている。</a:t>
            </a:r>
            <a:endParaRPr kumimoji="1" lang="en-US" altLang="ja-JP" sz="1200" dirty="0">
              <a:solidFill>
                <a:schemeClr val="tx1"/>
              </a:solidFill>
              <a:latin typeface="Yu Gothic UI" panose="020B0500000000000000" pitchFamily="50" charset="-128"/>
              <a:ea typeface="Yu Gothic UI" panose="020B0500000000000000" pitchFamily="50" charset="-128"/>
            </a:endParaRPr>
          </a:p>
          <a:p>
            <a:pPr marL="628650" lvl="1" indent="-171450">
              <a:spcBef>
                <a:spcPts val="300"/>
              </a:spcBef>
              <a:buFont typeface="Wingdings" panose="05000000000000000000" pitchFamily="2" charset="2"/>
              <a:buChar char="Ø"/>
            </a:pPr>
            <a:r>
              <a:rPr kumimoji="1" lang="ja-JP" altLang="en-US" sz="1200" dirty="0">
                <a:solidFill>
                  <a:schemeClr val="tx1"/>
                </a:solidFill>
                <a:latin typeface="Yu Gothic UI" panose="020B0500000000000000" pitchFamily="50" charset="-128"/>
                <a:ea typeface="Yu Gothic UI" panose="020B0500000000000000" pitchFamily="50" charset="-128"/>
              </a:rPr>
              <a:t>そのため、本提案による保守運用は</a:t>
            </a:r>
            <a:r>
              <a:rPr kumimoji="1" lang="en-US" altLang="ja-JP" sz="1200" dirty="0">
                <a:solidFill>
                  <a:schemeClr val="tx1"/>
                </a:solidFill>
                <a:latin typeface="Yu Gothic UI" panose="020B0500000000000000" pitchFamily="50" charset="-128"/>
                <a:ea typeface="Yu Gothic UI" panose="020B0500000000000000" pitchFamily="50" charset="-128"/>
              </a:rPr>
              <a:t>29</a:t>
            </a:r>
            <a:r>
              <a:rPr kumimoji="1" lang="ja-JP" altLang="en-US" sz="1200" dirty="0">
                <a:solidFill>
                  <a:schemeClr val="tx1"/>
                </a:solidFill>
                <a:latin typeface="Yu Gothic UI" panose="020B0500000000000000" pitchFamily="50" charset="-128"/>
                <a:ea typeface="Yu Gothic UI" panose="020B0500000000000000" pitchFamily="50" charset="-128"/>
              </a:rPr>
              <a:t>年</a:t>
            </a:r>
            <a:r>
              <a:rPr kumimoji="1" lang="en-US" altLang="ja-JP" sz="1200" dirty="0">
                <a:solidFill>
                  <a:schemeClr val="tx1"/>
                </a:solidFill>
                <a:latin typeface="Yu Gothic UI" panose="020B0500000000000000" pitchFamily="50" charset="-128"/>
                <a:ea typeface="Yu Gothic UI" panose="020B0500000000000000" pitchFamily="50" charset="-128"/>
              </a:rPr>
              <a:t>2</a:t>
            </a:r>
            <a:r>
              <a:rPr kumimoji="1" lang="ja-JP" altLang="en-US" sz="1200" dirty="0">
                <a:solidFill>
                  <a:schemeClr val="tx1"/>
                </a:solidFill>
                <a:latin typeface="Yu Gothic UI" panose="020B0500000000000000" pitchFamily="50" charset="-128"/>
                <a:ea typeface="Yu Gothic UI" panose="020B0500000000000000" pitchFamily="50" charset="-128"/>
              </a:rPr>
              <a:t>月にいったん終了とし、その後の新環境構築後の保守運用についてはインフラ環境構築時に再検討予定</a:t>
            </a:r>
            <a:endParaRPr kumimoji="1"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092DD07F-6062-B1B6-EA3C-A51002C631D8}"/>
              </a:ext>
            </a:extLst>
          </p:cNvPr>
          <p:cNvSpPr/>
          <p:nvPr/>
        </p:nvSpPr>
        <p:spPr>
          <a:xfrm>
            <a:off x="1504874" y="4027295"/>
            <a:ext cx="1067977" cy="1311611"/>
          </a:xfrm>
          <a:prstGeom prst="rect">
            <a:avLst/>
          </a:prstGeom>
          <a:solidFill>
            <a:schemeClr val="bg2">
              <a:lumMod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400" dirty="0">
                <a:solidFill>
                  <a:schemeClr val="bg1"/>
                </a:solidFill>
                <a:latin typeface="Yu Gothic UI" panose="020B0500000000000000" pitchFamily="50" charset="-128"/>
                <a:ea typeface="Yu Gothic UI" panose="020B0500000000000000" pitchFamily="50" charset="-128"/>
              </a:rPr>
              <a:t>前提</a:t>
            </a:r>
          </a:p>
        </p:txBody>
      </p:sp>
    </p:spTree>
    <p:extLst>
      <p:ext uri="{BB962C8B-B14F-4D97-AF65-F5344CB8AC3E}">
        <p14:creationId xmlns:p14="http://schemas.microsoft.com/office/powerpoint/2010/main" val="3170858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73ABCA9-0154-5DDB-AD06-3FCD3E553E8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8" imgH="499" progId="TCLayout.ActiveDocument.1">
                  <p:embed/>
                </p:oleObj>
              </mc:Choice>
              <mc:Fallback>
                <p:oleObj name="think-cell スライド" r:id="rId3" imgW="498" imgH="499" progId="TCLayout.ActiveDocument.1">
                  <p:embed/>
                  <p:pic>
                    <p:nvPicPr>
                      <p:cNvPr id="5" name="think-cell data - do not delete" hidden="1">
                        <a:extLst>
                          <a:ext uri="{FF2B5EF4-FFF2-40B4-BE49-F238E27FC236}">
                            <a16:creationId xmlns:a16="http://schemas.microsoft.com/office/drawing/2014/main" id="{073ABCA9-0154-5DDB-AD06-3FCD3E553E8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301BE45-9F3B-45ED-4027-994784200763}"/>
              </a:ext>
            </a:extLst>
          </p:cNvPr>
          <p:cNvSpPr>
            <a:spLocks noGrp="1"/>
          </p:cNvSpPr>
          <p:nvPr>
            <p:ph type="sldNum" sz="quarter" idx="11"/>
          </p:nvPr>
        </p:nvSpPr>
        <p:spPr>
          <a:xfrm>
            <a:off x="106015" y="6654007"/>
            <a:ext cx="144270" cy="115416"/>
          </a:xfrm>
        </p:spPr>
        <p:txBody>
          <a:bodyPr/>
          <a:lstStyle/>
          <a:p>
            <a:fld id="{AA5FCFE5-FE56-4EF1-80A8-07776887C2A1}" type="slidenum">
              <a:rPr lang="ja-JP" altLang="en-US" smtClean="0">
                <a:solidFill>
                  <a:prstClr val="black"/>
                </a:solidFill>
              </a:rPr>
              <a:pPr/>
              <a:t>6</a:t>
            </a:fld>
            <a:endParaRPr lang="ja-JP" altLang="en-US">
              <a:solidFill>
                <a:prstClr val="black"/>
              </a:solidFill>
            </a:endParaRPr>
          </a:p>
        </p:txBody>
      </p:sp>
      <p:sp>
        <p:nvSpPr>
          <p:cNvPr id="3" name="Text Placeholder 2">
            <a:extLst>
              <a:ext uri="{FF2B5EF4-FFF2-40B4-BE49-F238E27FC236}">
                <a16:creationId xmlns:a16="http://schemas.microsoft.com/office/drawing/2014/main" id="{813D7EB6-141D-AA9E-8247-C3103954F655}"/>
              </a:ext>
            </a:extLst>
          </p:cNvPr>
          <p:cNvSpPr>
            <a:spLocks noGrp="1"/>
          </p:cNvSpPr>
          <p:nvPr>
            <p:ph type="body" sz="quarter" idx="15"/>
          </p:nvPr>
        </p:nvSpPr>
        <p:spPr>
          <a:xfrm>
            <a:off x="839971" y="830747"/>
            <a:ext cx="10421587" cy="631498"/>
          </a:xfrm>
        </p:spPr>
        <p:txBody>
          <a:bodyPr>
            <a:normAutofit/>
          </a:bodyPr>
          <a:lstStyle/>
          <a:p>
            <a:r>
              <a:rPr lang="ja-JP" altLang="ja-JP" sz="1200" b="0" i="0" u="none" strike="noStrike" dirty="0">
                <a:solidFill>
                  <a:srgbClr val="000000"/>
                </a:solidFill>
                <a:effectLst/>
                <a:latin typeface="+mn-ea"/>
                <a:ea typeface="+mn-ea"/>
              </a:rPr>
              <a:t>三菱電機</a:t>
            </a:r>
            <a:r>
              <a:rPr lang="en-US" altLang="ja-JP" sz="1200" b="0" i="0" u="none" strike="noStrike" dirty="0">
                <a:solidFill>
                  <a:srgbClr val="000000"/>
                </a:solidFill>
                <a:effectLst/>
                <a:latin typeface="+mn-ea"/>
                <a:ea typeface="+mn-ea"/>
              </a:rPr>
              <a:t>FA</a:t>
            </a:r>
            <a:r>
              <a:rPr lang="ja-JP" altLang="ja-JP" sz="1200" b="0" i="0" u="none" strike="noStrike" dirty="0">
                <a:solidFill>
                  <a:srgbClr val="000000"/>
                </a:solidFill>
                <a:effectLst/>
                <a:latin typeface="+mn-ea"/>
                <a:ea typeface="+mn-ea"/>
              </a:rPr>
              <a:t>システム事業本部ならびに関連海外販社が管理・運営する国内</a:t>
            </a:r>
            <a:r>
              <a:rPr lang="en-US" altLang="ja-JP" sz="1200" b="0" i="0" u="none" strike="noStrike" dirty="0">
                <a:solidFill>
                  <a:srgbClr val="000000"/>
                </a:solidFill>
                <a:effectLst/>
                <a:latin typeface="+mn-ea"/>
                <a:ea typeface="+mn-ea"/>
              </a:rPr>
              <a:t>FA</a:t>
            </a:r>
            <a:r>
              <a:rPr lang="ja-JP" altLang="ja-JP" sz="1200" b="0" i="0" u="none" strike="noStrike" dirty="0">
                <a:solidFill>
                  <a:srgbClr val="000000"/>
                </a:solidFill>
                <a:effectLst/>
                <a:latin typeface="+mn-ea"/>
                <a:ea typeface="+mn-ea"/>
              </a:rPr>
              <a:t>サイト・グローバル</a:t>
            </a:r>
            <a:r>
              <a:rPr lang="en-US" altLang="ja-JP" sz="1200" b="0" i="0" u="none" strike="noStrike" dirty="0">
                <a:solidFill>
                  <a:srgbClr val="000000"/>
                </a:solidFill>
                <a:effectLst/>
                <a:latin typeface="+mn-ea"/>
                <a:ea typeface="+mn-ea"/>
              </a:rPr>
              <a:t>FA</a:t>
            </a:r>
            <a:r>
              <a:rPr lang="ja-JP" altLang="ja-JP" sz="1200" b="0" i="0" u="none" strike="noStrike" dirty="0">
                <a:solidFill>
                  <a:srgbClr val="000000"/>
                </a:solidFill>
                <a:effectLst/>
                <a:latin typeface="+mn-ea"/>
                <a:ea typeface="+mn-ea"/>
              </a:rPr>
              <a:t>サイト・海外販社サイト周辺システムの</a:t>
            </a:r>
            <a:r>
              <a:rPr lang="ja-JP" altLang="en-US" sz="1200" b="0" i="0" u="none" strike="noStrike" dirty="0">
                <a:solidFill>
                  <a:srgbClr val="000000"/>
                </a:solidFill>
                <a:effectLst/>
                <a:latin typeface="+mn-ea"/>
                <a:ea typeface="+mn-ea"/>
              </a:rPr>
              <a:t>保守</a:t>
            </a:r>
            <a:r>
              <a:rPr lang="ja-JP" altLang="ja-JP" sz="1200" b="0" i="0" u="none" strike="noStrike" dirty="0">
                <a:solidFill>
                  <a:srgbClr val="000000"/>
                </a:solidFill>
                <a:effectLst/>
                <a:latin typeface="+mn-ea"/>
                <a:ea typeface="+mn-ea"/>
              </a:rPr>
              <a:t>運用</a:t>
            </a:r>
            <a:r>
              <a:rPr lang="ja-JP" altLang="en-US" sz="1200" b="0" i="0" u="none" strike="noStrike" dirty="0">
                <a:solidFill>
                  <a:srgbClr val="000000"/>
                </a:solidFill>
                <a:effectLst/>
                <a:latin typeface="+mn-ea"/>
                <a:ea typeface="+mn-ea"/>
              </a:rPr>
              <a:t>業務</a:t>
            </a:r>
            <a:r>
              <a:rPr lang="ja-JP" altLang="ja-JP" sz="1200" b="0" i="0" u="none" strike="noStrike" dirty="0">
                <a:solidFill>
                  <a:srgbClr val="000000"/>
                </a:solidFill>
                <a:effectLst/>
                <a:latin typeface="+mn-ea"/>
                <a:ea typeface="+mn-ea"/>
              </a:rPr>
              <a:t>に</a:t>
            </a:r>
            <a:r>
              <a:rPr lang="ja-JP" altLang="en-US" dirty="0">
                <a:solidFill>
                  <a:srgbClr val="000000"/>
                </a:solidFill>
                <a:latin typeface="+mn-ea"/>
                <a:ea typeface="+mn-ea"/>
              </a:rPr>
              <a:t>関する対応ベンダの</a:t>
            </a:r>
            <a:r>
              <a:rPr lang="ja-JP" altLang="en-US" sz="1200" b="0" i="0" u="none" strike="noStrike" dirty="0">
                <a:solidFill>
                  <a:srgbClr val="000000"/>
                </a:solidFill>
                <a:effectLst/>
                <a:latin typeface="+mn-ea"/>
                <a:ea typeface="+mn-ea"/>
              </a:rPr>
              <a:t>変更を行う</a:t>
            </a:r>
            <a:endParaRPr lang="en-US" altLang="ja-JP" sz="1200" b="0" i="0" u="none" strike="noStrike" dirty="0">
              <a:solidFill>
                <a:srgbClr val="000000"/>
              </a:solidFill>
              <a:effectLst/>
              <a:latin typeface="+mn-ea"/>
              <a:ea typeface="+mn-ea"/>
            </a:endParaRPr>
          </a:p>
        </p:txBody>
      </p:sp>
      <p:sp>
        <p:nvSpPr>
          <p:cNvPr id="4" name="Title 3">
            <a:extLst>
              <a:ext uri="{FF2B5EF4-FFF2-40B4-BE49-F238E27FC236}">
                <a16:creationId xmlns:a16="http://schemas.microsoft.com/office/drawing/2014/main" id="{2A023C86-E281-6E25-64A2-9304738700D6}"/>
              </a:ext>
            </a:extLst>
          </p:cNvPr>
          <p:cNvSpPr>
            <a:spLocks noGrp="1"/>
          </p:cNvSpPr>
          <p:nvPr>
            <p:ph type="title"/>
          </p:nvPr>
        </p:nvSpPr>
        <p:spPr>
          <a:xfrm>
            <a:off x="513232" y="76640"/>
            <a:ext cx="11165539" cy="597356"/>
          </a:xfrm>
        </p:spPr>
        <p:txBody>
          <a:bodyPr vert="horz" anchor="ctr"/>
          <a:lstStyle/>
          <a:p>
            <a:r>
              <a:rPr lang="en-US" altLang="ja-JP" dirty="0">
                <a:latin typeface="+mn-ea"/>
                <a:ea typeface="+mn-ea"/>
              </a:rPr>
              <a:t>2-2.</a:t>
            </a:r>
            <a:r>
              <a:rPr lang="ja-JP" altLang="en-US" dirty="0">
                <a:latin typeface="+mn-ea"/>
                <a:ea typeface="+mn-ea"/>
              </a:rPr>
              <a:t>プロジェクトスコープ</a:t>
            </a:r>
            <a:endParaRPr lang="en-US" dirty="0">
              <a:latin typeface="+mn-ea"/>
              <a:ea typeface="+mn-ea"/>
            </a:endParaRPr>
          </a:p>
        </p:txBody>
      </p:sp>
      <p:grpSp>
        <p:nvGrpSpPr>
          <p:cNvPr id="6" name="グループ化 5">
            <a:extLst>
              <a:ext uri="{FF2B5EF4-FFF2-40B4-BE49-F238E27FC236}">
                <a16:creationId xmlns:a16="http://schemas.microsoft.com/office/drawing/2014/main" id="{2A0965D8-E30C-7487-BDAB-18EE06DDC8B0}"/>
              </a:ext>
            </a:extLst>
          </p:cNvPr>
          <p:cNvGrpSpPr/>
          <p:nvPr/>
        </p:nvGrpSpPr>
        <p:grpSpPr>
          <a:xfrm>
            <a:off x="1990546" y="1336696"/>
            <a:ext cx="8085050" cy="3708481"/>
            <a:chOff x="530347" y="1506818"/>
            <a:chExt cx="8085050" cy="3858976"/>
          </a:xfrm>
        </p:grpSpPr>
        <p:sp>
          <p:nvSpPr>
            <p:cNvPr id="7" name="Rectangle 6">
              <a:extLst>
                <a:ext uri="{FF2B5EF4-FFF2-40B4-BE49-F238E27FC236}">
                  <a16:creationId xmlns:a16="http://schemas.microsoft.com/office/drawing/2014/main" id="{0F372AEC-7DC1-B5DF-AA8B-FFDD9D41E394}"/>
                </a:ext>
              </a:extLst>
            </p:cNvPr>
            <p:cNvSpPr/>
            <p:nvPr/>
          </p:nvSpPr>
          <p:spPr bwMode="gray">
            <a:xfrm>
              <a:off x="2257238" y="1506818"/>
              <a:ext cx="6333066" cy="327759"/>
            </a:xfrm>
            <a:prstGeom prst="rect">
              <a:avLst/>
            </a:prstGeom>
            <a:solidFill>
              <a:schemeClr val="tx1">
                <a:lumMod val="85000"/>
                <a:lumOff val="1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en-US" altLang="ja-JP" sz="1200" dirty="0">
                  <a:solidFill>
                    <a:schemeClr val="bg1"/>
                  </a:solidFill>
                  <a:latin typeface="Yu Gothic UI" panose="020B0500000000000000" pitchFamily="50" charset="-128"/>
                  <a:ea typeface="Yu Gothic UI" panose="020B0500000000000000" pitchFamily="50" charset="-128"/>
                </a:rPr>
                <a:t>FA</a:t>
              </a:r>
              <a:r>
                <a:rPr lang="ja-JP" altLang="en-US" sz="1200" dirty="0">
                  <a:solidFill>
                    <a:schemeClr val="bg1"/>
                  </a:solidFill>
                  <a:latin typeface="Yu Gothic UI" panose="020B0500000000000000" pitchFamily="50" charset="-128"/>
                  <a:ea typeface="Yu Gothic UI" panose="020B0500000000000000" pitchFamily="50" charset="-128"/>
                </a:rPr>
                <a:t>サイト運用保守</a:t>
              </a:r>
              <a:endParaRPr lang="en-US" sz="1200" dirty="0">
                <a:solidFill>
                  <a:schemeClr val="bg1"/>
                </a:solidFill>
                <a:latin typeface="Yu Gothic UI" panose="020B0500000000000000" pitchFamily="50" charset="-128"/>
                <a:ea typeface="Yu Gothic UI" panose="020B0500000000000000" pitchFamily="50" charset="-128"/>
              </a:endParaRPr>
            </a:p>
          </p:txBody>
        </p:sp>
        <p:sp>
          <p:nvSpPr>
            <p:cNvPr id="10" name="Rectangle 9">
              <a:extLst>
                <a:ext uri="{FF2B5EF4-FFF2-40B4-BE49-F238E27FC236}">
                  <a16:creationId xmlns:a16="http://schemas.microsoft.com/office/drawing/2014/main" id="{2F3AFBAF-9CE0-3193-2938-4D3F2AA99DD3}"/>
                </a:ext>
              </a:extLst>
            </p:cNvPr>
            <p:cNvSpPr/>
            <p:nvPr/>
          </p:nvSpPr>
          <p:spPr bwMode="gray">
            <a:xfrm>
              <a:off x="538813" y="1908510"/>
              <a:ext cx="1566334" cy="584200"/>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ja-JP" altLang="en-US" sz="1200" dirty="0">
                  <a:latin typeface="Yu Gothic UI" panose="020B0500000000000000" pitchFamily="50" charset="-128"/>
                  <a:ea typeface="Yu Gothic UI" panose="020B0500000000000000" pitchFamily="50" charset="-128"/>
                </a:rPr>
                <a:t>対象範囲</a:t>
              </a:r>
              <a:endParaRPr lang="en-US" sz="1200" dirty="0">
                <a:latin typeface="Yu Gothic UI" panose="020B0500000000000000" pitchFamily="50" charset="-128"/>
                <a:ea typeface="Yu Gothic UI" panose="020B0500000000000000" pitchFamily="50" charset="-128"/>
              </a:endParaRPr>
            </a:p>
          </p:txBody>
        </p:sp>
        <p:sp>
          <p:nvSpPr>
            <p:cNvPr id="11" name="Rectangle 10">
              <a:extLst>
                <a:ext uri="{FF2B5EF4-FFF2-40B4-BE49-F238E27FC236}">
                  <a16:creationId xmlns:a16="http://schemas.microsoft.com/office/drawing/2014/main" id="{32FD59A6-7B67-7057-FC0A-0C3C56E98B8C}"/>
                </a:ext>
              </a:extLst>
            </p:cNvPr>
            <p:cNvSpPr/>
            <p:nvPr/>
          </p:nvSpPr>
          <p:spPr bwMode="gray">
            <a:xfrm>
              <a:off x="2248772" y="1908510"/>
              <a:ext cx="6350000" cy="584200"/>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defTabSz="914400">
                <a:spcBef>
                  <a:spcPts val="300"/>
                </a:spcBef>
                <a:defRPr/>
              </a:pPr>
              <a:r>
                <a:rPr kumimoji="1" lang="en-US" altLang="ja-JP" sz="1200" dirty="0">
                  <a:solidFill>
                    <a:srgbClr val="000000"/>
                  </a:solidFill>
                  <a:latin typeface="Yu Gothic UI" panose="020B0500000000000000" pitchFamily="50" charset="-128"/>
                  <a:ea typeface="Yu Gothic UI" panose="020B0500000000000000" pitchFamily="50" charset="-128"/>
                </a:rPr>
                <a:t>FA</a:t>
              </a:r>
              <a:r>
                <a:rPr kumimoji="1" lang="ja-JP" altLang="en-US" sz="1200" dirty="0">
                  <a:solidFill>
                    <a:srgbClr val="000000"/>
                  </a:solidFill>
                  <a:latin typeface="Yu Gothic UI" panose="020B0500000000000000" pitchFamily="50" charset="-128"/>
                  <a:ea typeface="Yu Gothic UI" panose="020B0500000000000000" pitchFamily="50" charset="-128"/>
                </a:rPr>
                <a:t>サイト、グローバルサイト、及び周辺社内システム</a:t>
              </a:r>
            </a:p>
          </p:txBody>
        </p:sp>
        <p:sp>
          <p:nvSpPr>
            <p:cNvPr id="17" name="Rectangle 16">
              <a:extLst>
                <a:ext uri="{FF2B5EF4-FFF2-40B4-BE49-F238E27FC236}">
                  <a16:creationId xmlns:a16="http://schemas.microsoft.com/office/drawing/2014/main" id="{ACB6D34A-40C1-0E4E-4E16-3858320D7746}"/>
                </a:ext>
              </a:extLst>
            </p:cNvPr>
            <p:cNvSpPr/>
            <p:nvPr/>
          </p:nvSpPr>
          <p:spPr bwMode="gray">
            <a:xfrm>
              <a:off x="530347" y="4135982"/>
              <a:ext cx="1566334" cy="561914"/>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ja-JP" altLang="en-US" sz="1200" dirty="0">
                  <a:latin typeface="Yu Gothic UI" panose="020B0500000000000000" pitchFamily="50" charset="-128"/>
                  <a:ea typeface="Yu Gothic UI" panose="020B0500000000000000" pitchFamily="50" charset="-128"/>
                </a:rPr>
                <a:t>対象システム</a:t>
              </a:r>
              <a:endParaRPr lang="en-US" sz="1200" dirty="0">
                <a:latin typeface="Yu Gothic UI" panose="020B0500000000000000" pitchFamily="50" charset="-128"/>
                <a:ea typeface="Yu Gothic UI" panose="020B0500000000000000" pitchFamily="50" charset="-128"/>
              </a:endParaRPr>
            </a:p>
          </p:txBody>
        </p:sp>
        <p:sp>
          <p:nvSpPr>
            <p:cNvPr id="18" name="Rectangle 17">
              <a:extLst>
                <a:ext uri="{FF2B5EF4-FFF2-40B4-BE49-F238E27FC236}">
                  <a16:creationId xmlns:a16="http://schemas.microsoft.com/office/drawing/2014/main" id="{0CA39239-2BF1-4C54-3B6F-AFF6C9E088F4}"/>
                </a:ext>
              </a:extLst>
            </p:cNvPr>
            <p:cNvSpPr/>
            <p:nvPr/>
          </p:nvSpPr>
          <p:spPr bwMode="gray">
            <a:xfrm>
              <a:off x="2248771" y="4135985"/>
              <a:ext cx="6366626" cy="561914"/>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kumimoji="1" lang="ja-JP" altLang="en-US" sz="1200" dirty="0">
                  <a:solidFill>
                    <a:srgbClr val="000000"/>
                  </a:solidFill>
                  <a:latin typeface="Yu Gothic UI" panose="020B0500000000000000" pitchFamily="50" charset="-128"/>
                  <a:ea typeface="Yu Gothic UI" panose="020B0500000000000000" pitchFamily="50" charset="-128"/>
                </a:rPr>
                <a:t>別紙資料「</a:t>
              </a:r>
              <a:r>
                <a:rPr kumimoji="1" lang="en-US" altLang="ja-JP" sz="1200" dirty="0">
                  <a:solidFill>
                    <a:srgbClr val="000000"/>
                  </a:solidFill>
                  <a:latin typeface="Yu Gothic UI" panose="020B0500000000000000" pitchFamily="50" charset="-128"/>
                  <a:ea typeface="Yu Gothic UI" panose="020B0500000000000000" pitchFamily="50" charset="-128"/>
                </a:rPr>
                <a:t>10_FA</a:t>
              </a:r>
              <a:r>
                <a:rPr kumimoji="1" lang="ja-JP" altLang="en-US" sz="1200" dirty="0">
                  <a:solidFill>
                    <a:srgbClr val="000000"/>
                  </a:solidFill>
                  <a:latin typeface="Yu Gothic UI" panose="020B0500000000000000" pitchFamily="50" charset="-128"/>
                  <a:ea typeface="Yu Gothic UI" panose="020B0500000000000000" pitchFamily="50" charset="-128"/>
                </a:rPr>
                <a:t>サイト</a:t>
              </a:r>
              <a:r>
                <a:rPr kumimoji="1" lang="en-US" altLang="ja-JP" sz="1200" dirty="0">
                  <a:solidFill>
                    <a:srgbClr val="000000"/>
                  </a:solidFill>
                  <a:latin typeface="Yu Gothic UI" panose="020B0500000000000000" pitchFamily="50" charset="-128"/>
                  <a:ea typeface="Yu Gothic UI" panose="020B0500000000000000" pitchFamily="50" charset="-128"/>
                </a:rPr>
                <a:t>_</a:t>
              </a:r>
              <a:r>
                <a:rPr kumimoji="1" lang="ja-JP" altLang="en-US" sz="1200" dirty="0">
                  <a:solidFill>
                    <a:srgbClr val="000000"/>
                  </a:solidFill>
                  <a:latin typeface="Yu Gothic UI" panose="020B0500000000000000" pitchFamily="50" charset="-128"/>
                  <a:ea typeface="Yu Gothic UI" panose="020B0500000000000000" pitchFamily="50" charset="-128"/>
                </a:rPr>
                <a:t>ネットワーク・システム構成図</a:t>
              </a:r>
              <a:r>
                <a:rPr kumimoji="1" lang="en-US" altLang="ja-JP" sz="1200" dirty="0">
                  <a:solidFill>
                    <a:srgbClr val="000000"/>
                  </a:solidFill>
                  <a:latin typeface="Yu Gothic UI" panose="020B0500000000000000" pitchFamily="50" charset="-128"/>
                  <a:ea typeface="Yu Gothic UI" panose="020B0500000000000000" pitchFamily="50" charset="-128"/>
                </a:rPr>
                <a:t>.xlsx</a:t>
              </a:r>
              <a:r>
                <a:rPr kumimoji="1" lang="ja-JP" altLang="en-US" sz="1200" dirty="0">
                  <a:solidFill>
                    <a:srgbClr val="000000"/>
                  </a:solidFill>
                  <a:latin typeface="Yu Gothic UI" panose="020B0500000000000000" pitchFamily="50" charset="-128"/>
                  <a:ea typeface="Yu Gothic UI" panose="020B0500000000000000" pitchFamily="50" charset="-128"/>
                </a:rPr>
                <a:t>」参照</a:t>
              </a:r>
              <a:endParaRPr kumimoji="1" lang="en-US" altLang="ja-JP" sz="1200" dirty="0">
                <a:solidFill>
                  <a:srgbClr val="000000"/>
                </a:solidFill>
                <a:latin typeface="Yu Gothic UI" panose="020B0500000000000000" pitchFamily="50" charset="-128"/>
                <a:ea typeface="Yu Gothic UI" panose="020B0500000000000000" pitchFamily="50" charset="-128"/>
              </a:endParaRPr>
            </a:p>
          </p:txBody>
        </p:sp>
        <p:sp>
          <p:nvSpPr>
            <p:cNvPr id="21" name="Rectangle 20">
              <a:extLst>
                <a:ext uri="{FF2B5EF4-FFF2-40B4-BE49-F238E27FC236}">
                  <a16:creationId xmlns:a16="http://schemas.microsoft.com/office/drawing/2014/main" id="{89397081-B907-EC96-AC39-B5870107069A}"/>
                </a:ext>
              </a:extLst>
            </p:cNvPr>
            <p:cNvSpPr/>
            <p:nvPr/>
          </p:nvSpPr>
          <p:spPr bwMode="gray">
            <a:xfrm>
              <a:off x="538813" y="3217908"/>
              <a:ext cx="1566334" cy="824140"/>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ja-JP" altLang="en-US" sz="1200" dirty="0">
                  <a:latin typeface="Yu Gothic UI" panose="020B0500000000000000" pitchFamily="50" charset="-128"/>
                  <a:ea typeface="Yu Gothic UI" panose="020B0500000000000000" pitchFamily="50" charset="-128"/>
                </a:rPr>
                <a:t>業務範囲</a:t>
              </a:r>
            </a:p>
          </p:txBody>
        </p:sp>
        <p:sp>
          <p:nvSpPr>
            <p:cNvPr id="22" name="Rectangle 21">
              <a:extLst>
                <a:ext uri="{FF2B5EF4-FFF2-40B4-BE49-F238E27FC236}">
                  <a16:creationId xmlns:a16="http://schemas.microsoft.com/office/drawing/2014/main" id="{D43181CB-3DFA-665D-198C-4EBCC7A91008}"/>
                </a:ext>
              </a:extLst>
            </p:cNvPr>
            <p:cNvSpPr/>
            <p:nvPr/>
          </p:nvSpPr>
          <p:spPr bwMode="gray">
            <a:xfrm>
              <a:off x="2257237" y="3217908"/>
              <a:ext cx="6341533" cy="824140"/>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defTabSz="914400">
                <a:spcBef>
                  <a:spcPts val="300"/>
                </a:spcBef>
                <a:defRPr/>
              </a:pPr>
              <a:r>
                <a:rPr kumimoji="1" lang="en-US" altLang="ja-JP" sz="1200" dirty="0">
                  <a:solidFill>
                    <a:srgbClr val="000000"/>
                  </a:solidFill>
                  <a:latin typeface="Yu Gothic UI" panose="020B0500000000000000" pitchFamily="50" charset="-128"/>
                  <a:ea typeface="Yu Gothic UI" panose="020B0500000000000000" pitchFamily="50" charset="-128"/>
                </a:rPr>
                <a:t>Web</a:t>
              </a:r>
              <a:r>
                <a:rPr kumimoji="1" lang="ja-JP" altLang="en-US" sz="1200" dirty="0">
                  <a:solidFill>
                    <a:srgbClr val="000000"/>
                  </a:solidFill>
                  <a:latin typeface="Yu Gothic UI" panose="020B0500000000000000" pitchFamily="50" charset="-128"/>
                  <a:ea typeface="Yu Gothic UI" panose="020B0500000000000000" pitchFamily="50" charset="-128"/>
                </a:rPr>
                <a:t>サイト、アプリケーションシステム、</a:t>
              </a:r>
              <a:endParaRPr kumimoji="1" lang="en-US" altLang="ja-JP" sz="1200" dirty="0">
                <a:solidFill>
                  <a:srgbClr val="000000"/>
                </a:solidFill>
                <a:latin typeface="Yu Gothic UI" panose="020B0500000000000000" pitchFamily="50" charset="-128"/>
                <a:ea typeface="Yu Gothic UI" panose="020B0500000000000000" pitchFamily="50" charset="-128"/>
              </a:endParaRPr>
            </a:p>
            <a:p>
              <a:pPr algn="ctr" defTabSz="914400">
                <a:spcBef>
                  <a:spcPts val="300"/>
                </a:spcBef>
                <a:defRPr/>
              </a:pPr>
              <a:r>
                <a:rPr kumimoji="1" lang="ja-JP" altLang="en-US" sz="1200" dirty="0">
                  <a:solidFill>
                    <a:srgbClr val="000000"/>
                  </a:solidFill>
                  <a:latin typeface="Yu Gothic UI" panose="020B0500000000000000" pitchFamily="50" charset="-128"/>
                  <a:ea typeface="Yu Gothic UI" panose="020B0500000000000000" pitchFamily="50" charset="-128"/>
                </a:rPr>
                <a:t>インフラ環境の保守運用</a:t>
              </a:r>
              <a:endParaRPr kumimoji="1" lang="en-US" altLang="ja-JP" sz="1200" dirty="0">
                <a:solidFill>
                  <a:srgbClr val="000000"/>
                </a:solidFill>
                <a:latin typeface="Yu Gothic UI" panose="020B0500000000000000" pitchFamily="50" charset="-128"/>
                <a:ea typeface="Yu Gothic UI" panose="020B0500000000000000" pitchFamily="50" charset="-128"/>
              </a:endParaRPr>
            </a:p>
            <a:p>
              <a:pPr algn="ctr" defTabSz="914400">
                <a:spcBef>
                  <a:spcPts val="300"/>
                </a:spcBef>
                <a:defRPr/>
              </a:pPr>
              <a:r>
                <a:rPr kumimoji="1" lang="ja-JP" altLang="en-US" sz="1200" dirty="0">
                  <a:solidFill>
                    <a:srgbClr val="000000"/>
                  </a:solidFill>
                  <a:latin typeface="Yu Gothic UI" panose="020B0500000000000000" pitchFamily="50" charset="-128"/>
                  <a:ea typeface="Yu Gothic UI" panose="020B0500000000000000" pitchFamily="50" charset="-128"/>
                </a:rPr>
                <a:t>（詳細は「</a:t>
              </a:r>
              <a:r>
                <a:rPr kumimoji="1" lang="en-US" altLang="ja-JP" sz="1200" dirty="0">
                  <a:solidFill>
                    <a:srgbClr val="000000"/>
                  </a:solidFill>
                  <a:latin typeface="Yu Gothic UI" panose="020B0500000000000000" pitchFamily="50" charset="-128"/>
                  <a:ea typeface="Yu Gothic UI" panose="020B0500000000000000" pitchFamily="50" charset="-128"/>
                </a:rPr>
                <a:t>2-2.</a:t>
              </a:r>
              <a:r>
                <a:rPr kumimoji="1" lang="ja-JP" altLang="en-US" sz="1200" dirty="0">
                  <a:solidFill>
                    <a:srgbClr val="000000"/>
                  </a:solidFill>
                  <a:latin typeface="Yu Gothic UI" panose="020B0500000000000000" pitchFamily="50" charset="-128"/>
                  <a:ea typeface="Yu Gothic UI" panose="020B0500000000000000" pitchFamily="50" charset="-128"/>
                </a:rPr>
                <a:t>プロジェクトスコープ</a:t>
              </a:r>
              <a:r>
                <a:rPr kumimoji="1" lang="en-US" altLang="ja-JP" sz="1200" dirty="0">
                  <a:solidFill>
                    <a:srgbClr val="000000"/>
                  </a:solidFill>
                  <a:latin typeface="Yu Gothic UI" panose="020B0500000000000000" pitchFamily="50" charset="-128"/>
                  <a:ea typeface="Yu Gothic UI" panose="020B0500000000000000" pitchFamily="50" charset="-128"/>
                </a:rPr>
                <a:t>&gt; </a:t>
              </a:r>
              <a:r>
                <a:rPr kumimoji="1" lang="ja-JP" altLang="en-US" sz="1200" dirty="0">
                  <a:solidFill>
                    <a:srgbClr val="000000"/>
                  </a:solidFill>
                  <a:latin typeface="Yu Gothic UI" panose="020B0500000000000000" pitchFamily="50" charset="-128"/>
                  <a:ea typeface="Yu Gothic UI" panose="020B0500000000000000" pitchFamily="50" charset="-128"/>
                </a:rPr>
                <a:t>システムスコープ</a:t>
              </a:r>
              <a:r>
                <a:rPr kumimoji="1" lang="en-US" altLang="ja-JP" sz="1200" dirty="0">
                  <a:solidFill>
                    <a:srgbClr val="000000"/>
                  </a:solidFill>
                  <a:latin typeface="Yu Gothic UI" panose="020B0500000000000000" pitchFamily="50" charset="-128"/>
                  <a:ea typeface="Yu Gothic UI" panose="020B0500000000000000" pitchFamily="50" charset="-128"/>
                </a:rPr>
                <a:t>(</a:t>
              </a:r>
              <a:r>
                <a:rPr kumimoji="1" lang="ja-JP" altLang="en-US" sz="1200" dirty="0">
                  <a:solidFill>
                    <a:srgbClr val="000000"/>
                  </a:solidFill>
                  <a:latin typeface="Yu Gothic UI" panose="020B0500000000000000" pitchFamily="50" charset="-128"/>
                  <a:ea typeface="Yu Gothic UI" panose="020B0500000000000000" pitchFamily="50" charset="-128"/>
                </a:rPr>
                <a:t>運用保守業務内容</a:t>
              </a:r>
              <a:r>
                <a:rPr kumimoji="1" lang="en-US" altLang="ja-JP" sz="1200" dirty="0">
                  <a:solidFill>
                    <a:srgbClr val="000000"/>
                  </a:solidFill>
                  <a:latin typeface="Yu Gothic UI" panose="020B0500000000000000" pitchFamily="50" charset="-128"/>
                  <a:ea typeface="Yu Gothic UI" panose="020B0500000000000000" pitchFamily="50" charset="-128"/>
                </a:rPr>
                <a:t>)</a:t>
              </a:r>
              <a:r>
                <a:rPr kumimoji="1" lang="ja-JP" altLang="en-US" sz="1200" dirty="0">
                  <a:solidFill>
                    <a:srgbClr val="000000"/>
                  </a:solidFill>
                  <a:latin typeface="Yu Gothic UI" panose="020B0500000000000000" pitchFamily="50" charset="-128"/>
                  <a:ea typeface="Yu Gothic UI" panose="020B0500000000000000" pitchFamily="50" charset="-128"/>
                </a:rPr>
                <a:t>」ページ参照）</a:t>
              </a:r>
            </a:p>
          </p:txBody>
        </p:sp>
        <p:sp>
          <p:nvSpPr>
            <p:cNvPr id="25" name="Rectangle 24">
              <a:extLst>
                <a:ext uri="{FF2B5EF4-FFF2-40B4-BE49-F238E27FC236}">
                  <a16:creationId xmlns:a16="http://schemas.microsoft.com/office/drawing/2014/main" id="{6079C35A-F2AC-FE9E-24C9-8953BB86F331}"/>
                </a:ext>
              </a:extLst>
            </p:cNvPr>
            <p:cNvSpPr/>
            <p:nvPr/>
          </p:nvSpPr>
          <p:spPr bwMode="gray">
            <a:xfrm>
              <a:off x="538813" y="2566643"/>
              <a:ext cx="1566334" cy="584200"/>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ja-JP" altLang="en-US" sz="1200" dirty="0">
                  <a:latin typeface="Yu Gothic UI" panose="020B0500000000000000" pitchFamily="50" charset="-128"/>
                  <a:ea typeface="Yu Gothic UI" panose="020B0500000000000000" pitchFamily="50" charset="-128"/>
                </a:rPr>
                <a:t>対象エリア</a:t>
              </a:r>
              <a:endParaRPr lang="en-US" sz="1200" dirty="0">
                <a:latin typeface="Yu Gothic UI" panose="020B0500000000000000" pitchFamily="50" charset="-128"/>
                <a:ea typeface="Yu Gothic UI" panose="020B0500000000000000" pitchFamily="50" charset="-128"/>
              </a:endParaRPr>
            </a:p>
          </p:txBody>
        </p:sp>
        <p:sp>
          <p:nvSpPr>
            <p:cNvPr id="26" name="Rectangle 25">
              <a:extLst>
                <a:ext uri="{FF2B5EF4-FFF2-40B4-BE49-F238E27FC236}">
                  <a16:creationId xmlns:a16="http://schemas.microsoft.com/office/drawing/2014/main" id="{B142AAC4-7B09-DFB8-0207-2AAA86FC830A}"/>
                </a:ext>
              </a:extLst>
            </p:cNvPr>
            <p:cNvSpPr/>
            <p:nvPr/>
          </p:nvSpPr>
          <p:spPr bwMode="gray">
            <a:xfrm>
              <a:off x="2257238" y="2566643"/>
              <a:ext cx="6341534" cy="584200"/>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defTabSz="914400">
                <a:spcBef>
                  <a:spcPts val="300"/>
                </a:spcBef>
                <a:defRPr/>
              </a:pPr>
              <a:r>
                <a:rPr kumimoji="1" lang="en-US" altLang="ja-JP" sz="1200" dirty="0">
                  <a:solidFill>
                    <a:srgbClr val="000000"/>
                  </a:solidFill>
                  <a:latin typeface="Yu Gothic UI" panose="020B0500000000000000" pitchFamily="50" charset="-128"/>
                  <a:ea typeface="Yu Gothic UI" panose="020B0500000000000000" pitchFamily="50" charset="-128"/>
                </a:rPr>
                <a:t>FA</a:t>
              </a:r>
              <a:r>
                <a:rPr kumimoji="1" lang="ja-JP" altLang="en-US" sz="1200" dirty="0">
                  <a:solidFill>
                    <a:srgbClr val="000000"/>
                  </a:solidFill>
                  <a:latin typeface="Yu Gothic UI" panose="020B0500000000000000" pitchFamily="50" charset="-128"/>
                  <a:ea typeface="Yu Gothic UI" panose="020B0500000000000000" pitchFamily="50" charset="-128"/>
                </a:rPr>
                <a:t>システム事業本部の管轄地域（国内／グローバル（海外販社含む））</a:t>
              </a:r>
            </a:p>
          </p:txBody>
        </p:sp>
        <p:sp>
          <p:nvSpPr>
            <p:cNvPr id="29" name="Rectangle 28">
              <a:extLst>
                <a:ext uri="{FF2B5EF4-FFF2-40B4-BE49-F238E27FC236}">
                  <a16:creationId xmlns:a16="http://schemas.microsoft.com/office/drawing/2014/main" id="{0F9521DE-F481-325A-2064-171327914D2A}"/>
                </a:ext>
              </a:extLst>
            </p:cNvPr>
            <p:cNvSpPr/>
            <p:nvPr/>
          </p:nvSpPr>
          <p:spPr bwMode="gray">
            <a:xfrm>
              <a:off x="530347" y="4781594"/>
              <a:ext cx="1566334" cy="584200"/>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ja-JP" altLang="en-US" sz="1200" dirty="0">
                  <a:latin typeface="Yu Gothic UI" panose="020B0500000000000000" pitchFamily="50" charset="-128"/>
                  <a:ea typeface="Yu Gothic UI" panose="020B0500000000000000" pitchFamily="50" charset="-128"/>
                </a:rPr>
                <a:t>想定ユーザ</a:t>
              </a:r>
              <a:endParaRPr lang="en-US" altLang="ja-JP" sz="1200" dirty="0">
                <a:latin typeface="Yu Gothic UI" panose="020B0500000000000000" pitchFamily="50" charset="-128"/>
                <a:ea typeface="Yu Gothic UI" panose="020B0500000000000000" pitchFamily="50" charset="-128"/>
              </a:endParaRPr>
            </a:p>
            <a:p>
              <a:pPr algn="ctr">
                <a:spcBef>
                  <a:spcPts val="300"/>
                </a:spcBef>
              </a:pPr>
              <a:r>
                <a:rPr lang="ja-JP" altLang="en-US" sz="1200" dirty="0">
                  <a:latin typeface="Yu Gothic UI" panose="020B0500000000000000" pitchFamily="50" charset="-128"/>
                  <a:ea typeface="Yu Gothic UI" panose="020B0500000000000000" pitchFamily="50" charset="-128"/>
                </a:rPr>
                <a:t>（対象部門）</a:t>
              </a:r>
              <a:endParaRPr lang="en-US" sz="1200" dirty="0">
                <a:latin typeface="Yu Gothic UI" panose="020B0500000000000000" pitchFamily="50" charset="-128"/>
                <a:ea typeface="Yu Gothic UI" panose="020B0500000000000000" pitchFamily="50" charset="-128"/>
              </a:endParaRPr>
            </a:p>
          </p:txBody>
        </p:sp>
        <p:sp>
          <p:nvSpPr>
            <p:cNvPr id="30" name="Rectangle 29">
              <a:extLst>
                <a:ext uri="{FF2B5EF4-FFF2-40B4-BE49-F238E27FC236}">
                  <a16:creationId xmlns:a16="http://schemas.microsoft.com/office/drawing/2014/main" id="{9BE51B0D-A6B6-D113-6427-339EE9E5CDF8}"/>
                </a:ext>
              </a:extLst>
            </p:cNvPr>
            <p:cNvSpPr/>
            <p:nvPr/>
          </p:nvSpPr>
          <p:spPr bwMode="gray">
            <a:xfrm>
              <a:off x="2257239" y="4781594"/>
              <a:ext cx="6341532" cy="584200"/>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defTabSz="914400">
                <a:spcBef>
                  <a:spcPts val="300"/>
                </a:spcBef>
                <a:defRPr/>
              </a:pPr>
              <a:r>
                <a:rPr kumimoji="1" lang="ja-JP" altLang="en-US" sz="1200">
                  <a:solidFill>
                    <a:srgbClr val="000000"/>
                  </a:solidFill>
                  <a:latin typeface="Yu Gothic UI" panose="020B0500000000000000" pitchFamily="50" charset="-128"/>
                  <a:ea typeface="Yu Gothic UI" panose="020B0500000000000000" pitchFamily="50" charset="-128"/>
                </a:rPr>
                <a:t>次ページ参照</a:t>
              </a:r>
            </a:p>
          </p:txBody>
        </p:sp>
      </p:grpSp>
      <p:sp>
        <p:nvSpPr>
          <p:cNvPr id="9" name="Rectangle 28">
            <a:extLst>
              <a:ext uri="{FF2B5EF4-FFF2-40B4-BE49-F238E27FC236}">
                <a16:creationId xmlns:a16="http://schemas.microsoft.com/office/drawing/2014/main" id="{7F2BDF19-5324-E09E-9D13-84C203F16873}"/>
              </a:ext>
            </a:extLst>
          </p:cNvPr>
          <p:cNvSpPr/>
          <p:nvPr/>
        </p:nvSpPr>
        <p:spPr bwMode="gray">
          <a:xfrm>
            <a:off x="1990546" y="5130661"/>
            <a:ext cx="1566334" cy="669936"/>
          </a:xfrm>
          <a:prstGeom prst="rect">
            <a:avLst/>
          </a:prstGeom>
          <a:solidFill>
            <a:schemeClr val="bg1">
              <a:lumMod val="65000"/>
            </a:schemeClr>
          </a:solidFill>
          <a:ln w="12700" algn="ctr">
            <a:solidFill>
              <a:schemeClr val="bg1">
                <a:lumMod val="75000"/>
              </a:schemeClr>
            </a:solidFill>
            <a:miter lim="800000"/>
            <a:headEnd/>
            <a:tailEnd/>
          </a:ln>
        </p:spPr>
        <p:txBody>
          <a:bodyPr wrap="none" lIns="72000" tIns="36000" rIns="72000" bIns="36000" rtlCol="0" anchor="ctr"/>
          <a:lstStyle/>
          <a:p>
            <a:pPr algn="ctr">
              <a:spcBef>
                <a:spcPts val="300"/>
              </a:spcBef>
            </a:pPr>
            <a:r>
              <a:rPr lang="en-US" altLang="ja-JP" sz="1200" dirty="0">
                <a:latin typeface="Yu Gothic UI" panose="020B0500000000000000" pitchFamily="50" charset="-128"/>
                <a:ea typeface="Yu Gothic UI" panose="020B0500000000000000" pitchFamily="50" charset="-128"/>
              </a:rPr>
              <a:t>SLA</a:t>
            </a:r>
            <a:r>
              <a:rPr lang="ja-JP" altLang="en-US" sz="1200" dirty="0">
                <a:latin typeface="Yu Gothic UI" panose="020B0500000000000000" pitchFamily="50" charset="-128"/>
                <a:ea typeface="Yu Gothic UI" panose="020B0500000000000000" pitchFamily="50" charset="-128"/>
              </a:rPr>
              <a:t>範囲</a:t>
            </a:r>
          </a:p>
        </p:txBody>
      </p:sp>
      <p:sp>
        <p:nvSpPr>
          <p:cNvPr id="12" name="Rectangle 29">
            <a:extLst>
              <a:ext uri="{FF2B5EF4-FFF2-40B4-BE49-F238E27FC236}">
                <a16:creationId xmlns:a16="http://schemas.microsoft.com/office/drawing/2014/main" id="{8F60E555-BD7C-A50E-BA61-FA5176ABD796}"/>
              </a:ext>
            </a:extLst>
          </p:cNvPr>
          <p:cNvSpPr/>
          <p:nvPr/>
        </p:nvSpPr>
        <p:spPr bwMode="gray">
          <a:xfrm>
            <a:off x="3717437" y="5130661"/>
            <a:ext cx="6358159" cy="669936"/>
          </a:xfrm>
          <a:prstGeom prst="rect">
            <a:avLst/>
          </a:prstGeom>
          <a:solidFill>
            <a:schemeClr val="bg1"/>
          </a:solidFill>
          <a:ln w="12700" algn="ctr">
            <a:solidFill>
              <a:schemeClr val="bg1">
                <a:lumMod val="75000"/>
              </a:schemeClr>
            </a:solidFill>
            <a:miter lim="800000"/>
            <a:headEnd/>
            <a:tailEnd/>
          </a:ln>
        </p:spPr>
        <p:txBody>
          <a:bodyPr wrap="none" lIns="72000" tIns="36000" rIns="72000" bIns="36000" rtlCol="0" anchor="ctr"/>
          <a:lstStyle/>
          <a:p>
            <a:pPr algn="ctr"/>
            <a:r>
              <a:rPr kumimoji="1" lang="ja-JP" altLang="en-US" sz="1200" b="0" dirty="0">
                <a:solidFill>
                  <a:schemeClr val="tx1"/>
                </a:solidFill>
              </a:rPr>
              <a:t>三菱電機ユーザ</a:t>
            </a:r>
            <a:r>
              <a:rPr kumimoji="1" lang="en-US" altLang="ja-JP" sz="1200" b="0" dirty="0">
                <a:solidFill>
                  <a:schemeClr val="tx1"/>
                </a:solidFill>
              </a:rPr>
              <a:t>(</a:t>
            </a:r>
            <a:r>
              <a:rPr kumimoji="1" lang="ja-JP" altLang="en-US" sz="1200" b="0" dirty="0">
                <a:solidFill>
                  <a:schemeClr val="tx1"/>
                </a:solidFill>
              </a:rPr>
              <a:t>ヘルプデスク経由</a:t>
            </a:r>
            <a:r>
              <a:rPr kumimoji="1" lang="en-US" altLang="ja-JP" sz="1200" b="0" dirty="0">
                <a:solidFill>
                  <a:schemeClr val="tx1"/>
                </a:solidFill>
              </a:rPr>
              <a:t>)</a:t>
            </a:r>
            <a:r>
              <a:rPr kumimoji="1" lang="ja-JP" altLang="en-US" sz="1200" b="0" dirty="0">
                <a:solidFill>
                  <a:schemeClr val="tx1"/>
                </a:solidFill>
              </a:rPr>
              <a:t>、関連システム対応は弊社営業日カレンダーの平日</a:t>
            </a:r>
            <a:endParaRPr kumimoji="1" lang="en-US" altLang="ja-JP" sz="1200" b="0" dirty="0">
              <a:solidFill>
                <a:schemeClr val="tx1"/>
              </a:solidFill>
            </a:endParaRPr>
          </a:p>
          <a:p>
            <a:pPr algn="ctr"/>
            <a:r>
              <a:rPr kumimoji="1" lang="en-US" altLang="ja-JP" sz="1200" b="0" dirty="0">
                <a:solidFill>
                  <a:schemeClr val="tx1"/>
                </a:solidFill>
              </a:rPr>
              <a:t>(</a:t>
            </a:r>
            <a:r>
              <a:rPr kumimoji="1" lang="ja-JP" altLang="en-US" sz="1200" b="0" dirty="0">
                <a:solidFill>
                  <a:schemeClr val="tx1"/>
                </a:solidFill>
              </a:rPr>
              <a:t>早朝・深夜を除く、場合により休日対応有）</a:t>
            </a:r>
            <a:endParaRPr kumimoji="1" lang="ja-JP" altLang="en-US" sz="1200" b="0" i="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008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四角形: 角を丸くする 191">
            <a:extLst>
              <a:ext uri="{FF2B5EF4-FFF2-40B4-BE49-F238E27FC236}">
                <a16:creationId xmlns:a16="http://schemas.microsoft.com/office/drawing/2014/main" id="{40F656DB-D24A-E965-1841-127BBDBFED75}"/>
              </a:ext>
            </a:extLst>
          </p:cNvPr>
          <p:cNvSpPr/>
          <p:nvPr/>
        </p:nvSpPr>
        <p:spPr bwMode="gray">
          <a:xfrm>
            <a:off x="7285248" y="5754547"/>
            <a:ext cx="3137225" cy="471137"/>
          </a:xfrm>
          <a:prstGeom prst="roundRect">
            <a:avLst>
              <a:gd name="adj" fmla="val 14377"/>
            </a:avLst>
          </a:prstGeom>
          <a:solidFill>
            <a:srgbClr val="F2F2F2">
              <a:alpha val="80000"/>
            </a:srgbClr>
          </a:solid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900" dirty="0">
              <a:solidFill>
                <a:srgbClr val="000000"/>
              </a:solidFill>
              <a:latin typeface="Yu Gothic UI" panose="020B0500000000000000" pitchFamily="50" charset="-128"/>
              <a:ea typeface="Yu Gothic UI" panose="020B0500000000000000" pitchFamily="50" charset="-128"/>
            </a:endParaRPr>
          </a:p>
        </p:txBody>
      </p:sp>
      <p:sp>
        <p:nvSpPr>
          <p:cNvPr id="639" name="四角形: 角を丸くする 638">
            <a:extLst>
              <a:ext uri="{FF2B5EF4-FFF2-40B4-BE49-F238E27FC236}">
                <a16:creationId xmlns:a16="http://schemas.microsoft.com/office/drawing/2014/main" id="{2810AF73-ECD0-82CB-9AED-CAF0D7F32BEA}"/>
              </a:ext>
            </a:extLst>
          </p:cNvPr>
          <p:cNvSpPr/>
          <p:nvPr/>
        </p:nvSpPr>
        <p:spPr bwMode="gray">
          <a:xfrm>
            <a:off x="1767053" y="5754547"/>
            <a:ext cx="5378675" cy="471137"/>
          </a:xfrm>
          <a:prstGeom prst="roundRect">
            <a:avLst/>
          </a:prstGeom>
          <a:solidFill>
            <a:srgbClr val="F2F2F2">
              <a:alpha val="80000"/>
            </a:srgbClr>
          </a:solid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900" dirty="0">
              <a:solidFill>
                <a:srgbClr val="000000"/>
              </a:solidFill>
              <a:latin typeface="Yu Gothic UI" panose="020B0500000000000000" pitchFamily="50" charset="-128"/>
              <a:ea typeface="Yu Gothic UI" panose="020B0500000000000000" pitchFamily="50" charset="-128"/>
            </a:endParaRPr>
          </a:p>
        </p:txBody>
      </p:sp>
      <p:sp>
        <p:nvSpPr>
          <p:cNvPr id="605" name="正方形/長方形 604">
            <a:extLst>
              <a:ext uri="{FF2B5EF4-FFF2-40B4-BE49-F238E27FC236}">
                <a16:creationId xmlns:a16="http://schemas.microsoft.com/office/drawing/2014/main" id="{E0333B7C-003C-39E1-FB3D-64AE4047B1A9}"/>
              </a:ext>
            </a:extLst>
          </p:cNvPr>
          <p:cNvSpPr/>
          <p:nvPr/>
        </p:nvSpPr>
        <p:spPr>
          <a:xfrm>
            <a:off x="7285250" y="997973"/>
            <a:ext cx="3137225" cy="187370"/>
          </a:xfrm>
          <a:prstGeom prst="rect">
            <a:avLst/>
          </a:prstGeom>
          <a:solidFill>
            <a:schemeClr val="tx1">
              <a:lumMod val="75000"/>
              <a:lumOff val="2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ja-JP" altLang="en-US" sz="1000" b="1" dirty="0">
                <a:solidFill>
                  <a:srgbClr val="FFFFFF"/>
                </a:solidFill>
                <a:latin typeface="Yu Gothic UI" panose="020B0500000000000000" pitchFamily="50" charset="-128"/>
                <a:ea typeface="Yu Gothic UI" panose="020B0500000000000000" pitchFamily="50" charset="-128"/>
              </a:rPr>
              <a:t>海外</a:t>
            </a:r>
            <a:endParaRPr kumimoji="1" lang="ja-JP" altLang="en-US" sz="1000" b="1" dirty="0">
              <a:solidFill>
                <a:srgbClr val="FFFFFF"/>
              </a:solidFill>
              <a:latin typeface="Yu Gothic UI" panose="020B0500000000000000" pitchFamily="50" charset="-128"/>
              <a:ea typeface="Yu Gothic UI" panose="020B0500000000000000" pitchFamily="50" charset="-128"/>
            </a:endParaRPr>
          </a:p>
        </p:txBody>
      </p:sp>
      <p:graphicFrame>
        <p:nvGraphicFramePr>
          <p:cNvPr id="3" name="表 12">
            <a:extLst>
              <a:ext uri="{FF2B5EF4-FFF2-40B4-BE49-F238E27FC236}">
                <a16:creationId xmlns:a16="http://schemas.microsoft.com/office/drawing/2014/main" id="{B392E740-0AD9-8824-548A-AA541413A281}"/>
              </a:ext>
            </a:extLst>
          </p:cNvPr>
          <p:cNvGraphicFramePr>
            <a:graphicFrameLocks noGrp="1"/>
          </p:cNvGraphicFramePr>
          <p:nvPr>
            <p:extLst>
              <p:ext uri="{D42A27DB-BD31-4B8C-83A1-F6EECF244321}">
                <p14:modId xmlns:p14="http://schemas.microsoft.com/office/powerpoint/2010/main" val="2058969273"/>
              </p:ext>
            </p:extLst>
          </p:nvPr>
        </p:nvGraphicFramePr>
        <p:xfrm>
          <a:off x="7287919" y="1523853"/>
          <a:ext cx="3137225" cy="3493548"/>
        </p:xfrm>
        <a:graphic>
          <a:graphicData uri="http://schemas.openxmlformats.org/drawingml/2006/table">
            <a:tbl>
              <a:tblPr firstCol="1">
                <a:tableStyleId>{073A0DAA-6AF3-43AB-8588-CEC1D06C72B9}</a:tableStyleId>
              </a:tblPr>
              <a:tblGrid>
                <a:gridCol w="522552">
                  <a:extLst>
                    <a:ext uri="{9D8B030D-6E8A-4147-A177-3AD203B41FA5}">
                      <a16:colId xmlns:a16="http://schemas.microsoft.com/office/drawing/2014/main" val="3656540836"/>
                    </a:ext>
                  </a:extLst>
                </a:gridCol>
                <a:gridCol w="2042521">
                  <a:extLst>
                    <a:ext uri="{9D8B030D-6E8A-4147-A177-3AD203B41FA5}">
                      <a16:colId xmlns:a16="http://schemas.microsoft.com/office/drawing/2014/main" val="2537403809"/>
                    </a:ext>
                  </a:extLst>
                </a:gridCol>
                <a:gridCol w="572152">
                  <a:extLst>
                    <a:ext uri="{9D8B030D-6E8A-4147-A177-3AD203B41FA5}">
                      <a16:colId xmlns:a16="http://schemas.microsoft.com/office/drawing/2014/main" val="2688082004"/>
                    </a:ext>
                  </a:extLst>
                </a:gridCol>
              </a:tblGrid>
              <a:tr h="206852">
                <a:tc gridSpan="3">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販売会社現地法人 </a:t>
                      </a:r>
                      <a:r>
                        <a:rPr kumimoji="1" lang="en-US" altLang="ja-JP" sz="800" b="0" dirty="0">
                          <a:solidFill>
                            <a:schemeClr val="tx1"/>
                          </a:solidFill>
                          <a:latin typeface="Yu Gothic UI" panose="020B0500000000000000" pitchFamily="50" charset="-128"/>
                          <a:ea typeface="Yu Gothic UI" panose="020B0500000000000000" pitchFamily="50" charset="-128"/>
                        </a:rPr>
                        <a:t>(OSO</a:t>
                      </a:r>
                      <a:r>
                        <a:rPr kumimoji="1" lang="ja-JP" altLang="en-US" sz="800" b="0" dirty="0">
                          <a:solidFill>
                            <a:schemeClr val="tx1"/>
                          </a:solidFill>
                          <a:latin typeface="Yu Gothic UI" panose="020B0500000000000000" pitchFamily="50" charset="-128"/>
                          <a:ea typeface="Yu Gothic UI" panose="020B0500000000000000" pitchFamily="50" charset="-128"/>
                        </a:rPr>
                        <a:t>*</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ysDot"/>
                      <a:round/>
                      <a:headEnd type="none" w="med" len="med"/>
                      <a:tailEnd type="none" w="med" len="med"/>
                    </a:lnB>
                    <a:solidFill>
                      <a:srgbClr val="F3DDE6"/>
                    </a:solidFill>
                  </a:tcPr>
                </a:tc>
                <a:tc hMerge="1">
                  <a:txBody>
                    <a:bodyPr/>
                    <a:lstStyle/>
                    <a:p>
                      <a:pPr algn="ctr"/>
                      <a:endParaRPr kumimoji="1" lang="ja-JP" altLang="en-US" sz="800" b="1"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bg1">
                          <a:lumMod val="75000"/>
                        </a:schemeClr>
                      </a:solidFill>
                      <a:prstDash val="solid"/>
                      <a:round/>
                      <a:headEnd type="none" w="med" len="med"/>
                      <a:tailEnd type="none" w="med" len="med"/>
                    </a:lnL>
                    <a:lnB w="3175" cap="flat" cmpd="sng" algn="ctr">
                      <a:solidFill>
                        <a:schemeClr val="bg1"/>
                      </a:solidFill>
                      <a:prstDash val="sysDot"/>
                      <a:round/>
                      <a:headEnd type="none" w="med" len="med"/>
                      <a:tailEnd type="none" w="med" len="med"/>
                    </a:lnB>
                    <a:solidFill>
                      <a:srgbClr val="D9D9D9"/>
                    </a:solidFill>
                  </a:tcPr>
                </a:tc>
                <a:tc hMerge="1">
                  <a:txBody>
                    <a:bodyPr/>
                    <a:lstStyle/>
                    <a:p>
                      <a:pPr algn="ctr"/>
                      <a:endParaRPr kumimoji="1" lang="ja-JP" altLang="en-US"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30745633"/>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中国</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Automation China</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Yu Gothic UI" panose="020B0500000000000000" pitchFamily="50" charset="-128"/>
                          <a:ea typeface="Yu Gothic UI" panose="020B0500000000000000" pitchFamily="50" charset="-128"/>
                        </a:rPr>
                        <a:t>(MEACH</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677962875"/>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韓国</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Automation Korea</a:t>
                      </a:r>
                      <a:r>
                        <a:rPr kumimoji="0" lang="ja-JP" altLang="en-US"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AK</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99354162"/>
                  </a:ext>
                </a:extLst>
              </a:tr>
              <a:tr h="206852">
                <a:tc rowSpan="2">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台湾</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Taiwan Co., Ltd.</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TWN)</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073587417"/>
                  </a:ext>
                </a:extLst>
              </a:tr>
              <a:tr h="206852">
                <a:tc vMerge="1">
                  <a:txBody>
                    <a:bodyPr/>
                    <a:lstStyle/>
                    <a:p>
                      <a:pPr algn="ctr"/>
                      <a:endParaRPr kumimoji="1" lang="ja-JP" altLang="en-US"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85000"/>
                      </a:schemeClr>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Automation (Taiwan) Co., Ltd.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Yu Gothic UI" panose="020B0500000000000000" pitchFamily="50" charset="-128"/>
                          <a:ea typeface="Yu Gothic UI" panose="020B0500000000000000" pitchFamily="50" charset="-128"/>
                        </a:rPr>
                        <a:t>(MEA-TWN)</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768877628"/>
                  </a:ext>
                </a:extLst>
              </a:tr>
              <a:tr h="206852">
                <a:tc rowSpan="2">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タイ</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1" lang="en-US" altLang="ja-JP" sz="600" b="0" dirty="0">
                          <a:solidFill>
                            <a:schemeClr val="tx1"/>
                          </a:solidFill>
                          <a:latin typeface="Yu Gothic UI" panose="020B0500000000000000" pitchFamily="50" charset="-128"/>
                          <a:ea typeface="Yu Gothic UI" panose="020B0500000000000000" pitchFamily="50" charset="-128"/>
                        </a:rPr>
                        <a:t>Mitsubishi Electric Factory Automation (Thailand) </a:t>
                      </a:r>
                      <a:r>
                        <a:rPr kumimoji="1" lang="en-US" altLang="ja-JP" sz="600" b="0" dirty="0" err="1">
                          <a:solidFill>
                            <a:schemeClr val="tx1"/>
                          </a:solidFill>
                          <a:latin typeface="Yu Gothic UI" panose="020B0500000000000000" pitchFamily="50" charset="-128"/>
                          <a:ea typeface="Yu Gothic UI" panose="020B0500000000000000" pitchFamily="50" charset="-128"/>
                        </a:rPr>
                        <a:t>Co.,Ltd</a:t>
                      </a:r>
                      <a:r>
                        <a:rPr kumimoji="1" lang="en-US" altLang="ja-JP" sz="600" b="0" dirty="0">
                          <a:solidFill>
                            <a:schemeClr val="tx1"/>
                          </a:solidFill>
                          <a:latin typeface="Yu Gothic UI" panose="020B0500000000000000" pitchFamily="50" charset="-128"/>
                          <a:ea typeface="Yu Gothic UI" panose="020B0500000000000000" pitchFamily="50" charset="-128"/>
                        </a:rPr>
                        <a:t>.</a:t>
                      </a:r>
                      <a:endParaRPr kumimoji="1" lang="ja-JP" altLang="en-US" sz="6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LF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329974979"/>
                  </a:ext>
                </a:extLst>
              </a:tr>
              <a:tr h="206852">
                <a:tc vMerge="1">
                  <a:txBody>
                    <a:bodyPr/>
                    <a:lstStyle/>
                    <a:p>
                      <a:pPr algn="ctr"/>
                      <a:endParaRPr kumimoji="1" lang="ja-JP" altLang="en-US" sz="800" b="0" dirty="0">
                        <a:solidFill>
                          <a:schemeClr val="accent6">
                            <a:lumMod val="50000"/>
                          </a:schemeClr>
                        </a:solidFill>
                        <a:latin typeface="Yu Gothic UI" panose="020B0500000000000000" pitchFamily="50" charset="-128"/>
                        <a:ea typeface="Yu Gothic UI" panose="020B0500000000000000" pitchFamily="50" charset="-128"/>
                      </a:endParaRPr>
                    </a:p>
                  </a:txBody>
                  <a:tcPr marL="1800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pPr marL="0" algn="l" defTabSz="914400" rtl="0" eaLnBrk="1" latinLnBrk="0" hangingPunct="1"/>
                      <a:r>
                        <a:rPr kumimoji="1" lang="en-US" altLang="ja-JP" sz="700" b="0" kern="1200" dirty="0">
                          <a:solidFill>
                            <a:schemeClr val="tx1"/>
                          </a:solidFill>
                          <a:latin typeface="Yu Gothic UI" panose="020B0500000000000000" pitchFamily="50" charset="-128"/>
                          <a:ea typeface="Yu Gothic UI" panose="020B0500000000000000" pitchFamily="50" charset="-128"/>
                          <a:cs typeface="+mn-cs"/>
                        </a:rPr>
                        <a:t>Mitsubishi Electric Automation (Thailand) Co., Ltd.</a:t>
                      </a:r>
                      <a:endParaRPr kumimoji="1" lang="ja-JP" altLang="en-US" sz="700" b="0" kern="1200" dirty="0">
                        <a:solidFill>
                          <a:schemeClr val="tx1"/>
                        </a:solidFill>
                        <a:latin typeface="Yu Gothic UI" panose="020B0500000000000000" pitchFamily="50" charset="-128"/>
                        <a:ea typeface="Yu Gothic UI" panose="020B0500000000000000" pitchFamily="50" charset="-128"/>
                        <a:cs typeface="+mn-cs"/>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ATH)</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30835566"/>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シンガポール</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1" lang="en-US" altLang="ja-JP" sz="700" b="0" dirty="0">
                          <a:solidFill>
                            <a:schemeClr val="tx1"/>
                          </a:solidFill>
                          <a:latin typeface="Yu Gothic UI" panose="020B0500000000000000" pitchFamily="50" charset="-128"/>
                          <a:ea typeface="Yu Gothic UI" panose="020B0500000000000000" pitchFamily="50" charset="-128"/>
                        </a:rPr>
                        <a:t>Mitsubishi Electric Asia Pte. Ltd.</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AP</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284502728"/>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インドネシア</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a:t>
                      </a:r>
                      <a:r>
                        <a:rPr kumimoji="0" lang="ja-JP" altLang="en-US"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 </a:t>
                      </a:r>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Indonesia</a:t>
                      </a:r>
                      <a:r>
                        <a:rPr kumimoji="0" lang="ja-JP" altLang="en-US"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IN</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940900040"/>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マレーシア</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SALES MALAYSIA SDN. BHD.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SM</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493558691"/>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フィリピン</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ELCO Factory Automation Philippines Inc.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LAP</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623782058"/>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ベトナム</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Vietnam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a:solidFill>
                            <a:schemeClr val="tx1"/>
                          </a:solidFill>
                          <a:latin typeface="Yu Gothic UI" panose="020B0500000000000000" pitchFamily="50" charset="-128"/>
                          <a:ea typeface="Yu Gothic UI" panose="020B0500000000000000" pitchFamily="50" charset="-128"/>
                        </a:rPr>
                        <a:t>(MEVN</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450933606"/>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インド</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India Pvt. Ltd.</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I)</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1601597"/>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豪州</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Australia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a:solidFill>
                            <a:schemeClr val="tx1"/>
                          </a:solidFill>
                          <a:latin typeface="Yu Gothic UI" panose="020B0500000000000000" pitchFamily="50" charset="-128"/>
                          <a:ea typeface="Yu Gothic UI" panose="020B0500000000000000" pitchFamily="50" charset="-128"/>
                        </a:rPr>
                        <a:t>(ME-AUST</a:t>
                      </a:r>
                      <a:r>
                        <a:rPr kumimoji="1" lang="en-US" altLang="ja-JP" sz="800" b="0"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071785821"/>
                  </a:ext>
                </a:extLst>
              </a:tr>
              <a:tr h="183916">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北米</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Automation, Inc.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AU)</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997458413"/>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中南米</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F3DDE6"/>
                    </a:solidFill>
                  </a:tcPr>
                </a:tc>
                <a:tc>
                  <a:txBody>
                    <a:bodyPr/>
                    <a:lstStyle/>
                    <a:p>
                      <a:r>
                        <a:rPr kumimoji="0" lang="pt-BR"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Direitos autorais Mitsubishi Electric Corporation.</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B)</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965647890"/>
                  </a:ext>
                </a:extLst>
              </a:tr>
              <a:tr h="206852">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欧州</a:t>
                      </a:r>
                    </a:p>
                  </a:txBody>
                  <a:tcPr marL="18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F3DDE6"/>
                    </a:solidFill>
                  </a:tcPr>
                </a:tc>
                <a:tc>
                  <a:txBody>
                    <a:bodyPr/>
                    <a:lstStyle/>
                    <a:p>
                      <a:r>
                        <a:rPr kumimoji="0" lang="en-US" altLang="ja-JP" sz="70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Mitsubishi Electric Europe B.V. </a:t>
                      </a:r>
                      <a:endParaRPr kumimoji="1" lang="ja-JP" altLang="en-US" sz="7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3175" cap="flat" cmpd="sng" algn="ctr">
                      <a:solidFill>
                        <a:schemeClr val="bg1"/>
                      </a:solidFill>
                      <a:prstDash val="sysDot"/>
                      <a:round/>
                      <a:headEnd type="none" w="med" len="med"/>
                      <a:tailEnd type="none" w="med" len="med"/>
                    </a:lnL>
                    <a:lnR w="3175" cap="flat" cmpd="sng" algn="ctr">
                      <a:solidFill>
                        <a:schemeClr val="bg1"/>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r>
                        <a:rPr kumimoji="1" lang="en-US" altLang="ja-JP" sz="800" b="0" dirty="0">
                          <a:solidFill>
                            <a:schemeClr val="tx1"/>
                          </a:solidFill>
                          <a:latin typeface="Yu Gothic UI" panose="020B0500000000000000" pitchFamily="50" charset="-128"/>
                          <a:ea typeface="Yu Gothic UI" panose="020B0500000000000000" pitchFamily="50" charset="-128"/>
                        </a:rPr>
                        <a:t>(MEU</a:t>
                      </a:r>
                      <a:r>
                        <a:rPr kumimoji="1" lang="en-US" altLang="ja-JP" sz="800" b="1" dirty="0">
                          <a:solidFill>
                            <a:schemeClr val="tx1"/>
                          </a:solidFill>
                          <a:latin typeface="Yu Gothic UI" panose="020B0500000000000000" pitchFamily="50" charset="-128"/>
                          <a:ea typeface="Yu Gothic UI" panose="020B0500000000000000" pitchFamily="50" charset="-128"/>
                        </a:rPr>
                        <a:t>)</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18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79096884"/>
                  </a:ext>
                </a:extLst>
              </a:tr>
            </a:tbl>
          </a:graphicData>
        </a:graphic>
      </p:graphicFrame>
      <p:graphicFrame>
        <p:nvGraphicFramePr>
          <p:cNvPr id="5" name="オブジェクト 4" hidden="1">
            <a:extLst>
              <a:ext uri="{FF2B5EF4-FFF2-40B4-BE49-F238E27FC236}">
                <a16:creationId xmlns:a16="http://schemas.microsoft.com/office/drawing/2014/main" id="{226033A0-CBF4-619F-0F74-7DC308728E1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5" name="オブジェクト 4" hidden="1">
                        <a:extLst>
                          <a:ext uri="{FF2B5EF4-FFF2-40B4-BE49-F238E27FC236}">
                            <a16:creationId xmlns:a16="http://schemas.microsoft.com/office/drawing/2014/main" id="{226033A0-CBF4-619F-0F74-7DC308728E1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9CB3A071-FEAF-62D8-9A7A-D96A0FA06068}"/>
              </a:ext>
            </a:extLst>
          </p:cNvPr>
          <p:cNvSpPr>
            <a:spLocks noGrp="1"/>
          </p:cNvSpPr>
          <p:nvPr>
            <p:ph type="sldNum" sz="quarter" idx="11"/>
          </p:nvPr>
        </p:nvSpPr>
        <p:spPr>
          <a:xfrm>
            <a:off x="1642839" y="6654007"/>
            <a:ext cx="118622" cy="115416"/>
          </a:xfrm>
        </p:spPr>
        <p:txBody>
          <a:bodyPr/>
          <a:lstStyle/>
          <a:p>
            <a:pPr defTabSz="914400">
              <a:defRPr/>
            </a:pPr>
            <a:fld id="{AA5FCFE5-FE56-4EF1-80A8-07776887C2A1}" type="slidenum">
              <a:rPr kumimoji="0" lang="ja-JP" altLang="en-US" spc="0">
                <a:solidFill>
                  <a:prstClr val="black"/>
                </a:solidFill>
              </a:rPr>
              <a:pPr defTabSz="914400">
                <a:defRPr/>
              </a:pPr>
              <a:t>7</a:t>
            </a:fld>
            <a:endParaRPr kumimoji="0" lang="ja-JP" altLang="en-US" spc="0">
              <a:solidFill>
                <a:prstClr val="black"/>
              </a:solidFill>
            </a:endParaRPr>
          </a:p>
        </p:txBody>
      </p:sp>
      <p:sp>
        <p:nvSpPr>
          <p:cNvPr id="4" name="タイトル 3">
            <a:extLst>
              <a:ext uri="{FF2B5EF4-FFF2-40B4-BE49-F238E27FC236}">
                <a16:creationId xmlns:a16="http://schemas.microsoft.com/office/drawing/2014/main" id="{046B7107-F226-3A52-9640-F7F25B304304}"/>
              </a:ext>
            </a:extLst>
          </p:cNvPr>
          <p:cNvSpPr>
            <a:spLocks noGrp="1"/>
          </p:cNvSpPr>
          <p:nvPr>
            <p:ph type="title"/>
          </p:nvPr>
        </p:nvSpPr>
        <p:spPr>
          <a:xfrm>
            <a:off x="513232" y="76640"/>
            <a:ext cx="11165539" cy="597356"/>
          </a:xfrm>
        </p:spPr>
        <p:txBody>
          <a:bodyPr vert="horz">
            <a:normAutofit fontScale="90000"/>
          </a:bodyPr>
          <a:lstStyle/>
          <a:p>
            <a:pPr>
              <a:lnSpc>
                <a:spcPct val="100000"/>
              </a:lnSpc>
            </a:pPr>
            <a:r>
              <a:rPr lang="en-US" altLang="ja-JP" dirty="0">
                <a:latin typeface="+mn-ea"/>
                <a:ea typeface="+mn-ea"/>
              </a:rPr>
              <a:t>2-2.</a:t>
            </a:r>
            <a:r>
              <a:rPr lang="ja-JP" altLang="en-US" dirty="0">
                <a:latin typeface="+mn-ea"/>
                <a:ea typeface="+mn-ea"/>
              </a:rPr>
              <a:t>プロジェクトスコープ</a:t>
            </a:r>
            <a:r>
              <a:rPr lang="en-US" altLang="ja-JP" dirty="0">
                <a:latin typeface="+mn-ea"/>
                <a:ea typeface="+mn-ea"/>
              </a:rPr>
              <a:t> </a:t>
            </a:r>
            <a:r>
              <a:rPr kumimoji="1" lang="en-US" altLang="ja-JP" dirty="0">
                <a:latin typeface="+mn-ea"/>
                <a:ea typeface="+mn-ea"/>
              </a:rPr>
              <a:t>&gt;</a:t>
            </a:r>
            <a:br>
              <a:rPr kumimoji="1" lang="en-US" altLang="ja-JP" dirty="0">
                <a:latin typeface="+mn-ea"/>
                <a:ea typeface="+mn-ea"/>
              </a:rPr>
            </a:br>
            <a:r>
              <a:rPr kumimoji="1" lang="ja-JP" altLang="en-US" dirty="0">
                <a:latin typeface="+mn-ea"/>
                <a:ea typeface="+mn-ea"/>
              </a:rPr>
              <a:t>ビジネススコープ（</a:t>
            </a:r>
            <a:r>
              <a:rPr kumimoji="1" lang="en-US" altLang="ja-JP" dirty="0">
                <a:latin typeface="+mn-ea"/>
                <a:ea typeface="+mn-ea"/>
              </a:rPr>
              <a:t>FA</a:t>
            </a:r>
            <a:r>
              <a:rPr kumimoji="1" lang="ja-JP" altLang="en-US" dirty="0">
                <a:latin typeface="+mn-ea"/>
                <a:ea typeface="+mn-ea"/>
              </a:rPr>
              <a:t>本に関連する組織構成）</a:t>
            </a:r>
          </a:p>
        </p:txBody>
      </p:sp>
      <p:sp>
        <p:nvSpPr>
          <p:cNvPr id="198" name="正方形/長方形 197">
            <a:extLst>
              <a:ext uri="{FF2B5EF4-FFF2-40B4-BE49-F238E27FC236}">
                <a16:creationId xmlns:a16="http://schemas.microsoft.com/office/drawing/2014/main" id="{5862D255-37A4-1D91-017A-2595ED87BA7E}"/>
              </a:ext>
            </a:extLst>
          </p:cNvPr>
          <p:cNvSpPr/>
          <p:nvPr/>
        </p:nvSpPr>
        <p:spPr bwMode="gray">
          <a:xfrm>
            <a:off x="9301150" y="816284"/>
            <a:ext cx="1113011" cy="144408"/>
          </a:xfrm>
          <a:prstGeom prst="rect">
            <a:avLst/>
          </a:prstGeom>
          <a:solidFill>
            <a:srgbClr val="F3DDE6"/>
          </a:solidFill>
          <a:ln w="6350" algn="ctr">
            <a:solidFill>
              <a:srgbClr val="BBBCBC"/>
            </a:solidFill>
            <a:miter lim="800000"/>
            <a:headEnd/>
            <a:tailEnd/>
          </a:ln>
        </p:spPr>
        <p:txBody>
          <a:bodyPr wrap="none" lIns="72000" tIns="36000" rIns="72000" bIns="36000" rtlCol="0" anchor="ctr"/>
          <a:lstStyle/>
          <a:p>
            <a:pPr algn="ctr" defTabSz="914400">
              <a:spcBef>
                <a:spcPts val="300"/>
              </a:spcBef>
              <a:defRPr/>
            </a:pPr>
            <a:r>
              <a:rPr lang="ja-JP" altLang="en-US" sz="800" dirty="0">
                <a:solidFill>
                  <a:srgbClr val="000000"/>
                </a:solidFill>
                <a:latin typeface="Yu Gothic UI" panose="020B0500000000000000" pitchFamily="50" charset="-128"/>
                <a:ea typeface="Yu Gothic UI" panose="020B0500000000000000" pitchFamily="50" charset="-128"/>
              </a:rPr>
              <a:t>対象システム想定ユーザ</a:t>
            </a:r>
          </a:p>
        </p:txBody>
      </p:sp>
      <p:sp>
        <p:nvSpPr>
          <p:cNvPr id="432" name="テキスト ボックス 431">
            <a:extLst>
              <a:ext uri="{FF2B5EF4-FFF2-40B4-BE49-F238E27FC236}">
                <a16:creationId xmlns:a16="http://schemas.microsoft.com/office/drawing/2014/main" id="{E1ECE9B9-CFCE-D74B-3681-9E659E4AFDE8}"/>
              </a:ext>
            </a:extLst>
          </p:cNvPr>
          <p:cNvSpPr txBox="1"/>
          <p:nvPr/>
        </p:nvSpPr>
        <p:spPr>
          <a:xfrm>
            <a:off x="8479465" y="799749"/>
            <a:ext cx="821684" cy="187370"/>
          </a:xfrm>
          <a:prstGeom prst="rect">
            <a:avLst/>
          </a:prstGeom>
          <a:noFill/>
        </p:spPr>
        <p:txBody>
          <a:bodyPr wrap="square" lIns="36000" tIns="36000" rIns="36000" bIns="36000" rtlCol="0" anchor="ctr" anchorCtr="0">
            <a:spAutoFit/>
          </a:bodyPr>
          <a:lstStyle/>
          <a:p>
            <a:pPr algn="r" defTabSz="914400">
              <a:buSzPct val="100000"/>
              <a:defRPr/>
            </a:pPr>
            <a:r>
              <a:rPr lang="en-US" altLang="ja-JP" sz="700" dirty="0">
                <a:solidFill>
                  <a:srgbClr val="000000"/>
                </a:solidFill>
                <a:latin typeface="Yu Gothic UI" panose="020B0500000000000000" pitchFamily="50" charset="-128"/>
                <a:ea typeface="Yu Gothic UI" panose="020B0500000000000000" pitchFamily="50" charset="-128"/>
              </a:rPr>
              <a:t>※(</a:t>
            </a:r>
            <a:r>
              <a:rPr lang="ja-JP" altLang="en-US" sz="700" dirty="0">
                <a:solidFill>
                  <a:srgbClr val="000000"/>
                </a:solidFill>
                <a:latin typeface="Yu Gothic UI" panose="020B0500000000000000" pitchFamily="50" charset="-128"/>
                <a:ea typeface="Yu Gothic UI" panose="020B0500000000000000" pitchFamily="50" charset="-128"/>
              </a:rPr>
              <a:t> </a:t>
            </a:r>
            <a:r>
              <a:rPr lang="en-US" altLang="ja-JP" sz="700" dirty="0">
                <a:solidFill>
                  <a:srgbClr val="000000"/>
                </a:solidFill>
                <a:latin typeface="Yu Gothic UI" panose="020B0500000000000000" pitchFamily="50" charset="-128"/>
                <a:ea typeface="Yu Gothic UI" panose="020B0500000000000000" pitchFamily="50" charset="-128"/>
              </a:rPr>
              <a:t>)</a:t>
            </a:r>
            <a:r>
              <a:rPr lang="ja-JP" altLang="en-US" sz="700" dirty="0">
                <a:solidFill>
                  <a:srgbClr val="000000"/>
                </a:solidFill>
                <a:latin typeface="Yu Gothic UI" panose="020B0500000000000000" pitchFamily="50" charset="-128"/>
                <a:ea typeface="Yu Gothic UI" panose="020B0500000000000000" pitchFamily="50" charset="-128"/>
              </a:rPr>
              <a:t> 内は略称</a:t>
            </a:r>
            <a:endParaRPr lang="en-US" altLang="ja-JP" sz="700" dirty="0">
              <a:solidFill>
                <a:srgbClr val="000000"/>
              </a:solidFill>
              <a:latin typeface="Yu Gothic UI" panose="020B0500000000000000" pitchFamily="50" charset="-128"/>
              <a:ea typeface="Yu Gothic UI" panose="020B0500000000000000" pitchFamily="50" charset="-128"/>
            </a:endParaRPr>
          </a:p>
        </p:txBody>
      </p:sp>
      <p:sp>
        <p:nvSpPr>
          <p:cNvPr id="100" name="正方形/長方形 99">
            <a:extLst>
              <a:ext uri="{FF2B5EF4-FFF2-40B4-BE49-F238E27FC236}">
                <a16:creationId xmlns:a16="http://schemas.microsoft.com/office/drawing/2014/main" id="{315D5206-0CF6-37D9-295B-2DF31617F118}"/>
              </a:ext>
            </a:extLst>
          </p:cNvPr>
          <p:cNvSpPr/>
          <p:nvPr/>
        </p:nvSpPr>
        <p:spPr bwMode="gray">
          <a:xfrm>
            <a:off x="5103575" y="3569362"/>
            <a:ext cx="2056452"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FA</a:t>
            </a:r>
            <a:r>
              <a:rPr kumimoji="1" lang="ja-JP" altLang="en-US" sz="800" dirty="0">
                <a:solidFill>
                  <a:srgbClr val="000000"/>
                </a:solidFill>
                <a:latin typeface="Yu Gothic UI" panose="020B0500000000000000" pitchFamily="50" charset="-128"/>
                <a:ea typeface="Yu Gothic UI" panose="020B0500000000000000" pitchFamily="50" charset="-128"/>
              </a:rPr>
              <a:t>エンジニアリングサービスセンター </a:t>
            </a:r>
            <a:r>
              <a:rPr kumimoji="1" lang="en-US" altLang="ja-JP" sz="800" dirty="0">
                <a:solidFill>
                  <a:srgbClr val="000000"/>
                </a:solidFill>
                <a:latin typeface="Yu Gothic UI" panose="020B0500000000000000" pitchFamily="50" charset="-128"/>
                <a:ea typeface="Yu Gothic UI" panose="020B0500000000000000" pitchFamily="50" charset="-128"/>
              </a:rPr>
              <a:t>(FE</a:t>
            </a:r>
            <a:r>
              <a:rPr kumimoji="1" lang="ja-JP" altLang="en-US" sz="800" dirty="0">
                <a:solidFill>
                  <a:srgbClr val="000000"/>
                </a:solidFill>
                <a:latin typeface="Yu Gothic UI" panose="020B0500000000000000" pitchFamily="50" charset="-128"/>
                <a:ea typeface="Yu Gothic UI" panose="020B0500000000000000" pitchFamily="50" charset="-128"/>
              </a:rPr>
              <a:t>セ</a:t>
            </a:r>
            <a:r>
              <a:rPr kumimoji="1" lang="en-US" altLang="ja-JP" sz="800" dirty="0">
                <a:solidFill>
                  <a:srgbClr val="000000"/>
                </a:solidFill>
                <a:latin typeface="Yu Gothic UI" panose="020B0500000000000000" pitchFamily="50" charset="-128"/>
                <a:ea typeface="Yu Gothic UI" panose="020B0500000000000000" pitchFamily="50" charset="-128"/>
              </a:rPr>
              <a:t>)</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611" name="正方形/長方形 610">
            <a:extLst>
              <a:ext uri="{FF2B5EF4-FFF2-40B4-BE49-F238E27FC236}">
                <a16:creationId xmlns:a16="http://schemas.microsoft.com/office/drawing/2014/main" id="{C14AA663-4475-FDD3-8AB5-CA7A413D5270}"/>
              </a:ext>
            </a:extLst>
          </p:cNvPr>
          <p:cNvSpPr/>
          <p:nvPr/>
        </p:nvSpPr>
        <p:spPr>
          <a:xfrm>
            <a:off x="1769525" y="997973"/>
            <a:ext cx="5390502" cy="187370"/>
          </a:xfrm>
          <a:prstGeom prst="rect">
            <a:avLst/>
          </a:prstGeom>
          <a:solidFill>
            <a:schemeClr val="tx1">
              <a:lumMod val="75000"/>
              <a:lumOff val="2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ja-JP" altLang="en-US" sz="1000" b="1" dirty="0">
                <a:solidFill>
                  <a:srgbClr val="FFFFFF"/>
                </a:solidFill>
                <a:latin typeface="Yu Gothic UI" panose="020B0500000000000000" pitchFamily="50" charset="-128"/>
                <a:ea typeface="Yu Gothic UI" panose="020B0500000000000000" pitchFamily="50" charset="-128"/>
              </a:rPr>
              <a:t>日本国内</a:t>
            </a:r>
            <a:endParaRPr kumimoji="1" lang="ja-JP" altLang="en-US" sz="1000" b="1" dirty="0">
              <a:solidFill>
                <a:srgbClr val="FFFFFF"/>
              </a:solidFill>
              <a:latin typeface="Yu Gothic UI" panose="020B0500000000000000" pitchFamily="50" charset="-128"/>
              <a:ea typeface="Yu Gothic UI" panose="020B0500000000000000" pitchFamily="50" charset="-128"/>
            </a:endParaRPr>
          </a:p>
        </p:txBody>
      </p:sp>
      <p:sp>
        <p:nvSpPr>
          <p:cNvPr id="430" name="正方形/長方形 429">
            <a:extLst>
              <a:ext uri="{FF2B5EF4-FFF2-40B4-BE49-F238E27FC236}">
                <a16:creationId xmlns:a16="http://schemas.microsoft.com/office/drawing/2014/main" id="{2C704452-84F2-E75C-25A8-3D36606E4C7E}"/>
              </a:ext>
            </a:extLst>
          </p:cNvPr>
          <p:cNvSpPr/>
          <p:nvPr/>
        </p:nvSpPr>
        <p:spPr bwMode="gray">
          <a:xfrm>
            <a:off x="7989859" y="5918114"/>
            <a:ext cx="1728000" cy="144000"/>
          </a:xfrm>
          <a:prstGeom prst="rect">
            <a:avLst/>
          </a:prstGeom>
          <a:solidFill>
            <a:schemeClr val="accent4">
              <a:lumMod val="20000"/>
              <a:lumOff val="80000"/>
            </a:schemeClr>
          </a:solid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en-US" altLang="ja-JP" sz="800" dirty="0">
                <a:solidFill>
                  <a:srgbClr val="000000"/>
                </a:solidFill>
                <a:latin typeface="Yu Gothic UI" panose="020B0500000000000000" pitchFamily="50" charset="-128"/>
                <a:ea typeface="Yu Gothic UI" panose="020B0500000000000000" pitchFamily="50" charset="-128"/>
              </a:rPr>
              <a:t>ICONICS</a:t>
            </a:r>
            <a:r>
              <a:rPr kumimoji="1" lang="ja-JP" altLang="en-US" sz="800" dirty="0">
                <a:solidFill>
                  <a:srgbClr val="000000"/>
                </a:solidFill>
                <a:latin typeface="Yu Gothic UI" panose="020B0500000000000000" pitchFamily="50" charset="-128"/>
                <a:ea typeface="Yu Gothic UI" panose="020B0500000000000000" pitchFamily="50" charset="-128"/>
              </a:rPr>
              <a:t> </a:t>
            </a:r>
            <a:r>
              <a:rPr kumimoji="1" lang="en-US" altLang="ja-JP" sz="800" dirty="0">
                <a:solidFill>
                  <a:srgbClr val="000000"/>
                </a:solidFill>
                <a:latin typeface="Yu Gothic UI" panose="020B0500000000000000" pitchFamily="50" charset="-128"/>
                <a:ea typeface="Yu Gothic UI" panose="020B0500000000000000" pitchFamily="50" charset="-128"/>
              </a:rPr>
              <a:t>[</a:t>
            </a:r>
            <a:r>
              <a:rPr kumimoji="1" lang="ja-JP" altLang="en-US" sz="800" dirty="0">
                <a:solidFill>
                  <a:srgbClr val="000000"/>
                </a:solidFill>
                <a:latin typeface="Yu Gothic UI" panose="020B0500000000000000" pitchFamily="50" charset="-128"/>
                <a:ea typeface="Yu Gothic UI" panose="020B0500000000000000" pitchFamily="50" charset="-128"/>
              </a:rPr>
              <a:t>北米</a:t>
            </a:r>
            <a:r>
              <a:rPr kumimoji="1" lang="en-US" altLang="ja-JP" sz="800" dirty="0">
                <a:solidFill>
                  <a:srgbClr val="000000"/>
                </a:solidFill>
                <a:latin typeface="Yu Gothic UI" panose="020B0500000000000000" pitchFamily="50" charset="-128"/>
                <a:ea typeface="Yu Gothic UI" panose="020B0500000000000000" pitchFamily="50" charset="-128"/>
              </a:rPr>
              <a:t>]</a:t>
            </a:r>
            <a:r>
              <a:rPr kumimoji="1" lang="ja-JP" altLang="en-US" sz="800" dirty="0">
                <a:solidFill>
                  <a:srgbClr val="000000"/>
                </a:solidFill>
                <a:latin typeface="Yu Gothic UI" panose="020B0500000000000000" pitchFamily="50" charset="-128"/>
                <a:ea typeface="Yu Gothic UI" panose="020B0500000000000000" pitchFamily="50" charset="-128"/>
              </a:rPr>
              <a:t> 等</a:t>
            </a:r>
          </a:p>
        </p:txBody>
      </p:sp>
      <p:sp>
        <p:nvSpPr>
          <p:cNvPr id="287" name="正方形/長方形 286">
            <a:extLst>
              <a:ext uri="{FF2B5EF4-FFF2-40B4-BE49-F238E27FC236}">
                <a16:creationId xmlns:a16="http://schemas.microsoft.com/office/drawing/2014/main" id="{474C1239-13AB-966C-DBA7-B2C64575FB67}"/>
              </a:ext>
            </a:extLst>
          </p:cNvPr>
          <p:cNvSpPr/>
          <p:nvPr/>
        </p:nvSpPr>
        <p:spPr bwMode="gray">
          <a:xfrm>
            <a:off x="2053678" y="1455316"/>
            <a:ext cx="1153073" cy="280368"/>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インダストリー・モビリティ</a:t>
            </a:r>
            <a:r>
              <a:rPr kumimoji="1" lang="en-US" altLang="ja-JP" sz="800" dirty="0">
                <a:solidFill>
                  <a:srgbClr val="000000"/>
                </a:solidFill>
                <a:latin typeface="Yu Gothic UI" panose="020B0500000000000000" pitchFamily="50" charset="-128"/>
                <a:ea typeface="Yu Gothic UI" panose="020B0500000000000000" pitchFamily="50" charset="-128"/>
              </a:rPr>
              <a:t>BA</a:t>
            </a:r>
            <a:br>
              <a:rPr kumimoji="1" lang="en-US" altLang="ja-JP" sz="800" dirty="0">
                <a:solidFill>
                  <a:srgbClr val="000000"/>
                </a:solidFill>
                <a:latin typeface="Yu Gothic UI" panose="020B0500000000000000" pitchFamily="50" charset="-128"/>
                <a:ea typeface="Yu Gothic UI" panose="020B0500000000000000" pitchFamily="50" charset="-128"/>
              </a:rPr>
            </a:br>
            <a:r>
              <a:rPr kumimoji="1" lang="en-US" altLang="ja-JP" sz="800" dirty="0">
                <a:solidFill>
                  <a:srgbClr val="000000"/>
                </a:solidFill>
                <a:latin typeface="Yu Gothic UI" panose="020B0500000000000000" pitchFamily="50" charset="-128"/>
                <a:ea typeface="Yu Gothic UI" panose="020B0500000000000000" pitchFamily="50" charset="-128"/>
              </a:rPr>
              <a:t>(IMBA)</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294" name="正方形/長方形 293">
            <a:extLst>
              <a:ext uri="{FF2B5EF4-FFF2-40B4-BE49-F238E27FC236}">
                <a16:creationId xmlns:a16="http://schemas.microsoft.com/office/drawing/2014/main" id="{64012A6E-95B5-944B-1BBA-1AD31008A11A}"/>
              </a:ext>
            </a:extLst>
          </p:cNvPr>
          <p:cNvSpPr/>
          <p:nvPr/>
        </p:nvSpPr>
        <p:spPr bwMode="gray">
          <a:xfrm>
            <a:off x="3579163" y="1440700"/>
            <a:ext cx="1152000" cy="3096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インダストリー・モビリティ</a:t>
            </a:r>
            <a:r>
              <a:rPr kumimoji="1" lang="en-US" altLang="ja-JP" sz="800" dirty="0">
                <a:solidFill>
                  <a:srgbClr val="000000"/>
                </a:solidFill>
                <a:latin typeface="Yu Gothic UI" panose="020B0500000000000000" pitchFamily="50" charset="-128"/>
                <a:ea typeface="Yu Gothic UI" panose="020B0500000000000000" pitchFamily="50" charset="-128"/>
              </a:rPr>
              <a:t>BA</a:t>
            </a:r>
            <a:r>
              <a:rPr kumimoji="1" lang="ja-JP" altLang="en-US" sz="800" dirty="0">
                <a:solidFill>
                  <a:srgbClr val="000000"/>
                </a:solidFill>
                <a:latin typeface="Yu Gothic UI" panose="020B0500000000000000" pitchFamily="50" charset="-128"/>
                <a:ea typeface="Yu Gothic UI" panose="020B0500000000000000" pitchFamily="50" charset="-128"/>
              </a:rPr>
              <a:t>戦略室</a:t>
            </a:r>
          </a:p>
        </p:txBody>
      </p:sp>
      <p:sp>
        <p:nvSpPr>
          <p:cNvPr id="296" name="正方形/長方形 295">
            <a:extLst>
              <a:ext uri="{FF2B5EF4-FFF2-40B4-BE49-F238E27FC236}">
                <a16:creationId xmlns:a16="http://schemas.microsoft.com/office/drawing/2014/main" id="{ACAEEC76-3BFC-006B-0562-9C1A383815B6}"/>
              </a:ext>
            </a:extLst>
          </p:cNvPr>
          <p:cNvSpPr/>
          <p:nvPr/>
        </p:nvSpPr>
        <p:spPr bwMode="gray">
          <a:xfrm>
            <a:off x="3579163" y="1852628"/>
            <a:ext cx="1152000" cy="3096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FA</a:t>
            </a:r>
            <a:r>
              <a:rPr kumimoji="1" lang="ja-JP" altLang="en-US" sz="800" dirty="0">
                <a:solidFill>
                  <a:srgbClr val="000000"/>
                </a:solidFill>
                <a:latin typeface="Yu Gothic UI" panose="020B0500000000000000" pitchFamily="50" charset="-128"/>
                <a:ea typeface="Yu Gothic UI" panose="020B0500000000000000" pitchFamily="50" charset="-128"/>
              </a:rPr>
              <a:t>システム事業本部</a:t>
            </a:r>
          </a:p>
        </p:txBody>
      </p:sp>
      <p:sp>
        <p:nvSpPr>
          <p:cNvPr id="212" name="正方形/長方形 211">
            <a:extLst>
              <a:ext uri="{FF2B5EF4-FFF2-40B4-BE49-F238E27FC236}">
                <a16:creationId xmlns:a16="http://schemas.microsoft.com/office/drawing/2014/main" id="{1AB59B35-1E22-2D8F-341A-CF3819A2AC31}"/>
              </a:ext>
            </a:extLst>
          </p:cNvPr>
          <p:cNvSpPr/>
          <p:nvPr/>
        </p:nvSpPr>
        <p:spPr bwMode="gray">
          <a:xfrm>
            <a:off x="2053678" y="4072475"/>
            <a:ext cx="1153073" cy="280368"/>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900" dirty="0">
                <a:solidFill>
                  <a:srgbClr val="000000"/>
                </a:solidFill>
                <a:latin typeface="Yu Gothic UI" panose="020B0500000000000000" pitchFamily="50" charset="-128"/>
                <a:ea typeface="Yu Gothic UI" panose="020B0500000000000000" pitchFamily="50" charset="-128"/>
              </a:rPr>
              <a:t>宣伝部</a:t>
            </a:r>
          </a:p>
        </p:txBody>
      </p:sp>
      <p:sp>
        <p:nvSpPr>
          <p:cNvPr id="217" name="正方形/長方形 216">
            <a:extLst>
              <a:ext uri="{FF2B5EF4-FFF2-40B4-BE49-F238E27FC236}">
                <a16:creationId xmlns:a16="http://schemas.microsoft.com/office/drawing/2014/main" id="{5241146E-B3E9-BA2D-9178-422E1F63984A}"/>
              </a:ext>
            </a:extLst>
          </p:cNvPr>
          <p:cNvSpPr/>
          <p:nvPr/>
        </p:nvSpPr>
        <p:spPr bwMode="gray">
          <a:xfrm>
            <a:off x="3579163" y="4720294"/>
            <a:ext cx="1152000" cy="309600"/>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リビング・デジタルメディア</a:t>
            </a:r>
            <a:br>
              <a:rPr kumimoji="1" lang="en-US" altLang="ja-JP" sz="800" dirty="0">
                <a:solidFill>
                  <a:srgbClr val="000000"/>
                </a:solidFill>
                <a:latin typeface="Yu Gothic UI" panose="020B0500000000000000" pitchFamily="50" charset="-128"/>
                <a:ea typeface="Yu Gothic UI" panose="020B0500000000000000" pitchFamily="50" charset="-128"/>
              </a:rPr>
            </a:br>
            <a:r>
              <a:rPr kumimoji="1" lang="ja-JP" altLang="en-US" sz="800" dirty="0">
                <a:solidFill>
                  <a:srgbClr val="000000"/>
                </a:solidFill>
                <a:latin typeface="Yu Gothic UI" panose="020B0500000000000000" pitchFamily="50" charset="-128"/>
                <a:ea typeface="Yu Gothic UI" panose="020B0500000000000000" pitchFamily="50" charset="-128"/>
              </a:rPr>
              <a:t>事業本部</a:t>
            </a:r>
          </a:p>
        </p:txBody>
      </p:sp>
      <p:sp>
        <p:nvSpPr>
          <p:cNvPr id="599" name="正方形/長方形 598">
            <a:extLst>
              <a:ext uri="{FF2B5EF4-FFF2-40B4-BE49-F238E27FC236}">
                <a16:creationId xmlns:a16="http://schemas.microsoft.com/office/drawing/2014/main" id="{D64A42F7-77C7-AEC0-4D1E-A65D61D89058}"/>
              </a:ext>
            </a:extLst>
          </p:cNvPr>
          <p:cNvSpPr/>
          <p:nvPr/>
        </p:nvSpPr>
        <p:spPr bwMode="gray">
          <a:xfrm>
            <a:off x="3579163" y="5060053"/>
            <a:ext cx="1152000" cy="309600"/>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ビルシステム事業本部</a:t>
            </a:r>
          </a:p>
        </p:txBody>
      </p:sp>
      <p:sp>
        <p:nvSpPr>
          <p:cNvPr id="327" name="正方形/長方形 326">
            <a:extLst>
              <a:ext uri="{FF2B5EF4-FFF2-40B4-BE49-F238E27FC236}">
                <a16:creationId xmlns:a16="http://schemas.microsoft.com/office/drawing/2014/main" id="{35232524-22DA-6F51-DAE7-6FF802DDB2E2}"/>
              </a:ext>
            </a:extLst>
          </p:cNvPr>
          <p:cNvSpPr/>
          <p:nvPr/>
        </p:nvSpPr>
        <p:spPr bwMode="gray">
          <a:xfrm>
            <a:off x="2053678" y="4719547"/>
            <a:ext cx="1153073" cy="311094"/>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900" dirty="0">
                <a:solidFill>
                  <a:srgbClr val="000000"/>
                </a:solidFill>
                <a:latin typeface="Yu Gothic UI" panose="020B0500000000000000" pitchFamily="50" charset="-128"/>
                <a:ea typeface="Yu Gothic UI" panose="020B0500000000000000" pitchFamily="50" charset="-128"/>
              </a:rPr>
              <a:t>ライフ</a:t>
            </a:r>
            <a:r>
              <a:rPr kumimoji="1" lang="en-US" altLang="ja-JP" sz="900" dirty="0">
                <a:solidFill>
                  <a:srgbClr val="000000"/>
                </a:solidFill>
                <a:latin typeface="Yu Gothic UI" panose="020B0500000000000000" pitchFamily="50" charset="-128"/>
                <a:ea typeface="Yu Gothic UI" panose="020B0500000000000000" pitchFamily="50" charset="-128"/>
              </a:rPr>
              <a:t>BA</a:t>
            </a:r>
            <a:endParaRPr kumimoji="1" lang="ja-JP" altLang="en-US" sz="900" dirty="0">
              <a:solidFill>
                <a:srgbClr val="000000"/>
              </a:solidFill>
              <a:latin typeface="Yu Gothic UI" panose="020B0500000000000000" pitchFamily="50" charset="-128"/>
              <a:ea typeface="Yu Gothic UI" panose="020B0500000000000000" pitchFamily="50" charset="-128"/>
            </a:endParaRPr>
          </a:p>
        </p:txBody>
      </p:sp>
      <p:sp>
        <p:nvSpPr>
          <p:cNvPr id="408" name="正方形/長方形 407">
            <a:extLst>
              <a:ext uri="{FF2B5EF4-FFF2-40B4-BE49-F238E27FC236}">
                <a16:creationId xmlns:a16="http://schemas.microsoft.com/office/drawing/2014/main" id="{0FD11E00-D753-0978-B8DC-53469D7566BB}"/>
              </a:ext>
            </a:extLst>
          </p:cNvPr>
          <p:cNvSpPr/>
          <p:nvPr/>
        </p:nvSpPr>
        <p:spPr bwMode="gray">
          <a:xfrm>
            <a:off x="5103575" y="3383993"/>
            <a:ext cx="2056452" cy="144000"/>
          </a:xfrm>
          <a:prstGeom prst="rect">
            <a:avLst/>
          </a:prstGeom>
          <a:noFill/>
          <a:ln w="6350" algn="ctr">
            <a:solidFill>
              <a:schemeClr val="tx1">
                <a:lumMod val="50000"/>
                <a:lumOff val="50000"/>
              </a:schemeClr>
            </a:solidFill>
            <a:miter lim="800000"/>
            <a:headEnd/>
            <a:tailEnd/>
          </a:ln>
        </p:spPr>
        <p:txBody>
          <a:bodyPr wrap="none" lIns="36000" tIns="0" rIns="36000" bIns="0" rtlCol="0" anchor="ctr"/>
          <a:lstStyle/>
          <a:p>
            <a:pPr algn="ctr" defTabSz="914400">
              <a:spcBef>
                <a:spcPts val="300"/>
              </a:spcBef>
              <a:defRPr/>
            </a:pPr>
            <a:r>
              <a:rPr kumimoji="1" lang="ja-JP" altLang="en-US" sz="700" dirty="0">
                <a:solidFill>
                  <a:srgbClr val="000000"/>
                </a:solidFill>
                <a:latin typeface="Yu Gothic UI" panose="020B0500000000000000" pitchFamily="50" charset="-128"/>
                <a:ea typeface="Yu Gothic UI" panose="020B0500000000000000" pitchFamily="50" charset="-128"/>
              </a:rPr>
              <a:t>グローバルインダストリーソリューション推進部 </a:t>
            </a:r>
            <a:r>
              <a:rPr kumimoji="1" lang="en-US" altLang="ja-JP" sz="700" dirty="0">
                <a:solidFill>
                  <a:srgbClr val="000000"/>
                </a:solidFill>
                <a:latin typeface="Yu Gothic UI" panose="020B0500000000000000" pitchFamily="50" charset="-128"/>
                <a:ea typeface="Yu Gothic UI" panose="020B0500000000000000" pitchFamily="50" charset="-128"/>
              </a:rPr>
              <a:t>(GI</a:t>
            </a:r>
            <a:r>
              <a:rPr kumimoji="1" lang="ja-JP" altLang="en-US" sz="700" dirty="0">
                <a:solidFill>
                  <a:srgbClr val="000000"/>
                </a:solidFill>
                <a:latin typeface="Yu Gothic UI" panose="020B0500000000000000" pitchFamily="50" charset="-128"/>
                <a:ea typeface="Yu Gothic UI" panose="020B0500000000000000" pitchFamily="50" charset="-128"/>
              </a:rPr>
              <a:t>推</a:t>
            </a:r>
            <a:r>
              <a:rPr kumimoji="1" lang="en-US" altLang="ja-JP" sz="700" dirty="0">
                <a:solidFill>
                  <a:srgbClr val="000000"/>
                </a:solidFill>
                <a:latin typeface="Yu Gothic UI" panose="020B0500000000000000" pitchFamily="50" charset="-128"/>
                <a:ea typeface="Yu Gothic UI" panose="020B0500000000000000" pitchFamily="50" charset="-128"/>
              </a:rPr>
              <a:t>)</a:t>
            </a:r>
            <a:endParaRPr kumimoji="1" lang="ja-JP" altLang="en-US" sz="700" dirty="0">
              <a:solidFill>
                <a:srgbClr val="000000"/>
              </a:solidFill>
              <a:latin typeface="Yu Gothic UI" panose="020B0500000000000000" pitchFamily="50" charset="-128"/>
              <a:ea typeface="Yu Gothic UI" panose="020B0500000000000000" pitchFamily="50" charset="-128"/>
            </a:endParaRPr>
          </a:p>
        </p:txBody>
      </p:sp>
      <p:sp>
        <p:nvSpPr>
          <p:cNvPr id="14" name="正方形/長方形 13">
            <a:extLst>
              <a:ext uri="{FF2B5EF4-FFF2-40B4-BE49-F238E27FC236}">
                <a16:creationId xmlns:a16="http://schemas.microsoft.com/office/drawing/2014/main" id="{D660BC7C-6581-6779-6BB4-B2F47F3E2BD7}"/>
              </a:ext>
            </a:extLst>
          </p:cNvPr>
          <p:cNvSpPr/>
          <p:nvPr/>
        </p:nvSpPr>
        <p:spPr bwMode="gray">
          <a:xfrm>
            <a:off x="3579163" y="4382021"/>
            <a:ext cx="1152000" cy="309600"/>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プロセス・オペレーション</a:t>
            </a:r>
            <a:br>
              <a:rPr kumimoji="1" lang="en-US" altLang="ja-JP" sz="800" dirty="0">
                <a:solidFill>
                  <a:srgbClr val="000000"/>
                </a:solidFill>
                <a:latin typeface="Yu Gothic UI" panose="020B0500000000000000" pitchFamily="50" charset="-128"/>
                <a:ea typeface="Yu Gothic UI" panose="020B0500000000000000" pitchFamily="50" charset="-128"/>
              </a:rPr>
            </a:br>
            <a:r>
              <a:rPr kumimoji="1" lang="ja-JP" altLang="en-US" sz="800" dirty="0">
                <a:solidFill>
                  <a:srgbClr val="000000"/>
                </a:solidFill>
                <a:latin typeface="Yu Gothic UI" panose="020B0500000000000000" pitchFamily="50" charset="-128"/>
                <a:ea typeface="Yu Gothic UI" panose="020B0500000000000000" pitchFamily="50" charset="-128"/>
              </a:rPr>
              <a:t>改革室 </a:t>
            </a:r>
            <a:r>
              <a:rPr kumimoji="1" lang="en-US" altLang="ja-JP" sz="800" dirty="0">
                <a:solidFill>
                  <a:srgbClr val="000000"/>
                </a:solidFill>
                <a:latin typeface="Yu Gothic UI" panose="020B0500000000000000" pitchFamily="50" charset="-128"/>
                <a:ea typeface="Yu Gothic UI" panose="020B0500000000000000" pitchFamily="50" charset="-128"/>
              </a:rPr>
              <a:t>(</a:t>
            </a:r>
            <a:r>
              <a:rPr kumimoji="1" lang="ja-JP" altLang="en-US" sz="800" dirty="0">
                <a:solidFill>
                  <a:srgbClr val="000000"/>
                </a:solidFill>
                <a:latin typeface="Yu Gothic UI" panose="020B0500000000000000" pitchFamily="50" charset="-128"/>
                <a:ea typeface="Yu Gothic UI" panose="020B0500000000000000" pitchFamily="50" charset="-128"/>
              </a:rPr>
              <a:t>プロ改室</a:t>
            </a:r>
            <a:r>
              <a:rPr kumimoji="1" lang="en-US" altLang="ja-JP" sz="800" dirty="0">
                <a:solidFill>
                  <a:srgbClr val="000000"/>
                </a:solidFill>
                <a:latin typeface="Yu Gothic UI" panose="020B0500000000000000" pitchFamily="50" charset="-128"/>
                <a:ea typeface="Yu Gothic UI" panose="020B0500000000000000" pitchFamily="50" charset="-128"/>
              </a:rPr>
              <a:t>)</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D308CFA8-52E4-133D-8D20-A6F5512FAC35}"/>
              </a:ext>
            </a:extLst>
          </p:cNvPr>
          <p:cNvSpPr/>
          <p:nvPr/>
        </p:nvSpPr>
        <p:spPr bwMode="gray">
          <a:xfrm>
            <a:off x="2053678" y="4396637"/>
            <a:ext cx="1153073" cy="280368"/>
          </a:xfrm>
          <a:prstGeom prst="rect">
            <a:avLst/>
          </a:prstGeom>
          <a:solidFill>
            <a:schemeClr val="bg1"/>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IT</a:t>
            </a:r>
            <a:r>
              <a:rPr kumimoji="1" lang="ja-JP" altLang="en-US" sz="800" dirty="0">
                <a:solidFill>
                  <a:srgbClr val="000000"/>
                </a:solidFill>
                <a:latin typeface="Yu Gothic UI" panose="020B0500000000000000" pitchFamily="50" charset="-128"/>
                <a:ea typeface="Yu Gothic UI" panose="020B0500000000000000" pitchFamily="50" charset="-128"/>
              </a:rPr>
              <a:t>ソリューションビジネス・</a:t>
            </a:r>
            <a:br>
              <a:rPr kumimoji="1" lang="en-US" altLang="ja-JP" sz="800" dirty="0">
                <a:solidFill>
                  <a:srgbClr val="000000"/>
                </a:solidFill>
                <a:latin typeface="Yu Gothic UI" panose="020B0500000000000000" pitchFamily="50" charset="-128"/>
                <a:ea typeface="Yu Gothic UI" panose="020B0500000000000000" pitchFamily="50" charset="-128"/>
              </a:rPr>
            </a:br>
            <a:r>
              <a:rPr kumimoji="1" lang="ja-JP" altLang="en-US" sz="800" dirty="0">
                <a:solidFill>
                  <a:srgbClr val="000000"/>
                </a:solidFill>
                <a:latin typeface="Yu Gothic UI" panose="020B0500000000000000" pitchFamily="50" charset="-128"/>
                <a:ea typeface="Yu Gothic UI" panose="020B0500000000000000" pitchFamily="50" charset="-128"/>
              </a:rPr>
              <a:t>業務改革推進本部</a:t>
            </a:r>
          </a:p>
        </p:txBody>
      </p:sp>
      <p:graphicFrame>
        <p:nvGraphicFramePr>
          <p:cNvPr id="519" name="表 12">
            <a:extLst>
              <a:ext uri="{FF2B5EF4-FFF2-40B4-BE49-F238E27FC236}">
                <a16:creationId xmlns:a16="http://schemas.microsoft.com/office/drawing/2014/main" id="{C86BB4EE-9D71-0DC7-0863-6CEE31457BEF}"/>
              </a:ext>
            </a:extLst>
          </p:cNvPr>
          <p:cNvGraphicFramePr>
            <a:graphicFrameLocks noGrp="1"/>
          </p:cNvGraphicFramePr>
          <p:nvPr>
            <p:extLst>
              <p:ext uri="{D42A27DB-BD31-4B8C-83A1-F6EECF244321}">
                <p14:modId xmlns:p14="http://schemas.microsoft.com/office/powerpoint/2010/main" val="743960891"/>
              </p:ext>
            </p:extLst>
          </p:nvPr>
        </p:nvGraphicFramePr>
        <p:xfrm>
          <a:off x="5103577" y="4900439"/>
          <a:ext cx="2056451" cy="684000"/>
        </p:xfrm>
        <a:graphic>
          <a:graphicData uri="http://schemas.openxmlformats.org/drawingml/2006/table">
            <a:tbl>
              <a:tblPr firstRow="1">
                <a:tableStyleId>{073A0DAA-6AF3-43AB-8588-CEC1D06C72B9}</a:tableStyleId>
              </a:tblPr>
              <a:tblGrid>
                <a:gridCol w="511177">
                  <a:extLst>
                    <a:ext uri="{9D8B030D-6E8A-4147-A177-3AD203B41FA5}">
                      <a16:colId xmlns:a16="http://schemas.microsoft.com/office/drawing/2014/main" val="1276324932"/>
                    </a:ext>
                  </a:extLst>
                </a:gridCol>
                <a:gridCol w="512560">
                  <a:extLst>
                    <a:ext uri="{9D8B030D-6E8A-4147-A177-3AD203B41FA5}">
                      <a16:colId xmlns:a16="http://schemas.microsoft.com/office/drawing/2014/main" val="262263702"/>
                    </a:ext>
                  </a:extLst>
                </a:gridCol>
                <a:gridCol w="425820">
                  <a:extLst>
                    <a:ext uri="{9D8B030D-6E8A-4147-A177-3AD203B41FA5}">
                      <a16:colId xmlns:a16="http://schemas.microsoft.com/office/drawing/2014/main" val="1276798681"/>
                    </a:ext>
                  </a:extLst>
                </a:gridCol>
                <a:gridCol w="606894">
                  <a:extLst>
                    <a:ext uri="{9D8B030D-6E8A-4147-A177-3AD203B41FA5}">
                      <a16:colId xmlns:a16="http://schemas.microsoft.com/office/drawing/2014/main" val="2055125883"/>
                    </a:ext>
                  </a:extLst>
                </a:gridCol>
              </a:tblGrid>
              <a:tr h="136800">
                <a:tc gridSpan="4">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支社</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9525" cap="flat" cmpd="sng" algn="ctr">
                      <a:solidFill>
                        <a:srgbClr val="E0E0E0"/>
                      </a:solidFill>
                      <a:prstDash val="solid"/>
                      <a:round/>
                      <a:headEnd type="none" w="med" len="med"/>
                      <a:tailEnd type="none" w="med" len="med"/>
                    </a:lnB>
                    <a:noFill/>
                  </a:tcPr>
                </a:tc>
                <a:tc hMerge="1">
                  <a:txBody>
                    <a:bodyPr/>
                    <a:lstStyle/>
                    <a:p>
                      <a:pPr algn="l"/>
                      <a:endParaRPr kumimoji="1" lang="en-US" altLang="ja-JP"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tc hMerge="1">
                  <a:txBody>
                    <a:bodyPr/>
                    <a:lstStyle/>
                    <a:p>
                      <a:pPr algn="ctr"/>
                      <a:endParaRPr kumimoji="1" lang="en-US" altLang="ja-JP"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tc hMerge="1">
                  <a:txBody>
                    <a:bodyPr/>
                    <a:lstStyle/>
                    <a:p>
                      <a:pPr algn="ctr"/>
                      <a:endParaRPr kumimoji="1" lang="en-US" altLang="ja-JP"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70871178"/>
                  </a:ext>
                </a:extLst>
              </a:tr>
              <a:tr h="136800">
                <a:tc>
                  <a:txBody>
                    <a:bodyPr/>
                    <a:lstStyle/>
                    <a:p>
                      <a:pPr algn="l"/>
                      <a:r>
                        <a:rPr kumimoji="1" lang="ja-JP" altLang="en-US" sz="800" b="0" dirty="0">
                          <a:solidFill>
                            <a:schemeClr val="tx1"/>
                          </a:solidFill>
                          <a:latin typeface="Yu Gothic UI" panose="020B0500000000000000" pitchFamily="50" charset="-128"/>
                          <a:ea typeface="Yu Gothic UI" panose="020B0500000000000000" pitchFamily="50" charset="-128"/>
                        </a:rPr>
                        <a:t>北海道</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9525" cap="flat" cmpd="sng" algn="ctr">
                      <a:solidFill>
                        <a:srgbClr val="E0E0E0"/>
                      </a:solidFill>
                      <a:prstDash val="solid"/>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algn="l"/>
                      <a:r>
                        <a:rPr kumimoji="1" lang="en-US" altLang="ja-JP" sz="800" b="0" dirty="0">
                          <a:solidFill>
                            <a:schemeClr val="tx1"/>
                          </a:solidFill>
                          <a:latin typeface="Yu Gothic UI" panose="020B0500000000000000" pitchFamily="50" charset="-128"/>
                          <a:ea typeface="Yu Gothic UI" panose="020B0500000000000000" pitchFamily="50" charset="-128"/>
                        </a:rPr>
                        <a:t>(</a:t>
                      </a:r>
                      <a:r>
                        <a:rPr kumimoji="1" lang="ja-JP" altLang="en-US" sz="800" b="0" dirty="0">
                          <a:solidFill>
                            <a:schemeClr val="tx1"/>
                          </a:solidFill>
                          <a:latin typeface="Yu Gothic UI" panose="020B0500000000000000" pitchFamily="50" charset="-128"/>
                          <a:ea typeface="Yu Gothic UI" panose="020B0500000000000000" pitchFamily="50" charset="-128"/>
                        </a:rPr>
                        <a:t>北支</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18000" marR="0" marT="0" marB="0" anchor="ctr">
                    <a:lnL w="3175" cap="flat" cmpd="sng" algn="ctr">
                      <a:solidFill>
                        <a:schemeClr val="bg1"/>
                      </a:solidFill>
                      <a:prstDash val="sysDot"/>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E0E0"/>
                      </a:solidFill>
                      <a:prstDash val="solid"/>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関西</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54000" marR="36000" marT="0" marB="0" anchor="ctr">
                    <a:lnL w="9525" cap="flat" cmpd="sng" algn="ctr">
                      <a:solidFill>
                        <a:srgbClr val="E0E0E0"/>
                      </a:solidFill>
                      <a:prstDash val="solid"/>
                      <a:round/>
                      <a:headEnd type="none" w="med" len="med"/>
                      <a:tailEnd type="none" w="med" len="med"/>
                    </a:lnL>
                    <a:lnR w="3175" cap="flat" cmpd="sng" algn="ctr">
                      <a:solidFill>
                        <a:schemeClr val="bg1"/>
                      </a:solidFill>
                      <a:prstDash val="sysDot"/>
                      <a:round/>
                      <a:headEnd type="none" w="med" len="med"/>
                      <a:tailEnd type="none" w="med" len="med"/>
                    </a:lnR>
                    <a:lnT w="9525" cap="flat" cmpd="sng" algn="ctr">
                      <a:solidFill>
                        <a:srgbClr val="E0E0E0"/>
                      </a:solidFill>
                      <a:prstDash val="solid"/>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西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9525" cap="flat" cmpd="sng" algn="ctr">
                      <a:solidFill>
                        <a:srgbClr val="E0E0E0"/>
                      </a:solidFill>
                      <a:prstDash val="solid"/>
                      <a:round/>
                      <a:headEnd type="none" w="med" len="med"/>
                      <a:tailEnd type="none" w="med" len="med"/>
                    </a:lnT>
                    <a:lnB w="3175"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1677962875"/>
                  </a:ext>
                </a:extLst>
              </a:tr>
              <a:tr h="136800">
                <a:tc>
                  <a:txBody>
                    <a:bodyPr/>
                    <a:lstStyle/>
                    <a:p>
                      <a:pPr algn="l"/>
                      <a:r>
                        <a:rPr kumimoji="1" lang="ja-JP" altLang="en-US" sz="800" b="0" dirty="0">
                          <a:solidFill>
                            <a:schemeClr val="tx1"/>
                          </a:solidFill>
                          <a:latin typeface="Yu Gothic UI" panose="020B0500000000000000" pitchFamily="50" charset="-128"/>
                          <a:ea typeface="Yu Gothic UI" panose="020B0500000000000000" pitchFamily="50" charset="-128"/>
                        </a:rPr>
                        <a:t>東北</a:t>
                      </a: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Yu Gothic UI" panose="020B0500000000000000" pitchFamily="50" charset="-128"/>
                          <a:ea typeface="Yu Gothic UI" panose="020B0500000000000000" pitchFamily="50" charset="-128"/>
                        </a:rPr>
                        <a:t>(</a:t>
                      </a:r>
                      <a:r>
                        <a:rPr kumimoji="1" lang="ja-JP" altLang="en-US" sz="800" b="0" dirty="0">
                          <a:solidFill>
                            <a:schemeClr val="tx1"/>
                          </a:solidFill>
                          <a:latin typeface="Yu Gothic UI" panose="020B0500000000000000" pitchFamily="50" charset="-128"/>
                          <a:ea typeface="Yu Gothic UI" panose="020B0500000000000000" pitchFamily="50" charset="-128"/>
                        </a:rPr>
                        <a:t>東北支</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18000" marR="0" marT="0" marB="0" anchor="ctr">
                    <a:lnL w="3175" cap="flat" cmpd="sng" algn="ctr">
                      <a:solidFill>
                        <a:schemeClr val="bg1"/>
                      </a:solidFill>
                      <a:prstDash val="sysDot"/>
                      <a:round/>
                      <a:headEnd type="none" w="med" len="med"/>
                      <a:tailEnd type="none" w="med" len="med"/>
                    </a:lnL>
                    <a:lnR w="9525" cap="flat" cmpd="sng" algn="ctr">
                      <a:solidFill>
                        <a:srgbClr val="E0E0E0"/>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中国</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54000" marR="36000" marT="0" marB="0" anchor="ctr">
                    <a:lnL w="9525" cap="flat" cmpd="sng" algn="ctr">
                      <a:solidFill>
                        <a:srgbClr val="E0E0E0"/>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中国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299354162"/>
                  </a:ext>
                </a:extLst>
              </a:tr>
              <a:tr h="136800">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北陸</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陸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18000" marR="0" marT="0" marB="0" anchor="ctr">
                    <a:lnL w="3175" cap="flat" cmpd="sng" algn="ctr">
                      <a:solidFill>
                        <a:schemeClr val="bg1"/>
                      </a:solidFill>
                      <a:prstDash val="sysDot"/>
                      <a:round/>
                      <a:headEnd type="none" w="med" len="med"/>
                      <a:tailEnd type="none" w="med" len="med"/>
                    </a:lnL>
                    <a:lnR w="9525" cap="flat" cmpd="sng" algn="ctr">
                      <a:solidFill>
                        <a:srgbClr val="E0E0E0"/>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四国</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54000" marR="36000" marT="0" marB="0" anchor="ctr">
                    <a:lnL w="9525" cap="flat" cmpd="sng" algn="ctr">
                      <a:solidFill>
                        <a:srgbClr val="E0E0E0"/>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四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noFill/>
                  </a:tcPr>
                </a:tc>
                <a:extLst>
                  <a:ext uri="{0D108BD9-81ED-4DB2-BD59-A6C34878D82A}">
                    <a16:rowId xmlns:a16="http://schemas.microsoft.com/office/drawing/2014/main" val="4073587417"/>
                  </a:ext>
                </a:extLst>
              </a:tr>
              <a:tr h="136800">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中部</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中部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18000" marR="0" marT="0" marB="0" anchor="ctr">
                    <a:lnL w="3175" cap="flat" cmpd="sng" algn="ctr">
                      <a:solidFill>
                        <a:schemeClr val="bg1"/>
                      </a:solidFill>
                      <a:prstDash val="sysDot"/>
                      <a:round/>
                      <a:headEnd type="none" w="med" len="med"/>
                      <a:tailEnd type="none" w="med" len="med"/>
                    </a:lnL>
                    <a:lnR w="9525" cap="flat" cmpd="sng" algn="ctr">
                      <a:solidFill>
                        <a:srgbClr val="E0E0E0"/>
                      </a:solid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九州</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54000" marR="36000" marT="0" marB="0" anchor="ctr">
                    <a:lnL w="9525" cap="flat" cmpd="sng" algn="ctr">
                      <a:solidFill>
                        <a:srgbClr val="E0E0E0"/>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九支</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1074824"/>
                  </a:ext>
                </a:extLst>
              </a:tr>
            </a:tbl>
          </a:graphicData>
        </a:graphic>
      </p:graphicFrame>
      <p:cxnSp>
        <p:nvCxnSpPr>
          <p:cNvPr id="523" name="コネクタ: カギ線 522">
            <a:extLst>
              <a:ext uri="{FF2B5EF4-FFF2-40B4-BE49-F238E27FC236}">
                <a16:creationId xmlns:a16="http://schemas.microsoft.com/office/drawing/2014/main" id="{2CA1C0FF-FAA4-63C1-53EB-02ED06C5383B}"/>
              </a:ext>
            </a:extLst>
          </p:cNvPr>
          <p:cNvCxnSpPr>
            <a:cxnSpLocks/>
            <a:stCxn id="296" idx="3"/>
            <a:endCxn id="519" idx="1"/>
          </p:cNvCxnSpPr>
          <p:nvPr/>
        </p:nvCxnSpPr>
        <p:spPr>
          <a:xfrm>
            <a:off x="4731163" y="2007428"/>
            <a:ext cx="372414" cy="3235011"/>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27" name="コネクタ: カギ線 526">
            <a:extLst>
              <a:ext uri="{FF2B5EF4-FFF2-40B4-BE49-F238E27FC236}">
                <a16:creationId xmlns:a16="http://schemas.microsoft.com/office/drawing/2014/main" id="{B48962A0-FE74-3F98-B5A8-DC028CE92A5C}"/>
              </a:ext>
            </a:extLst>
          </p:cNvPr>
          <p:cNvCxnSpPr>
            <a:cxnSpLocks/>
            <a:stCxn id="296" idx="3"/>
            <a:endCxn id="515" idx="1"/>
          </p:cNvCxnSpPr>
          <p:nvPr/>
        </p:nvCxnSpPr>
        <p:spPr>
          <a:xfrm>
            <a:off x="4731163" y="2007428"/>
            <a:ext cx="372412" cy="2034524"/>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30" name="コネクタ: カギ線 529">
            <a:extLst>
              <a:ext uri="{FF2B5EF4-FFF2-40B4-BE49-F238E27FC236}">
                <a16:creationId xmlns:a16="http://schemas.microsoft.com/office/drawing/2014/main" id="{D9803D05-E8CC-1810-4A2A-4F6E75111AB2}"/>
              </a:ext>
            </a:extLst>
          </p:cNvPr>
          <p:cNvCxnSpPr>
            <a:cxnSpLocks/>
            <a:stCxn id="296" idx="3"/>
            <a:endCxn id="100" idx="1"/>
          </p:cNvCxnSpPr>
          <p:nvPr/>
        </p:nvCxnSpPr>
        <p:spPr>
          <a:xfrm>
            <a:off x="4731163" y="2007428"/>
            <a:ext cx="372412" cy="1633934"/>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34" name="コネクタ: カギ線 533">
            <a:extLst>
              <a:ext uri="{FF2B5EF4-FFF2-40B4-BE49-F238E27FC236}">
                <a16:creationId xmlns:a16="http://schemas.microsoft.com/office/drawing/2014/main" id="{DFAD27C2-AE77-0901-4C29-E7622123BCF0}"/>
              </a:ext>
            </a:extLst>
          </p:cNvPr>
          <p:cNvCxnSpPr>
            <a:cxnSpLocks/>
            <a:stCxn id="296" idx="3"/>
            <a:endCxn id="408" idx="1"/>
          </p:cNvCxnSpPr>
          <p:nvPr/>
        </p:nvCxnSpPr>
        <p:spPr>
          <a:xfrm>
            <a:off x="4731163" y="2007428"/>
            <a:ext cx="372412" cy="1448565"/>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43" name="コネクタ: カギ線 542">
            <a:extLst>
              <a:ext uri="{FF2B5EF4-FFF2-40B4-BE49-F238E27FC236}">
                <a16:creationId xmlns:a16="http://schemas.microsoft.com/office/drawing/2014/main" id="{0CCCE25C-388F-4E36-8D9F-C3A9B4312564}"/>
              </a:ext>
            </a:extLst>
          </p:cNvPr>
          <p:cNvCxnSpPr>
            <a:cxnSpLocks/>
            <a:stCxn id="549" idx="2"/>
            <a:endCxn id="287" idx="1"/>
          </p:cNvCxnSpPr>
          <p:nvPr/>
        </p:nvCxnSpPr>
        <p:spPr>
          <a:xfrm rot="16200000" flipH="1">
            <a:off x="1886613" y="1428436"/>
            <a:ext cx="208660" cy="125468"/>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549" name="正方形/長方形 548">
            <a:extLst>
              <a:ext uri="{FF2B5EF4-FFF2-40B4-BE49-F238E27FC236}">
                <a16:creationId xmlns:a16="http://schemas.microsoft.com/office/drawing/2014/main" id="{E18F1E91-A452-E0AB-A0CA-14DF8C36559F}"/>
              </a:ext>
            </a:extLst>
          </p:cNvPr>
          <p:cNvSpPr/>
          <p:nvPr/>
        </p:nvSpPr>
        <p:spPr bwMode="gray">
          <a:xfrm>
            <a:off x="1802741" y="1246662"/>
            <a:ext cx="250937" cy="140178"/>
          </a:xfrm>
          <a:prstGeom prst="rect">
            <a:avLst/>
          </a:prstGeom>
          <a:solidFill>
            <a:schemeClr val="bg1">
              <a:lumMod val="75000"/>
            </a:schemeClr>
          </a:solid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cxnSp>
        <p:nvCxnSpPr>
          <p:cNvPr id="556" name="コネクタ: カギ線 555">
            <a:extLst>
              <a:ext uri="{FF2B5EF4-FFF2-40B4-BE49-F238E27FC236}">
                <a16:creationId xmlns:a16="http://schemas.microsoft.com/office/drawing/2014/main" id="{F8A0A485-F90A-9815-DEC3-026EE4410A45}"/>
              </a:ext>
            </a:extLst>
          </p:cNvPr>
          <p:cNvCxnSpPr>
            <a:cxnSpLocks/>
            <a:stCxn id="549" idx="2"/>
            <a:endCxn id="212" idx="1"/>
          </p:cNvCxnSpPr>
          <p:nvPr/>
        </p:nvCxnSpPr>
        <p:spPr>
          <a:xfrm rot="16200000" flipH="1">
            <a:off x="578035" y="2737015"/>
            <a:ext cx="2825819" cy="125468"/>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59" name="コネクタ: カギ線 558">
            <a:extLst>
              <a:ext uri="{FF2B5EF4-FFF2-40B4-BE49-F238E27FC236}">
                <a16:creationId xmlns:a16="http://schemas.microsoft.com/office/drawing/2014/main" id="{C6288ED2-F08C-29FE-D9E5-1A98674FF2BC}"/>
              </a:ext>
            </a:extLst>
          </p:cNvPr>
          <p:cNvCxnSpPr>
            <a:cxnSpLocks/>
            <a:stCxn id="549" idx="2"/>
            <a:endCxn id="12" idx="1"/>
          </p:cNvCxnSpPr>
          <p:nvPr/>
        </p:nvCxnSpPr>
        <p:spPr>
          <a:xfrm rot="16200000" flipH="1">
            <a:off x="415954" y="2899096"/>
            <a:ext cx="3149981" cy="125468"/>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62" name="コネクタ: カギ線 561">
            <a:extLst>
              <a:ext uri="{FF2B5EF4-FFF2-40B4-BE49-F238E27FC236}">
                <a16:creationId xmlns:a16="http://schemas.microsoft.com/office/drawing/2014/main" id="{39A394B9-8BDE-102E-22D5-950372F2F2C4}"/>
              </a:ext>
            </a:extLst>
          </p:cNvPr>
          <p:cNvCxnSpPr>
            <a:cxnSpLocks/>
            <a:stCxn id="549" idx="2"/>
            <a:endCxn id="327" idx="1"/>
          </p:cNvCxnSpPr>
          <p:nvPr/>
        </p:nvCxnSpPr>
        <p:spPr>
          <a:xfrm rot="16200000" flipH="1">
            <a:off x="246816" y="3068233"/>
            <a:ext cx="3488254" cy="125468"/>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574" name="コネクタ: カギ線 573">
            <a:extLst>
              <a:ext uri="{FF2B5EF4-FFF2-40B4-BE49-F238E27FC236}">
                <a16:creationId xmlns:a16="http://schemas.microsoft.com/office/drawing/2014/main" id="{1EF67DE8-266A-FC44-2506-91C41E5DABA9}"/>
              </a:ext>
            </a:extLst>
          </p:cNvPr>
          <p:cNvCxnSpPr>
            <a:cxnSpLocks/>
            <a:stCxn id="327" idx="3"/>
            <a:endCxn id="599" idx="1"/>
          </p:cNvCxnSpPr>
          <p:nvPr/>
        </p:nvCxnSpPr>
        <p:spPr>
          <a:xfrm>
            <a:off x="3206751" y="4875095"/>
            <a:ext cx="372413" cy="339759"/>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79" name="コネクタ: カギ線 78">
            <a:extLst>
              <a:ext uri="{FF2B5EF4-FFF2-40B4-BE49-F238E27FC236}">
                <a16:creationId xmlns:a16="http://schemas.microsoft.com/office/drawing/2014/main" id="{534F610A-AE8F-D770-8178-380F806E4929}"/>
              </a:ext>
            </a:extLst>
          </p:cNvPr>
          <p:cNvCxnSpPr>
            <a:cxnSpLocks/>
            <a:stCxn id="287" idx="3"/>
            <a:endCxn id="296" idx="1"/>
          </p:cNvCxnSpPr>
          <p:nvPr/>
        </p:nvCxnSpPr>
        <p:spPr>
          <a:xfrm>
            <a:off x="3206751" y="1595500"/>
            <a:ext cx="372412" cy="411928"/>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93" name="テキスト プレースホルダー 2">
            <a:extLst>
              <a:ext uri="{FF2B5EF4-FFF2-40B4-BE49-F238E27FC236}">
                <a16:creationId xmlns:a16="http://schemas.microsoft.com/office/drawing/2014/main" id="{2F17E9AC-5A1E-F34E-8A0B-55281872E1EE}"/>
              </a:ext>
            </a:extLst>
          </p:cNvPr>
          <p:cNvSpPr txBox="1">
            <a:spLocks/>
          </p:cNvSpPr>
          <p:nvPr/>
        </p:nvSpPr>
        <p:spPr bwMode="gray">
          <a:xfrm>
            <a:off x="2072936" y="5066866"/>
            <a:ext cx="1153072" cy="112579"/>
          </a:xfrm>
          <a:prstGeom prst="rect">
            <a:avLst/>
          </a:prstGeom>
          <a:noFill/>
        </p:spPr>
        <p:txBody>
          <a:bodyPr vert="eaVert" wrap="none" lIns="90000" tIns="0" rIns="0" bIns="0" rtlCol="0" anchor="ctr">
            <a:no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sz="2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sz="20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None/>
              <a:defRPr/>
            </a:pPr>
            <a:r>
              <a:rPr lang="en-US" altLang="ja-JP" dirty="0">
                <a:solidFill>
                  <a:srgbClr val="000000"/>
                </a:solidFill>
                <a:latin typeface="Yu Gothic UI" panose="020B0500000000000000" pitchFamily="50" charset="-128"/>
                <a:ea typeface="Yu Gothic UI" panose="020B0500000000000000" pitchFamily="50" charset="-128"/>
              </a:rPr>
              <a:t>…</a:t>
            </a:r>
            <a:endParaRPr lang="ja-JP" altLang="en-US" dirty="0">
              <a:solidFill>
                <a:srgbClr val="000000"/>
              </a:solidFill>
              <a:latin typeface="Yu Gothic UI" panose="020B0500000000000000" pitchFamily="50" charset="-128"/>
              <a:ea typeface="Yu Gothic UI" panose="020B0500000000000000" pitchFamily="50" charset="-128"/>
            </a:endParaRPr>
          </a:p>
        </p:txBody>
      </p:sp>
      <p:cxnSp>
        <p:nvCxnSpPr>
          <p:cNvPr id="95" name="コネクタ: カギ線 94">
            <a:extLst>
              <a:ext uri="{FF2B5EF4-FFF2-40B4-BE49-F238E27FC236}">
                <a16:creationId xmlns:a16="http://schemas.microsoft.com/office/drawing/2014/main" id="{CD1BAB78-D503-D3A0-2092-05C4DF7DCA9C}"/>
              </a:ext>
            </a:extLst>
          </p:cNvPr>
          <p:cNvCxnSpPr>
            <a:cxnSpLocks/>
            <a:endCxn id="539" idx="1"/>
          </p:cNvCxnSpPr>
          <p:nvPr/>
        </p:nvCxnSpPr>
        <p:spPr>
          <a:xfrm rot="16200000" flipH="1">
            <a:off x="5232344" y="2008925"/>
            <a:ext cx="473543" cy="236619"/>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96" name="正方形/長方形 95">
            <a:extLst>
              <a:ext uri="{FF2B5EF4-FFF2-40B4-BE49-F238E27FC236}">
                <a16:creationId xmlns:a16="http://schemas.microsoft.com/office/drawing/2014/main" id="{11F6FA97-83B9-7B70-8B15-4F662B262677}"/>
              </a:ext>
            </a:extLst>
          </p:cNvPr>
          <p:cNvSpPr/>
          <p:nvPr/>
        </p:nvSpPr>
        <p:spPr bwMode="gray">
          <a:xfrm>
            <a:off x="5216084" y="1554670"/>
            <a:ext cx="269445" cy="107289"/>
          </a:xfrm>
          <a:prstGeom prst="rect">
            <a:avLst/>
          </a:prstGeom>
          <a:no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pic>
        <p:nvPicPr>
          <p:cNvPr id="613" name="グラフィックス 612">
            <a:extLst>
              <a:ext uri="{FF2B5EF4-FFF2-40B4-BE49-F238E27FC236}">
                <a16:creationId xmlns:a16="http://schemas.microsoft.com/office/drawing/2014/main" id="{14EF33C8-D9A9-4854-7CC7-071A1CDB64CA}"/>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11453" b="12995"/>
          <a:stretch/>
        </p:blipFill>
        <p:spPr>
          <a:xfrm>
            <a:off x="3904984" y="1018218"/>
            <a:ext cx="194410" cy="146880"/>
          </a:xfrm>
          <a:prstGeom prst="rect">
            <a:avLst/>
          </a:prstGeom>
        </p:spPr>
      </p:pic>
      <p:pic>
        <p:nvPicPr>
          <p:cNvPr id="615" name="グラフィックス 614">
            <a:extLst>
              <a:ext uri="{FF2B5EF4-FFF2-40B4-BE49-F238E27FC236}">
                <a16:creationId xmlns:a16="http://schemas.microsoft.com/office/drawing/2014/main" id="{61ADF79C-5466-01B0-E2AA-141A143E311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08368" y="1020002"/>
            <a:ext cx="143315" cy="143315"/>
          </a:xfrm>
          <a:prstGeom prst="rect">
            <a:avLst/>
          </a:prstGeom>
        </p:spPr>
      </p:pic>
      <p:sp>
        <p:nvSpPr>
          <p:cNvPr id="426" name="正方形/長方形 425">
            <a:extLst>
              <a:ext uri="{FF2B5EF4-FFF2-40B4-BE49-F238E27FC236}">
                <a16:creationId xmlns:a16="http://schemas.microsoft.com/office/drawing/2014/main" id="{4815BA84-4C0F-BB35-BF11-4EE6BCEB42D6}"/>
              </a:ext>
            </a:extLst>
          </p:cNvPr>
          <p:cNvSpPr/>
          <p:nvPr/>
        </p:nvSpPr>
        <p:spPr>
          <a:xfrm>
            <a:off x="1767052" y="5662033"/>
            <a:ext cx="868528" cy="18042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kumimoji="1" lang="ja-JP" altLang="en-US" sz="800" dirty="0">
                <a:solidFill>
                  <a:srgbClr val="000000"/>
                </a:solidFill>
                <a:latin typeface="Yu Gothic UI" panose="020B0500000000000000" pitchFamily="50" charset="-128"/>
                <a:ea typeface="Yu Gothic UI" panose="020B0500000000000000" pitchFamily="50" charset="-128"/>
              </a:rPr>
              <a:t>グループ会社</a:t>
            </a:r>
          </a:p>
        </p:txBody>
      </p:sp>
      <p:sp>
        <p:nvSpPr>
          <p:cNvPr id="620" name="正方形/長方形 619">
            <a:extLst>
              <a:ext uri="{FF2B5EF4-FFF2-40B4-BE49-F238E27FC236}">
                <a16:creationId xmlns:a16="http://schemas.microsoft.com/office/drawing/2014/main" id="{538C7769-AA30-DB42-2540-0A35F7276D54}"/>
              </a:ext>
            </a:extLst>
          </p:cNvPr>
          <p:cNvSpPr/>
          <p:nvPr/>
        </p:nvSpPr>
        <p:spPr bwMode="gray">
          <a:xfrm>
            <a:off x="2278184" y="5852757"/>
            <a:ext cx="1099209"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en-US" altLang="ja-JP" sz="800" dirty="0" err="1">
                <a:solidFill>
                  <a:srgbClr val="000000"/>
                </a:solidFill>
                <a:latin typeface="Yu Gothic UI" panose="020B0500000000000000" pitchFamily="50" charset="-128"/>
                <a:ea typeface="Yu Gothic UI" panose="020B0500000000000000" pitchFamily="50" charset="-128"/>
              </a:rPr>
              <a:t>iPlanet</a:t>
            </a:r>
            <a:r>
              <a:rPr kumimoji="1" lang="ja-JP" altLang="en-US" sz="800" dirty="0">
                <a:solidFill>
                  <a:srgbClr val="000000"/>
                </a:solidFill>
                <a:latin typeface="Yu Gothic UI" panose="020B0500000000000000" pitchFamily="50" charset="-128"/>
                <a:ea typeface="Yu Gothic UI" panose="020B0500000000000000" pitchFamily="50" charset="-128"/>
              </a:rPr>
              <a:t> </a:t>
            </a:r>
            <a:r>
              <a:rPr kumimoji="1" lang="en-US" altLang="ja-JP" sz="800" dirty="0">
                <a:solidFill>
                  <a:srgbClr val="000000"/>
                </a:solidFill>
                <a:latin typeface="Yu Gothic UI" panose="020B0500000000000000" pitchFamily="50" charset="-128"/>
                <a:ea typeface="Yu Gothic UI" panose="020B0500000000000000" pitchFamily="50" charset="-128"/>
              </a:rPr>
              <a:t>(</a:t>
            </a:r>
            <a:r>
              <a:rPr kumimoji="1" lang="ja-JP" altLang="en-US" sz="800" dirty="0">
                <a:solidFill>
                  <a:srgbClr val="000000"/>
                </a:solidFill>
                <a:latin typeface="Yu Gothic UI" panose="020B0500000000000000" pitchFamily="50" charset="-128"/>
                <a:ea typeface="Yu Gothic UI" panose="020B0500000000000000" pitchFamily="50" charset="-128"/>
              </a:rPr>
              <a:t>アイプラ</a:t>
            </a:r>
            <a:r>
              <a:rPr kumimoji="1" lang="en-US" altLang="ja-JP" sz="800" dirty="0">
                <a:solidFill>
                  <a:srgbClr val="000000"/>
                </a:solidFill>
                <a:latin typeface="Yu Gothic UI" panose="020B0500000000000000" pitchFamily="50" charset="-128"/>
                <a:ea typeface="Yu Gothic UI" panose="020B0500000000000000" pitchFamily="50" charset="-128"/>
              </a:rPr>
              <a:t>)</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622" name="正方形/長方形 621">
            <a:extLst>
              <a:ext uri="{FF2B5EF4-FFF2-40B4-BE49-F238E27FC236}">
                <a16:creationId xmlns:a16="http://schemas.microsoft.com/office/drawing/2014/main" id="{92EF4334-59E7-8BEB-2B67-E2F4A38313CD}"/>
              </a:ext>
            </a:extLst>
          </p:cNvPr>
          <p:cNvSpPr/>
          <p:nvPr/>
        </p:nvSpPr>
        <p:spPr bwMode="gray">
          <a:xfrm>
            <a:off x="2278184" y="6013127"/>
            <a:ext cx="1099209"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ja-JP" altLang="en-US" sz="800" dirty="0">
                <a:solidFill>
                  <a:srgbClr val="000000"/>
                </a:solidFill>
                <a:latin typeface="Yu Gothic UI" panose="020B0500000000000000" pitchFamily="50" charset="-128"/>
                <a:ea typeface="Yu Gothic UI" panose="020B0500000000000000" pitchFamily="50" charset="-128"/>
              </a:rPr>
              <a:t>指月電機</a:t>
            </a:r>
          </a:p>
        </p:txBody>
      </p:sp>
      <p:sp>
        <p:nvSpPr>
          <p:cNvPr id="623" name="正方形/長方形 622">
            <a:extLst>
              <a:ext uri="{FF2B5EF4-FFF2-40B4-BE49-F238E27FC236}">
                <a16:creationId xmlns:a16="http://schemas.microsoft.com/office/drawing/2014/main" id="{9834D2BD-CE1A-E060-9840-A03923AD04F3}"/>
              </a:ext>
            </a:extLst>
          </p:cNvPr>
          <p:cNvSpPr/>
          <p:nvPr/>
        </p:nvSpPr>
        <p:spPr bwMode="gray">
          <a:xfrm>
            <a:off x="3394529" y="5852757"/>
            <a:ext cx="1728000"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ja-JP" altLang="en-US" sz="800" dirty="0">
                <a:solidFill>
                  <a:srgbClr val="000000"/>
                </a:solidFill>
                <a:latin typeface="Yu Gothic UI" panose="020B0500000000000000" pitchFamily="50" charset="-128"/>
                <a:ea typeface="Yu Gothic UI" panose="020B0500000000000000" pitchFamily="50" charset="-128"/>
              </a:rPr>
              <a:t>三菱電機エンジニアリング </a:t>
            </a:r>
            <a:r>
              <a:rPr kumimoji="1" lang="en-US" altLang="ja-JP" sz="800" dirty="0">
                <a:solidFill>
                  <a:srgbClr val="000000"/>
                </a:solidFill>
                <a:latin typeface="Yu Gothic UI" panose="020B0500000000000000" pitchFamily="50" charset="-128"/>
                <a:ea typeface="Yu Gothic UI" panose="020B0500000000000000" pitchFamily="50" charset="-128"/>
              </a:rPr>
              <a:t>(MEE)</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626" name="正方形/長方形 625">
            <a:extLst>
              <a:ext uri="{FF2B5EF4-FFF2-40B4-BE49-F238E27FC236}">
                <a16:creationId xmlns:a16="http://schemas.microsoft.com/office/drawing/2014/main" id="{E2AE6C23-9150-497F-2097-B4D819805331}"/>
              </a:ext>
            </a:extLst>
          </p:cNvPr>
          <p:cNvSpPr/>
          <p:nvPr/>
        </p:nvSpPr>
        <p:spPr bwMode="gray">
          <a:xfrm>
            <a:off x="5136826" y="5852757"/>
            <a:ext cx="1728000"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ja-JP" altLang="en-US" sz="800" dirty="0">
                <a:latin typeface="Yu Gothic UI" panose="020B0500000000000000" pitchFamily="50" charset="-128"/>
                <a:ea typeface="Yu Gothic UI" panose="020B0500000000000000" pitchFamily="50" charset="-128"/>
              </a:rPr>
              <a:t>三菱電機社会インフラ機器 </a:t>
            </a:r>
            <a:r>
              <a:rPr kumimoji="1" lang="en-US" altLang="ja-JP" sz="800" dirty="0">
                <a:solidFill>
                  <a:srgbClr val="000000"/>
                </a:solidFill>
                <a:latin typeface="Yu Gothic UI" panose="020B0500000000000000" pitchFamily="50" charset="-128"/>
                <a:ea typeface="Yu Gothic UI" panose="020B0500000000000000" pitchFamily="50" charset="-128"/>
              </a:rPr>
              <a:t>(MPUE)</a:t>
            </a: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627" name="テキスト プレースホルダー 2">
            <a:extLst>
              <a:ext uri="{FF2B5EF4-FFF2-40B4-BE49-F238E27FC236}">
                <a16:creationId xmlns:a16="http://schemas.microsoft.com/office/drawing/2014/main" id="{E2403CB2-ED90-E755-7C47-DCE92AF4C83E}"/>
              </a:ext>
            </a:extLst>
          </p:cNvPr>
          <p:cNvSpPr txBox="1">
            <a:spLocks/>
          </p:cNvSpPr>
          <p:nvPr/>
        </p:nvSpPr>
        <p:spPr bwMode="gray">
          <a:xfrm>
            <a:off x="5587425" y="4673734"/>
            <a:ext cx="1572603" cy="154704"/>
          </a:xfrm>
          <a:prstGeom prst="rect">
            <a:avLst/>
          </a:prstGeom>
          <a:noFill/>
        </p:spPr>
        <p:txBody>
          <a:bodyPr vert="eaVert" wrap="none" lIns="90000" tIns="0" rIns="0" bIns="0" rtlCol="0" anchor="ctr">
            <a:no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sz="2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sz="20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None/>
              <a:defRPr/>
            </a:pPr>
            <a:r>
              <a:rPr lang="en-US" altLang="ja-JP" dirty="0">
                <a:solidFill>
                  <a:srgbClr val="000000"/>
                </a:solidFill>
                <a:latin typeface="Yu Gothic UI" panose="020B0500000000000000" pitchFamily="50" charset="-128"/>
                <a:ea typeface="Yu Gothic UI" panose="020B0500000000000000" pitchFamily="50" charset="-128"/>
              </a:rPr>
              <a:t>…</a:t>
            </a:r>
            <a:endParaRPr lang="ja-JP" altLang="en-US" dirty="0">
              <a:solidFill>
                <a:srgbClr val="000000"/>
              </a:solidFill>
              <a:latin typeface="Yu Gothic UI" panose="020B0500000000000000" pitchFamily="50" charset="-128"/>
              <a:ea typeface="Yu Gothic UI" panose="020B0500000000000000" pitchFamily="50" charset="-128"/>
            </a:endParaRPr>
          </a:p>
        </p:txBody>
      </p:sp>
      <p:sp>
        <p:nvSpPr>
          <p:cNvPr id="193" name="正方形/長方形 192">
            <a:extLst>
              <a:ext uri="{FF2B5EF4-FFF2-40B4-BE49-F238E27FC236}">
                <a16:creationId xmlns:a16="http://schemas.microsoft.com/office/drawing/2014/main" id="{1F466D16-C017-419A-0998-C76BAC79303F}"/>
              </a:ext>
            </a:extLst>
          </p:cNvPr>
          <p:cNvSpPr/>
          <p:nvPr/>
        </p:nvSpPr>
        <p:spPr>
          <a:xfrm>
            <a:off x="7285249" y="5662033"/>
            <a:ext cx="868528" cy="18042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kumimoji="1" lang="ja-JP" altLang="en-US" sz="800" dirty="0">
                <a:solidFill>
                  <a:srgbClr val="000000"/>
                </a:solidFill>
                <a:latin typeface="Yu Gothic UI" panose="020B0500000000000000" pitchFamily="50" charset="-128"/>
                <a:ea typeface="Yu Gothic UI" panose="020B0500000000000000" pitchFamily="50" charset="-128"/>
              </a:rPr>
              <a:t>グループ会社</a:t>
            </a:r>
          </a:p>
        </p:txBody>
      </p:sp>
      <p:sp>
        <p:nvSpPr>
          <p:cNvPr id="13" name="正方形/長方形 12">
            <a:extLst>
              <a:ext uri="{FF2B5EF4-FFF2-40B4-BE49-F238E27FC236}">
                <a16:creationId xmlns:a16="http://schemas.microsoft.com/office/drawing/2014/main" id="{578F6CDC-990C-2091-52C6-502E221F9CC1}"/>
              </a:ext>
            </a:extLst>
          </p:cNvPr>
          <p:cNvSpPr/>
          <p:nvPr/>
        </p:nvSpPr>
        <p:spPr bwMode="gray">
          <a:xfrm>
            <a:off x="5587425" y="4347535"/>
            <a:ext cx="1572603"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各機種営業</a:t>
            </a:r>
          </a:p>
        </p:txBody>
      </p:sp>
      <p:sp>
        <p:nvSpPr>
          <p:cNvPr id="15" name="正方形/長方形 14">
            <a:extLst>
              <a:ext uri="{FF2B5EF4-FFF2-40B4-BE49-F238E27FC236}">
                <a16:creationId xmlns:a16="http://schemas.microsoft.com/office/drawing/2014/main" id="{EC3E0581-686B-6C7F-B1E6-69C2A80D4E1B}"/>
              </a:ext>
            </a:extLst>
          </p:cNvPr>
          <p:cNvSpPr/>
          <p:nvPr/>
        </p:nvSpPr>
        <p:spPr bwMode="gray">
          <a:xfrm>
            <a:off x="5587425" y="4510760"/>
            <a:ext cx="1572603"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各機種コンテンツ制作部門</a:t>
            </a:r>
          </a:p>
        </p:txBody>
      </p:sp>
      <p:sp>
        <p:nvSpPr>
          <p:cNvPr id="25" name="正方形/長方形 24">
            <a:extLst>
              <a:ext uri="{FF2B5EF4-FFF2-40B4-BE49-F238E27FC236}">
                <a16:creationId xmlns:a16="http://schemas.microsoft.com/office/drawing/2014/main" id="{BA6FC0EC-9300-71E1-FAB6-78BC30007362}"/>
              </a:ext>
            </a:extLst>
          </p:cNvPr>
          <p:cNvSpPr/>
          <p:nvPr/>
        </p:nvSpPr>
        <p:spPr bwMode="gray">
          <a:xfrm>
            <a:off x="5596529" y="3000069"/>
            <a:ext cx="1563499"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各計画部</a:t>
            </a:r>
            <a:endParaRPr kumimoji="1" lang="en-US" altLang="zh-TW" sz="800" dirty="0">
              <a:solidFill>
                <a:srgbClr val="000000"/>
              </a:solidFill>
              <a:latin typeface="Yu Gothic UI" panose="020B0500000000000000" pitchFamily="50" charset="-128"/>
              <a:ea typeface="Yu Gothic UI" panose="020B0500000000000000" pitchFamily="50" charset="-128"/>
            </a:endParaRPr>
          </a:p>
        </p:txBody>
      </p:sp>
      <p:cxnSp>
        <p:nvCxnSpPr>
          <p:cNvPr id="119" name="直線コネクタ 118">
            <a:extLst>
              <a:ext uri="{FF2B5EF4-FFF2-40B4-BE49-F238E27FC236}">
                <a16:creationId xmlns:a16="http://schemas.microsoft.com/office/drawing/2014/main" id="{5200CF25-7E01-1385-2C47-D7268A150010}"/>
              </a:ext>
            </a:extLst>
          </p:cNvPr>
          <p:cNvCxnSpPr>
            <a:cxnSpLocks/>
            <a:stCxn id="294" idx="3"/>
            <a:endCxn id="97" idx="1"/>
          </p:cNvCxnSpPr>
          <p:nvPr/>
        </p:nvCxnSpPr>
        <p:spPr>
          <a:xfrm>
            <a:off x="4731163" y="1595500"/>
            <a:ext cx="372412" cy="0"/>
          </a:xfrm>
          <a:prstGeom prst="line">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122" name="直線コネクタ 121">
            <a:extLst>
              <a:ext uri="{FF2B5EF4-FFF2-40B4-BE49-F238E27FC236}">
                <a16:creationId xmlns:a16="http://schemas.microsoft.com/office/drawing/2014/main" id="{A86752A9-1929-43E2-DAAA-C96F658CF1C0}"/>
              </a:ext>
            </a:extLst>
          </p:cNvPr>
          <p:cNvCxnSpPr>
            <a:cxnSpLocks/>
            <a:stCxn id="287" idx="3"/>
            <a:endCxn id="294" idx="1"/>
          </p:cNvCxnSpPr>
          <p:nvPr/>
        </p:nvCxnSpPr>
        <p:spPr>
          <a:xfrm>
            <a:off x="3206751" y="1595500"/>
            <a:ext cx="372413" cy="0"/>
          </a:xfrm>
          <a:prstGeom prst="line">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graphicFrame>
        <p:nvGraphicFramePr>
          <p:cNvPr id="539" name="表 12">
            <a:extLst>
              <a:ext uri="{FF2B5EF4-FFF2-40B4-BE49-F238E27FC236}">
                <a16:creationId xmlns:a16="http://schemas.microsoft.com/office/drawing/2014/main" id="{14CE5769-07BC-D8F0-B9CC-0A4333BA5567}"/>
              </a:ext>
            </a:extLst>
          </p:cNvPr>
          <p:cNvGraphicFramePr>
            <a:graphicFrameLocks noGrp="1"/>
          </p:cNvGraphicFramePr>
          <p:nvPr>
            <p:extLst>
              <p:ext uri="{D42A27DB-BD31-4B8C-83A1-F6EECF244321}">
                <p14:modId xmlns:p14="http://schemas.microsoft.com/office/powerpoint/2010/main" val="2280456307"/>
              </p:ext>
            </p:extLst>
          </p:nvPr>
        </p:nvGraphicFramePr>
        <p:xfrm>
          <a:off x="5587425" y="2090407"/>
          <a:ext cx="1572603" cy="547200"/>
        </p:xfrm>
        <a:graphic>
          <a:graphicData uri="http://schemas.openxmlformats.org/drawingml/2006/table">
            <a:tbl>
              <a:tblPr firstRow="1">
                <a:tableStyleId>{073A0DAA-6AF3-43AB-8588-CEC1D06C72B9}</a:tableStyleId>
              </a:tblPr>
              <a:tblGrid>
                <a:gridCol w="1164835">
                  <a:extLst>
                    <a:ext uri="{9D8B030D-6E8A-4147-A177-3AD203B41FA5}">
                      <a16:colId xmlns:a16="http://schemas.microsoft.com/office/drawing/2014/main" val="1276324932"/>
                    </a:ext>
                  </a:extLst>
                </a:gridCol>
                <a:gridCol w="407768">
                  <a:extLst>
                    <a:ext uri="{9D8B030D-6E8A-4147-A177-3AD203B41FA5}">
                      <a16:colId xmlns:a16="http://schemas.microsoft.com/office/drawing/2014/main" val="262263702"/>
                    </a:ext>
                  </a:extLst>
                </a:gridCol>
              </a:tblGrid>
              <a:tr h="136800">
                <a:tc gridSpan="2">
                  <a:txBody>
                    <a:bodyPr/>
                    <a:lstStyle/>
                    <a:p>
                      <a:pPr algn="ctr"/>
                      <a:r>
                        <a:rPr kumimoji="1" lang="en-US" altLang="ja-JP" sz="800" b="0" dirty="0">
                          <a:solidFill>
                            <a:schemeClr val="tx1"/>
                          </a:solidFill>
                          <a:latin typeface="Yu Gothic UI" panose="020B0500000000000000" pitchFamily="50" charset="-128"/>
                          <a:ea typeface="Yu Gothic UI" panose="020B0500000000000000" pitchFamily="50" charset="-128"/>
                        </a:rPr>
                        <a:t>FA</a:t>
                      </a:r>
                      <a:r>
                        <a:rPr kumimoji="1" lang="ja-JP" altLang="en-US" sz="800" b="0" dirty="0">
                          <a:solidFill>
                            <a:schemeClr val="tx1"/>
                          </a:solidFill>
                          <a:latin typeface="Yu Gothic UI" panose="020B0500000000000000" pitchFamily="50" charset="-128"/>
                          <a:ea typeface="Yu Gothic UI" panose="020B0500000000000000" pitchFamily="50" charset="-128"/>
                        </a:rPr>
                        <a:t>デジタルマーケティングセンター</a:t>
                      </a:r>
                    </a:p>
                  </a:txBody>
                  <a:tcPr marL="36000"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rgbClr val="F3DDE6"/>
                    </a:solidFill>
                  </a:tcPr>
                </a:tc>
                <a:tc hMerge="1">
                  <a:txBody>
                    <a:bodyPr/>
                    <a:lstStyle/>
                    <a:p>
                      <a:pPr algn="l"/>
                      <a:endParaRPr kumimoji="1" lang="en-US" altLang="ja-JP"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259588388"/>
                  </a:ext>
                </a:extLst>
              </a:tr>
              <a:tr h="136800">
                <a:tc>
                  <a:txBody>
                    <a:bodyPr/>
                    <a:lstStyle/>
                    <a:p>
                      <a:pPr algn="l"/>
                      <a:r>
                        <a:rPr kumimoji="1" lang="ja-JP" altLang="en-US"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企画</a:t>
                      </a:r>
                      <a:r>
                        <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G</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tc>
                  <a:txBody>
                    <a:bodyPr/>
                    <a:lstStyle/>
                    <a:p>
                      <a:pPr algn="l"/>
                      <a:r>
                        <a:rPr kumimoji="1" lang="en-US" altLang="ja-JP" sz="800" b="0" dirty="0">
                          <a:solidFill>
                            <a:schemeClr val="tx1"/>
                          </a:solidFill>
                          <a:latin typeface="Yu Gothic UI" panose="020B0500000000000000" pitchFamily="50" charset="-128"/>
                          <a:ea typeface="Yu Gothic UI" panose="020B0500000000000000" pitchFamily="50" charset="-128"/>
                        </a:rPr>
                        <a:t>(DM</a:t>
                      </a:r>
                      <a:r>
                        <a:rPr kumimoji="1" lang="ja-JP" altLang="en-US" sz="800" b="0" dirty="0">
                          <a:solidFill>
                            <a:schemeClr val="tx1"/>
                          </a:solidFill>
                          <a:latin typeface="Yu Gothic UI" panose="020B0500000000000000" pitchFamily="50" charset="-128"/>
                          <a:ea typeface="Yu Gothic UI" panose="020B0500000000000000" pitchFamily="50" charset="-128"/>
                        </a:rPr>
                        <a:t>企</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677962875"/>
                  </a:ext>
                </a:extLst>
              </a:tr>
              <a:tr h="136800">
                <a:tc>
                  <a:txBody>
                    <a:bodyPr/>
                    <a:lstStyle/>
                    <a:p>
                      <a:pPr algn="l"/>
                      <a:r>
                        <a:rPr kumimoji="1" lang="ja-JP" altLang="en-US" sz="800" b="0" dirty="0">
                          <a:solidFill>
                            <a:schemeClr val="tx1"/>
                          </a:solidFill>
                          <a:latin typeface="Yu Gothic UI" panose="020B0500000000000000" pitchFamily="50" charset="-128"/>
                          <a:ea typeface="Yu Gothic UI" panose="020B0500000000000000" pitchFamily="50" charset="-128"/>
                        </a:rPr>
                        <a:t>プロモーション</a:t>
                      </a:r>
                      <a:r>
                        <a:rPr kumimoji="1" lang="en-US" altLang="ja-JP" sz="800" b="0" dirty="0">
                          <a:solidFill>
                            <a:schemeClr val="tx1"/>
                          </a:solidFill>
                          <a:latin typeface="Yu Gothic UI" panose="020B0500000000000000" pitchFamily="50" charset="-128"/>
                          <a:ea typeface="Yu Gothic UI" panose="020B0500000000000000" pitchFamily="50" charset="-128"/>
                        </a:rPr>
                        <a:t>G</a:t>
                      </a:r>
                      <a:endParaRPr kumimoji="1" lang="ja-JP" altLang="en-US" sz="8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Yu Gothic UI" panose="020B0500000000000000" pitchFamily="50" charset="-128"/>
                          <a:ea typeface="Yu Gothic UI" panose="020B0500000000000000" pitchFamily="50" charset="-128"/>
                        </a:rPr>
                        <a:t>(</a:t>
                      </a:r>
                      <a:r>
                        <a:rPr kumimoji="1" lang="ja-JP" altLang="en-US" sz="800" b="0" dirty="0">
                          <a:solidFill>
                            <a:schemeClr val="tx1"/>
                          </a:solidFill>
                          <a:latin typeface="Yu Gothic UI" panose="020B0500000000000000" pitchFamily="50" charset="-128"/>
                          <a:ea typeface="Yu Gothic UI" panose="020B0500000000000000" pitchFamily="50" charset="-128"/>
                        </a:rPr>
                        <a:t>プロモ</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99354162"/>
                  </a:ext>
                </a:extLst>
              </a:tr>
              <a:tr h="136800">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デジタルマーケティング</a:t>
                      </a:r>
                      <a:r>
                        <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G</a:t>
                      </a: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DMG)</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3587417"/>
                  </a:ext>
                </a:extLst>
              </a:tr>
            </a:tbl>
          </a:graphicData>
        </a:graphic>
      </p:graphicFrame>
      <p:sp>
        <p:nvSpPr>
          <p:cNvPr id="561" name="正方形/長方形 560">
            <a:extLst>
              <a:ext uri="{FF2B5EF4-FFF2-40B4-BE49-F238E27FC236}">
                <a16:creationId xmlns:a16="http://schemas.microsoft.com/office/drawing/2014/main" id="{1197688F-1E88-EA86-741D-BFC4B8DB66DB}"/>
              </a:ext>
            </a:extLst>
          </p:cNvPr>
          <p:cNvSpPr/>
          <p:nvPr/>
        </p:nvSpPr>
        <p:spPr bwMode="gray">
          <a:xfrm>
            <a:off x="5587425" y="1708746"/>
            <a:ext cx="1572603"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FA</a:t>
            </a:r>
            <a:r>
              <a:rPr kumimoji="1" lang="ja-JP" altLang="en-US" sz="800" dirty="0">
                <a:solidFill>
                  <a:srgbClr val="000000"/>
                </a:solidFill>
                <a:latin typeface="Yu Gothic UI" panose="020B0500000000000000" pitchFamily="50" charset="-128"/>
                <a:ea typeface="Yu Gothic UI" panose="020B0500000000000000" pitchFamily="50" charset="-128"/>
              </a:rPr>
              <a:t>システムグローバル</a:t>
            </a:r>
            <a:r>
              <a:rPr kumimoji="1" lang="en-US" altLang="ja-JP" sz="800" dirty="0">
                <a:solidFill>
                  <a:srgbClr val="000000"/>
                </a:solidFill>
                <a:latin typeface="Yu Gothic UI" panose="020B0500000000000000" pitchFamily="50" charset="-128"/>
                <a:ea typeface="Yu Gothic UI" panose="020B0500000000000000" pitchFamily="50" charset="-128"/>
              </a:rPr>
              <a:t>SCM (GSI)</a:t>
            </a:r>
          </a:p>
        </p:txBody>
      </p:sp>
      <p:cxnSp>
        <p:nvCxnSpPr>
          <p:cNvPr id="563" name="コネクタ: カギ線 562">
            <a:extLst>
              <a:ext uri="{FF2B5EF4-FFF2-40B4-BE49-F238E27FC236}">
                <a16:creationId xmlns:a16="http://schemas.microsoft.com/office/drawing/2014/main" id="{92CFACB0-3A3A-DFB0-FD36-5E34114E86E0}"/>
              </a:ext>
            </a:extLst>
          </p:cNvPr>
          <p:cNvCxnSpPr>
            <a:cxnSpLocks/>
            <a:stCxn id="96" idx="2"/>
            <a:endCxn id="561" idx="1"/>
          </p:cNvCxnSpPr>
          <p:nvPr/>
        </p:nvCxnSpPr>
        <p:spPr>
          <a:xfrm rot="16200000" flipH="1">
            <a:off x="5409723" y="1603043"/>
            <a:ext cx="118787" cy="236618"/>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567" name="テキスト プレースホルダー 2">
            <a:extLst>
              <a:ext uri="{FF2B5EF4-FFF2-40B4-BE49-F238E27FC236}">
                <a16:creationId xmlns:a16="http://schemas.microsoft.com/office/drawing/2014/main" id="{C5C77339-2BFE-04E8-BABB-2E39BE30FA32}"/>
              </a:ext>
            </a:extLst>
          </p:cNvPr>
          <p:cNvSpPr txBox="1">
            <a:spLocks/>
          </p:cNvSpPr>
          <p:nvPr/>
        </p:nvSpPr>
        <p:spPr bwMode="gray">
          <a:xfrm>
            <a:off x="5139666" y="6013127"/>
            <a:ext cx="1728000" cy="144000"/>
          </a:xfrm>
          <a:prstGeom prst="rect">
            <a:avLst/>
          </a:prstGeom>
          <a:noFill/>
        </p:spPr>
        <p:txBody>
          <a:bodyPr vert="horz" wrap="none" lIns="0" tIns="0" rIns="0" bIns="0" rtlCol="0" anchor="ctr">
            <a:no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sz="2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sz="20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None/>
              <a:defRPr/>
            </a:pPr>
            <a:r>
              <a:rPr lang="en-US" altLang="ja-JP" sz="800" dirty="0">
                <a:solidFill>
                  <a:srgbClr val="000000"/>
                </a:solidFill>
                <a:latin typeface="Yu Gothic UI" panose="020B0500000000000000" pitchFamily="50" charset="-128"/>
                <a:ea typeface="Yu Gothic UI" panose="020B0500000000000000" pitchFamily="50" charset="-128"/>
              </a:rPr>
              <a:t>…</a:t>
            </a:r>
            <a:r>
              <a:rPr lang="ja-JP" altLang="en-US" sz="800" dirty="0">
                <a:solidFill>
                  <a:srgbClr val="000000"/>
                </a:solidFill>
                <a:latin typeface="Yu Gothic UI" panose="020B0500000000000000" pitchFamily="50" charset="-128"/>
                <a:ea typeface="Yu Gothic UI" panose="020B0500000000000000" pitchFamily="50" charset="-128"/>
              </a:rPr>
              <a:t> など</a:t>
            </a:r>
          </a:p>
        </p:txBody>
      </p:sp>
      <p:cxnSp>
        <p:nvCxnSpPr>
          <p:cNvPr id="624" name="コネクタ: カギ線 623">
            <a:extLst>
              <a:ext uri="{FF2B5EF4-FFF2-40B4-BE49-F238E27FC236}">
                <a16:creationId xmlns:a16="http://schemas.microsoft.com/office/drawing/2014/main" id="{38F72EF0-DE5F-8B9D-C752-78E71F3063B0}"/>
              </a:ext>
            </a:extLst>
          </p:cNvPr>
          <p:cNvCxnSpPr>
            <a:cxnSpLocks/>
            <a:stCxn id="635" idx="2"/>
            <a:endCxn id="25" idx="1"/>
          </p:cNvCxnSpPr>
          <p:nvPr/>
        </p:nvCxnSpPr>
        <p:spPr>
          <a:xfrm rot="16200000" flipH="1">
            <a:off x="5412392" y="2887932"/>
            <a:ext cx="122552" cy="245722"/>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635" name="正方形/長方形 634">
            <a:extLst>
              <a:ext uri="{FF2B5EF4-FFF2-40B4-BE49-F238E27FC236}">
                <a16:creationId xmlns:a16="http://schemas.microsoft.com/office/drawing/2014/main" id="{2E3F722C-CF14-E168-9EF3-A72FD54820BE}"/>
              </a:ext>
            </a:extLst>
          </p:cNvPr>
          <p:cNvSpPr/>
          <p:nvPr/>
        </p:nvSpPr>
        <p:spPr bwMode="gray">
          <a:xfrm>
            <a:off x="5216084" y="2842228"/>
            <a:ext cx="269445" cy="107289"/>
          </a:xfrm>
          <a:prstGeom prst="rect">
            <a:avLst/>
          </a:prstGeom>
          <a:solidFill>
            <a:schemeClr val="bg1">
              <a:lumMod val="75000"/>
            </a:schemeClr>
          </a:solid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sp>
        <p:nvSpPr>
          <p:cNvPr id="202" name="正方形/長方形 201">
            <a:extLst>
              <a:ext uri="{FF2B5EF4-FFF2-40B4-BE49-F238E27FC236}">
                <a16:creationId xmlns:a16="http://schemas.microsoft.com/office/drawing/2014/main" id="{0A73ADC2-8483-BBA1-B405-5706FE1FC299}"/>
              </a:ext>
            </a:extLst>
          </p:cNvPr>
          <p:cNvSpPr/>
          <p:nvPr/>
        </p:nvSpPr>
        <p:spPr bwMode="gray">
          <a:xfrm>
            <a:off x="5201786" y="4206843"/>
            <a:ext cx="269445" cy="107289"/>
          </a:xfrm>
          <a:prstGeom prst="rect">
            <a:avLst/>
          </a:prstGeom>
          <a:solidFill>
            <a:schemeClr val="bg1">
              <a:lumMod val="75000"/>
            </a:schemeClr>
          </a:solidFill>
          <a:ln w="6350" algn="ctr">
            <a:noFill/>
            <a:miter lim="800000"/>
            <a:headEnd/>
            <a:tailEnd/>
          </a:ln>
        </p:spPr>
        <p:txBody>
          <a:bodyPr wrap="square" lIns="36000" tIns="0" rIns="36000" bIns="0" rtlCol="0" anchor="ctr"/>
          <a:lstStyle/>
          <a:p>
            <a:pPr algn="ctr" defTabSz="914400">
              <a:spcBef>
                <a:spcPts val="300"/>
              </a:spcBef>
              <a:defRPr/>
            </a:pPr>
            <a:endParaRPr kumimoji="1" lang="ja-JP" altLang="en-US" sz="800" dirty="0">
              <a:solidFill>
                <a:srgbClr val="000000"/>
              </a:solidFill>
              <a:latin typeface="Yu Gothic UI" panose="020B0500000000000000" pitchFamily="50" charset="-128"/>
              <a:ea typeface="Yu Gothic UI" panose="020B0500000000000000" pitchFamily="50" charset="-128"/>
            </a:endParaRPr>
          </a:p>
        </p:txBody>
      </p:sp>
      <p:cxnSp>
        <p:nvCxnSpPr>
          <p:cNvPr id="203" name="コネクタ: カギ線 202">
            <a:extLst>
              <a:ext uri="{FF2B5EF4-FFF2-40B4-BE49-F238E27FC236}">
                <a16:creationId xmlns:a16="http://schemas.microsoft.com/office/drawing/2014/main" id="{068958EA-6850-B1F9-7556-BCB1C152B69D}"/>
              </a:ext>
            </a:extLst>
          </p:cNvPr>
          <p:cNvCxnSpPr>
            <a:cxnSpLocks/>
            <a:stCxn id="202" idx="2"/>
            <a:endCxn id="13" idx="1"/>
          </p:cNvCxnSpPr>
          <p:nvPr/>
        </p:nvCxnSpPr>
        <p:spPr>
          <a:xfrm rot="16200000" flipH="1">
            <a:off x="5409264" y="4241375"/>
            <a:ext cx="105404" cy="250916"/>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206" name="コネクタ: カギ線 205">
            <a:extLst>
              <a:ext uri="{FF2B5EF4-FFF2-40B4-BE49-F238E27FC236}">
                <a16:creationId xmlns:a16="http://schemas.microsoft.com/office/drawing/2014/main" id="{195CDD5B-7A7A-6ABA-B983-F12D0BD22D41}"/>
              </a:ext>
            </a:extLst>
          </p:cNvPr>
          <p:cNvCxnSpPr>
            <a:cxnSpLocks/>
            <a:stCxn id="202" idx="2"/>
            <a:endCxn id="15" idx="1"/>
          </p:cNvCxnSpPr>
          <p:nvPr/>
        </p:nvCxnSpPr>
        <p:spPr>
          <a:xfrm rot="16200000" flipH="1">
            <a:off x="5327653" y="4322987"/>
            <a:ext cx="268629" cy="250916"/>
          </a:xfrm>
          <a:prstGeom prst="bentConnector2">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210" name="正方形/長方形 209">
            <a:extLst>
              <a:ext uri="{FF2B5EF4-FFF2-40B4-BE49-F238E27FC236}">
                <a16:creationId xmlns:a16="http://schemas.microsoft.com/office/drawing/2014/main" id="{FA5DE091-4888-19B0-107C-9E46C8189C65}"/>
              </a:ext>
            </a:extLst>
          </p:cNvPr>
          <p:cNvSpPr/>
          <p:nvPr/>
        </p:nvSpPr>
        <p:spPr bwMode="gray">
          <a:xfrm>
            <a:off x="3394529" y="6013127"/>
            <a:ext cx="1728000"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a:spcBef>
                <a:spcPts val="300"/>
              </a:spcBef>
            </a:pPr>
            <a:r>
              <a:rPr kumimoji="1" lang="zh-TW" altLang="en-US" sz="800" dirty="0">
                <a:solidFill>
                  <a:srgbClr val="000000"/>
                </a:solidFill>
                <a:latin typeface="Yu Gothic UI" panose="020B0500000000000000" pitchFamily="50" charset="-128"/>
                <a:ea typeface="Yu Gothic UI" panose="020B0500000000000000" pitchFamily="50" charset="-128"/>
              </a:rPr>
              <a:t>三菱電機</a:t>
            </a:r>
            <a:r>
              <a:rPr kumimoji="1" lang="en-US" altLang="zh-TW" sz="800" dirty="0">
                <a:solidFill>
                  <a:srgbClr val="000000"/>
                </a:solidFill>
                <a:latin typeface="Yu Gothic UI" panose="020B0500000000000000" pitchFamily="50" charset="-128"/>
                <a:ea typeface="Yu Gothic UI" panose="020B0500000000000000" pitchFamily="50" charset="-128"/>
              </a:rPr>
              <a:t>FA</a:t>
            </a:r>
            <a:r>
              <a:rPr kumimoji="1" lang="zh-TW" altLang="en-US" sz="800" dirty="0">
                <a:solidFill>
                  <a:srgbClr val="000000"/>
                </a:solidFill>
                <a:latin typeface="Yu Gothic UI" panose="020B0500000000000000" pitchFamily="50" charset="-128"/>
                <a:ea typeface="Yu Gothic UI" panose="020B0500000000000000" pitchFamily="50" charset="-128"/>
              </a:rPr>
              <a:t>産業機器 </a:t>
            </a:r>
            <a:r>
              <a:rPr kumimoji="1" lang="en-US" altLang="zh-TW" sz="800" dirty="0">
                <a:solidFill>
                  <a:srgbClr val="000000"/>
                </a:solidFill>
                <a:latin typeface="Yu Gothic UI" panose="020B0500000000000000" pitchFamily="50" charset="-128"/>
                <a:ea typeface="Yu Gothic UI" panose="020B0500000000000000" pitchFamily="50" charset="-128"/>
              </a:rPr>
              <a:t>(MFK)</a:t>
            </a:r>
          </a:p>
        </p:txBody>
      </p:sp>
      <p:cxnSp>
        <p:nvCxnSpPr>
          <p:cNvPr id="214" name="直線コネクタ 213">
            <a:extLst>
              <a:ext uri="{FF2B5EF4-FFF2-40B4-BE49-F238E27FC236}">
                <a16:creationId xmlns:a16="http://schemas.microsoft.com/office/drawing/2014/main" id="{9FCD3FB2-208E-6B96-6274-EAEB0D5FA233}"/>
              </a:ext>
            </a:extLst>
          </p:cNvPr>
          <p:cNvCxnSpPr>
            <a:cxnSpLocks/>
            <a:stCxn id="12" idx="3"/>
            <a:endCxn id="14" idx="1"/>
          </p:cNvCxnSpPr>
          <p:nvPr/>
        </p:nvCxnSpPr>
        <p:spPr>
          <a:xfrm>
            <a:off x="3206751" y="4536821"/>
            <a:ext cx="372413" cy="0"/>
          </a:xfrm>
          <a:prstGeom prst="line">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cxnSp>
        <p:nvCxnSpPr>
          <p:cNvPr id="218" name="直線コネクタ 217">
            <a:extLst>
              <a:ext uri="{FF2B5EF4-FFF2-40B4-BE49-F238E27FC236}">
                <a16:creationId xmlns:a16="http://schemas.microsoft.com/office/drawing/2014/main" id="{9A50A8CC-8FD4-4F97-D156-C8C17B6DBB75}"/>
              </a:ext>
            </a:extLst>
          </p:cNvPr>
          <p:cNvCxnSpPr>
            <a:cxnSpLocks/>
            <a:stCxn id="327" idx="3"/>
            <a:endCxn id="217" idx="1"/>
          </p:cNvCxnSpPr>
          <p:nvPr/>
        </p:nvCxnSpPr>
        <p:spPr>
          <a:xfrm>
            <a:off x="3206751" y="4875094"/>
            <a:ext cx="372413" cy="0"/>
          </a:xfrm>
          <a:prstGeom prst="line">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sp>
        <p:nvSpPr>
          <p:cNvPr id="395" name="正方形/長方形 394">
            <a:extLst>
              <a:ext uri="{FF2B5EF4-FFF2-40B4-BE49-F238E27FC236}">
                <a16:creationId xmlns:a16="http://schemas.microsoft.com/office/drawing/2014/main" id="{FEB31033-02D6-CC46-B3C1-73BCEBB26F08}"/>
              </a:ext>
            </a:extLst>
          </p:cNvPr>
          <p:cNvSpPr/>
          <p:nvPr/>
        </p:nvSpPr>
        <p:spPr bwMode="gray">
          <a:xfrm>
            <a:off x="1769526" y="1233228"/>
            <a:ext cx="1153073" cy="160622"/>
          </a:xfrm>
          <a:prstGeom prst="rect">
            <a:avLst/>
          </a:prstGeom>
          <a:solidFill>
            <a:schemeClr val="bg1"/>
          </a:solidFill>
          <a:ln w="6350" algn="ctr">
            <a:solidFill>
              <a:schemeClr val="tx1">
                <a:lumMod val="50000"/>
                <a:lumOff val="50000"/>
              </a:schemeClr>
            </a:solidFill>
            <a:miter lim="800000"/>
            <a:headEnd/>
            <a:tailEnd/>
          </a:ln>
        </p:spPr>
        <p:txBody>
          <a:bodyPr wrap="none" lIns="72000" tIns="36000" rIns="72000" bIns="36000" rtlCol="0" anchor="ctr"/>
          <a:lstStyle/>
          <a:p>
            <a:pPr algn="ctr" defTabSz="914400">
              <a:spcBef>
                <a:spcPts val="300"/>
              </a:spcBef>
              <a:defRPr/>
            </a:pPr>
            <a:r>
              <a:rPr kumimoji="1" lang="ja-JP" altLang="en-US" sz="800" dirty="0">
                <a:solidFill>
                  <a:srgbClr val="000000"/>
                </a:solidFill>
                <a:latin typeface="Yu Gothic UI" panose="020B0500000000000000" pitchFamily="50" charset="-128"/>
                <a:ea typeface="Yu Gothic UI" panose="020B0500000000000000" pitchFamily="50" charset="-128"/>
              </a:rPr>
              <a:t>執行役</a:t>
            </a:r>
            <a:r>
              <a:rPr kumimoji="1" lang="en-US" altLang="ja-JP" sz="800" dirty="0">
                <a:solidFill>
                  <a:srgbClr val="000000"/>
                </a:solidFill>
                <a:latin typeface="Yu Gothic UI" panose="020B0500000000000000" pitchFamily="50" charset="-128"/>
                <a:ea typeface="Yu Gothic UI" panose="020B0500000000000000" pitchFamily="50" charset="-128"/>
              </a:rPr>
              <a:t>(</a:t>
            </a:r>
            <a:r>
              <a:rPr kumimoji="1" lang="ja-JP" altLang="en-US" sz="800" dirty="0">
                <a:solidFill>
                  <a:srgbClr val="000000"/>
                </a:solidFill>
                <a:latin typeface="Yu Gothic UI" panose="020B0500000000000000" pitchFamily="50" charset="-128"/>
                <a:ea typeface="Yu Gothic UI" panose="020B0500000000000000" pitchFamily="50" charset="-128"/>
              </a:rPr>
              <a:t>会議</a:t>
            </a:r>
            <a:r>
              <a:rPr kumimoji="1" lang="en-US" altLang="ja-JP" sz="800" dirty="0">
                <a:solidFill>
                  <a:srgbClr val="000000"/>
                </a:solidFill>
                <a:latin typeface="Yu Gothic UI" panose="020B0500000000000000" pitchFamily="50" charset="-128"/>
                <a:ea typeface="Yu Gothic UI" panose="020B0500000000000000" pitchFamily="50" charset="-128"/>
              </a:rPr>
              <a:t>)</a:t>
            </a:r>
          </a:p>
        </p:txBody>
      </p:sp>
      <p:sp>
        <p:nvSpPr>
          <p:cNvPr id="97" name="正方形/長方形 96">
            <a:extLst>
              <a:ext uri="{FF2B5EF4-FFF2-40B4-BE49-F238E27FC236}">
                <a16:creationId xmlns:a16="http://schemas.microsoft.com/office/drawing/2014/main" id="{E89618E9-5690-F8F3-EEE4-76601AEBB2FA}"/>
              </a:ext>
            </a:extLst>
          </p:cNvPr>
          <p:cNvSpPr/>
          <p:nvPr/>
        </p:nvSpPr>
        <p:spPr bwMode="gray">
          <a:xfrm>
            <a:off x="5103575" y="1523500"/>
            <a:ext cx="2056452" cy="144000"/>
          </a:xfrm>
          <a:prstGeom prst="rect">
            <a:avLst/>
          </a:prstGeom>
          <a:no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IM</a:t>
            </a:r>
            <a:r>
              <a:rPr kumimoji="1" lang="ja-JP" altLang="en-US" sz="800" dirty="0">
                <a:solidFill>
                  <a:srgbClr val="000000"/>
                </a:solidFill>
                <a:latin typeface="Yu Gothic UI" panose="020B0500000000000000" pitchFamily="50" charset="-128"/>
                <a:ea typeface="Yu Gothic UI" panose="020B0500000000000000" pitchFamily="50" charset="-128"/>
              </a:rPr>
              <a:t>戦室 戦略ユニット</a:t>
            </a:r>
          </a:p>
        </p:txBody>
      </p:sp>
      <p:graphicFrame>
        <p:nvGraphicFramePr>
          <p:cNvPr id="515" name="表 12">
            <a:extLst>
              <a:ext uri="{FF2B5EF4-FFF2-40B4-BE49-F238E27FC236}">
                <a16:creationId xmlns:a16="http://schemas.microsoft.com/office/drawing/2014/main" id="{5CBFF307-5DB1-C19F-1A72-CDECD2D8E27F}"/>
              </a:ext>
            </a:extLst>
          </p:cNvPr>
          <p:cNvGraphicFramePr>
            <a:graphicFrameLocks noGrp="1"/>
          </p:cNvGraphicFramePr>
          <p:nvPr>
            <p:extLst>
              <p:ext uri="{D42A27DB-BD31-4B8C-83A1-F6EECF244321}">
                <p14:modId xmlns:p14="http://schemas.microsoft.com/office/powerpoint/2010/main" val="3974618851"/>
              </p:ext>
            </p:extLst>
          </p:nvPr>
        </p:nvGraphicFramePr>
        <p:xfrm>
          <a:off x="5103575" y="3759600"/>
          <a:ext cx="2056452" cy="564705"/>
        </p:xfrm>
        <a:graphic>
          <a:graphicData uri="http://schemas.openxmlformats.org/drawingml/2006/table">
            <a:tbl>
              <a:tblPr firstRow="1">
                <a:tableStyleId>{073A0DAA-6AF3-43AB-8588-CEC1D06C72B9}</a:tableStyleId>
              </a:tblPr>
              <a:tblGrid>
                <a:gridCol w="1523224">
                  <a:extLst>
                    <a:ext uri="{9D8B030D-6E8A-4147-A177-3AD203B41FA5}">
                      <a16:colId xmlns:a16="http://schemas.microsoft.com/office/drawing/2014/main" val="1276324932"/>
                    </a:ext>
                  </a:extLst>
                </a:gridCol>
                <a:gridCol w="533228">
                  <a:extLst>
                    <a:ext uri="{9D8B030D-6E8A-4147-A177-3AD203B41FA5}">
                      <a16:colId xmlns:a16="http://schemas.microsoft.com/office/drawing/2014/main" val="262263702"/>
                    </a:ext>
                  </a:extLst>
                </a:gridCol>
              </a:tblGrid>
              <a:tr h="142635">
                <a:tc gridSpan="2">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製作所</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rgbClr val="F3DDE6"/>
                    </a:solidFill>
                  </a:tcPr>
                </a:tc>
                <a:tc hMerge="1">
                  <a:txBody>
                    <a:bodyPr/>
                    <a:lstStyle/>
                    <a:p>
                      <a:pPr algn="l"/>
                      <a:endParaRPr kumimoji="1" lang="en-US" altLang="ja-JP" sz="800" b="0" dirty="0">
                        <a:solidFill>
                          <a:schemeClr val="accent6">
                            <a:lumMod val="50000"/>
                          </a:schemeClr>
                        </a:solidFill>
                        <a:latin typeface="Yu Gothic UI" panose="020B0500000000000000" pitchFamily="50" charset="-128"/>
                        <a:ea typeface="Yu Gothic UI" panose="020B0500000000000000" pitchFamily="50" charset="-128"/>
                      </a:endParaRPr>
                    </a:p>
                  </a:txBody>
                  <a:tcPr marL="36000" marR="36000" marT="0" marB="0" anchor="ctr">
                    <a:lnL w="3175" cap="flat" cmpd="sng" algn="ctr">
                      <a:solidFill>
                        <a:schemeClr val="bg1"/>
                      </a:solidFill>
                      <a:prstDash val="sysDot"/>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259588388"/>
                  </a:ext>
                </a:extLst>
              </a:tr>
              <a:tr h="142635">
                <a:tc>
                  <a:txBody>
                    <a:bodyPr/>
                    <a:lstStyle/>
                    <a:p>
                      <a:pPr algn="l"/>
                      <a:r>
                        <a:rPr kumimoji="1" lang="ja-JP" altLang="en-US" sz="800" b="0" dirty="0">
                          <a:solidFill>
                            <a:schemeClr val="tx1"/>
                          </a:solidFill>
                          <a:latin typeface="Yu Gothic UI" panose="020B0500000000000000" pitchFamily="50" charset="-128"/>
                          <a:ea typeface="Yu Gothic UI" panose="020B0500000000000000" pitchFamily="50" charset="-128"/>
                        </a:rPr>
                        <a:t>名古屋製作所</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tc>
                  <a:txBody>
                    <a:bodyPr/>
                    <a:lstStyle/>
                    <a:p>
                      <a:pPr algn="l"/>
                      <a:r>
                        <a:rPr kumimoji="1" lang="en-US" altLang="ja-JP" sz="800" b="0" dirty="0">
                          <a:solidFill>
                            <a:schemeClr val="tx1"/>
                          </a:solidFill>
                          <a:latin typeface="Yu Gothic UI" panose="020B0500000000000000" pitchFamily="50" charset="-128"/>
                          <a:ea typeface="Yu Gothic UI" panose="020B0500000000000000" pitchFamily="50" charset="-128"/>
                        </a:rPr>
                        <a:t>(</a:t>
                      </a:r>
                      <a:r>
                        <a:rPr kumimoji="1" lang="ja-JP" altLang="en-US" sz="800" b="0" dirty="0">
                          <a:solidFill>
                            <a:schemeClr val="tx1"/>
                          </a:solidFill>
                          <a:latin typeface="Yu Gothic UI" panose="020B0500000000000000" pitchFamily="50" charset="-128"/>
                          <a:ea typeface="Yu Gothic UI" panose="020B0500000000000000" pitchFamily="50" charset="-128"/>
                        </a:rPr>
                        <a:t>名電</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677962875"/>
                  </a:ext>
                </a:extLst>
              </a:tr>
              <a:tr h="136800">
                <a:tc>
                  <a:txBody>
                    <a:bodyPr/>
                    <a:lstStyle/>
                    <a:p>
                      <a:pPr algn="l"/>
                      <a:r>
                        <a:rPr kumimoji="1" lang="ja-JP" altLang="en-US" sz="800" b="0" dirty="0">
                          <a:solidFill>
                            <a:schemeClr val="tx1"/>
                          </a:solidFill>
                          <a:latin typeface="Yu Gothic UI" panose="020B0500000000000000" pitchFamily="50" charset="-128"/>
                          <a:ea typeface="Yu Gothic UI" panose="020B0500000000000000" pitchFamily="50" charset="-128"/>
                        </a:rPr>
                        <a:t>産業メカトロニクス製作所</a:t>
                      </a: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dirty="0">
                          <a:solidFill>
                            <a:schemeClr val="tx1"/>
                          </a:solidFill>
                          <a:latin typeface="Yu Gothic UI" panose="020B0500000000000000" pitchFamily="50" charset="-128"/>
                          <a:ea typeface="Yu Gothic UI" panose="020B0500000000000000" pitchFamily="50" charset="-128"/>
                        </a:rPr>
                        <a:t>(</a:t>
                      </a:r>
                      <a:r>
                        <a:rPr kumimoji="1" lang="ja-JP" altLang="en-US" sz="800" b="0" dirty="0">
                          <a:solidFill>
                            <a:schemeClr val="tx1"/>
                          </a:solidFill>
                          <a:latin typeface="Yu Gothic UI" panose="020B0500000000000000" pitchFamily="50" charset="-128"/>
                          <a:ea typeface="Yu Gothic UI" panose="020B0500000000000000" pitchFamily="50" charset="-128"/>
                        </a:rPr>
                        <a:t>メカ電</a:t>
                      </a:r>
                      <a:r>
                        <a:rPr kumimoji="1" lang="en-US" altLang="ja-JP" sz="800" b="0" dirty="0">
                          <a:solidFill>
                            <a:schemeClr val="tx1"/>
                          </a:solidFill>
                          <a:latin typeface="Yu Gothic UI" panose="020B0500000000000000" pitchFamily="50" charset="-128"/>
                          <a:ea typeface="Yu Gothic UI" panose="020B0500000000000000" pitchFamily="50" charset="-128"/>
                        </a:rPr>
                        <a:t>)</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99354162"/>
                  </a:ext>
                </a:extLst>
              </a:tr>
              <a:tr h="142635">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福山</a:t>
                      </a:r>
                      <a:r>
                        <a:rPr kumimoji="1" lang="ja-JP" altLang="en-US" sz="800" b="0" dirty="0">
                          <a:solidFill>
                            <a:schemeClr val="tx1"/>
                          </a:solidFill>
                          <a:latin typeface="Yu Gothic UI" panose="020B0500000000000000" pitchFamily="50" charset="-128"/>
                          <a:ea typeface="Yu Gothic UI" panose="020B0500000000000000" pitchFamily="50" charset="-128"/>
                        </a:rPr>
                        <a:t>製作所</a:t>
                      </a:r>
                      <a:endPar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0" marT="0" marB="0"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1"/>
                      </a:solidFill>
                      <a:prstDash val="sysDot"/>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a:t>
                      </a:r>
                      <a:r>
                        <a:rPr kumimoji="1" lang="ja-JP" altLang="en-US"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山電</a:t>
                      </a:r>
                      <a:r>
                        <a:rPr kumimoji="1" lang="en-US" altLang="ja-JP" sz="800" b="0" i="0" u="none" strike="noStrike" kern="1200" cap="none" spc="0" normalizeH="0" baseline="0" noProof="0" dirty="0">
                          <a:ln>
                            <a:noFill/>
                          </a:ln>
                          <a:solidFill>
                            <a:schemeClr val="tx1"/>
                          </a:solidFill>
                          <a:effectLst/>
                          <a:uLnTx/>
                          <a:uFillTx/>
                          <a:latin typeface="Yu Gothic UI" panose="020B0500000000000000" pitchFamily="50" charset="-128"/>
                          <a:ea typeface="Yu Gothic UI" panose="020B0500000000000000" pitchFamily="50" charset="-128"/>
                          <a:cs typeface="+mn-cs"/>
                        </a:rPr>
                        <a:t>)</a:t>
                      </a:r>
                    </a:p>
                  </a:txBody>
                  <a:tcPr marL="36000" marR="0" marT="0" marB="0" anchor="ctr">
                    <a:lnL w="3175" cap="flat" cmpd="sng" algn="ctr">
                      <a:solidFill>
                        <a:schemeClr val="bg1"/>
                      </a:solidFill>
                      <a:prstDash val="sysDot"/>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3587417"/>
                  </a:ext>
                </a:extLst>
              </a:tr>
            </a:tbl>
          </a:graphicData>
        </a:graphic>
      </p:graphicFrame>
      <p:sp>
        <p:nvSpPr>
          <p:cNvPr id="268" name="テキスト プレースホルダー 2">
            <a:extLst>
              <a:ext uri="{FF2B5EF4-FFF2-40B4-BE49-F238E27FC236}">
                <a16:creationId xmlns:a16="http://schemas.microsoft.com/office/drawing/2014/main" id="{4BEF014C-0A51-3FD5-CD20-6D7D9C16FEAE}"/>
              </a:ext>
            </a:extLst>
          </p:cNvPr>
          <p:cNvSpPr txBox="1">
            <a:spLocks/>
          </p:cNvSpPr>
          <p:nvPr/>
        </p:nvSpPr>
        <p:spPr bwMode="gray">
          <a:xfrm>
            <a:off x="5596529" y="3182449"/>
            <a:ext cx="1563499" cy="137209"/>
          </a:xfrm>
          <a:prstGeom prst="rect">
            <a:avLst/>
          </a:prstGeom>
          <a:noFill/>
        </p:spPr>
        <p:txBody>
          <a:bodyPr vert="eaVert" wrap="none" lIns="90000" tIns="0" rIns="0" bIns="0" rtlCol="0" anchor="ctr">
            <a:noAutofit/>
          </a:bodyPr>
          <a:lstStyle>
            <a:lvl1pPr marL="228600" indent="-228600" algn="l" defTabSz="914400" rtl="0" eaLnBrk="1" latinLnBrk="0" hangingPunct="1">
              <a:lnSpc>
                <a:spcPct val="100000"/>
              </a:lnSpc>
              <a:spcBef>
                <a:spcPts val="0"/>
              </a:spcBef>
              <a:buFont typeface="Arial" panose="020B0604020202020204" pitchFamily="34" charset="0"/>
              <a:buChar char="•"/>
              <a:defRPr kumimoji="1" lang="ja-JP" altLang="en-US" sz="1200" kern="1200" dirty="0">
                <a:solidFill>
                  <a:schemeClr val="tx1"/>
                </a:solidFill>
                <a:latin typeface="Meiryo UI" panose="020B0604030504040204" pitchFamily="50" charset="-128"/>
                <a:ea typeface="Meiryo UI" panose="020B0604030504040204" pitchFamily="50" charset="-128"/>
                <a:cs typeface="+mn-cs"/>
              </a:defRPr>
            </a:lvl1pPr>
            <a:lvl2pPr marL="128588" indent="-128588" algn="l" defTabSz="914400" rtl="0" eaLnBrk="1" latinLnBrk="0" hangingPunct="1">
              <a:lnSpc>
                <a:spcPct val="100000"/>
              </a:lnSpc>
              <a:spcBef>
                <a:spcPts val="0"/>
              </a:spcBef>
              <a:buFont typeface="Wingdings" panose="05000000000000000000" pitchFamily="2" charset="2"/>
              <a:buChar char="Ø"/>
              <a:defRPr kumimoji="1" sz="2400" kern="1200">
                <a:solidFill>
                  <a:schemeClr val="tx1"/>
                </a:solidFill>
                <a:latin typeface="Yu Gothic UI" panose="020B0500000000000000" pitchFamily="50" charset="-128"/>
                <a:ea typeface="Yu Gothic UI" panose="020B0500000000000000" pitchFamily="50" charset="-128"/>
                <a:cs typeface="+mn-cs"/>
              </a:defRPr>
            </a:lvl2pPr>
            <a:lvl3pPr marL="248221" indent="-128588" algn="l" defTabSz="914400" rtl="0" eaLnBrk="1" latinLnBrk="0" hangingPunct="1">
              <a:lnSpc>
                <a:spcPct val="100000"/>
              </a:lnSpc>
              <a:spcBef>
                <a:spcPts val="500"/>
              </a:spcBef>
              <a:buFont typeface="Wingdings" panose="05000000000000000000" pitchFamily="2" charset="2"/>
              <a:buChar char="Ø"/>
              <a:defRPr kumimoji="1" sz="2000" kern="1200">
                <a:solidFill>
                  <a:schemeClr val="tx1"/>
                </a:solidFill>
                <a:latin typeface="Yu Gothic UI" panose="020B0500000000000000" pitchFamily="50" charset="-128"/>
                <a:ea typeface="Yu Gothic UI" panose="020B0500000000000000" pitchFamily="50" charset="-128"/>
                <a:cs typeface="+mn-cs"/>
              </a:defRPr>
            </a:lvl3pPr>
            <a:lvl4pPr marL="358901" indent="-119634" algn="l" defTabSz="914400" rtl="0" eaLnBrk="1" latinLnBrk="0" hangingPunct="1">
              <a:lnSpc>
                <a:spcPct val="100000"/>
              </a:lnSpc>
              <a:spcBef>
                <a:spcPts val="500"/>
              </a:spcBef>
              <a:buFont typeface="Wingdings" panose="05000000000000000000" pitchFamily="2" charset="2"/>
              <a:buChar char="Ø"/>
              <a:defRPr kumimoji="1" sz="1800" kern="120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None/>
              <a:defRPr/>
            </a:pPr>
            <a:r>
              <a:rPr lang="en-US" altLang="ja-JP" dirty="0">
                <a:solidFill>
                  <a:srgbClr val="000000"/>
                </a:solidFill>
                <a:latin typeface="Yu Gothic UI" panose="020B0500000000000000" pitchFamily="50" charset="-128"/>
                <a:ea typeface="Yu Gothic UI" panose="020B0500000000000000" pitchFamily="50" charset="-128"/>
              </a:rPr>
              <a:t>…</a:t>
            </a:r>
            <a:endParaRPr lang="ja-JP" altLang="en-US" dirty="0">
              <a:solidFill>
                <a:srgbClr val="000000"/>
              </a:solidFill>
              <a:latin typeface="Yu Gothic UI" panose="020B0500000000000000" pitchFamily="50" charset="-128"/>
              <a:ea typeface="Yu Gothic UI" panose="020B0500000000000000" pitchFamily="50" charset="-128"/>
            </a:endParaRPr>
          </a:p>
        </p:txBody>
      </p:sp>
      <p:cxnSp>
        <p:nvCxnSpPr>
          <p:cNvPr id="275" name="コネクタ: カギ線 274">
            <a:extLst>
              <a:ext uri="{FF2B5EF4-FFF2-40B4-BE49-F238E27FC236}">
                <a16:creationId xmlns:a16="http://schemas.microsoft.com/office/drawing/2014/main" id="{CFFBCCB0-2359-B2B0-2002-7BE4E40A3C54}"/>
              </a:ext>
            </a:extLst>
          </p:cNvPr>
          <p:cNvCxnSpPr>
            <a:cxnSpLocks/>
            <a:stCxn id="296" idx="3"/>
            <a:endCxn id="289" idx="1"/>
          </p:cNvCxnSpPr>
          <p:nvPr/>
        </p:nvCxnSpPr>
        <p:spPr>
          <a:xfrm>
            <a:off x="4731163" y="2007428"/>
            <a:ext cx="372412" cy="874818"/>
          </a:xfrm>
          <a:prstGeom prst="bentConnector3">
            <a:avLst>
              <a:gd name="adj1" fmla="val 50000"/>
            </a:avLst>
          </a:prstGeom>
          <a:ln w="6350">
            <a:solidFill>
              <a:schemeClr val="bg1">
                <a:lumMod val="75000"/>
              </a:schemeClr>
            </a:solidFill>
            <a:prstDash val="sysDash"/>
          </a:ln>
        </p:spPr>
        <p:style>
          <a:lnRef idx="1">
            <a:schemeClr val="dk1"/>
          </a:lnRef>
          <a:fillRef idx="0">
            <a:schemeClr val="dk1"/>
          </a:fillRef>
          <a:effectRef idx="0">
            <a:schemeClr val="dk1"/>
          </a:effectRef>
          <a:fontRef idx="minor">
            <a:schemeClr val="tx1"/>
          </a:fontRef>
        </p:style>
      </p:cxnSp>
      <p:graphicFrame>
        <p:nvGraphicFramePr>
          <p:cNvPr id="289" name="表 12">
            <a:extLst>
              <a:ext uri="{FF2B5EF4-FFF2-40B4-BE49-F238E27FC236}">
                <a16:creationId xmlns:a16="http://schemas.microsoft.com/office/drawing/2014/main" id="{B63C7CB1-231A-1AB8-ED47-886DE0A638E9}"/>
              </a:ext>
            </a:extLst>
          </p:cNvPr>
          <p:cNvGraphicFramePr>
            <a:graphicFrameLocks noGrp="1"/>
          </p:cNvGraphicFramePr>
          <p:nvPr>
            <p:extLst>
              <p:ext uri="{D42A27DB-BD31-4B8C-83A1-F6EECF244321}">
                <p14:modId xmlns:p14="http://schemas.microsoft.com/office/powerpoint/2010/main" val="3452123233"/>
              </p:ext>
            </p:extLst>
          </p:nvPr>
        </p:nvGraphicFramePr>
        <p:xfrm>
          <a:off x="5103575" y="2810929"/>
          <a:ext cx="2056452" cy="142635"/>
        </p:xfrm>
        <a:graphic>
          <a:graphicData uri="http://schemas.openxmlformats.org/drawingml/2006/table">
            <a:tbl>
              <a:tblPr firstRow="1">
                <a:tableStyleId>{073A0DAA-6AF3-43AB-8588-CEC1D06C72B9}</a:tableStyleId>
              </a:tblPr>
              <a:tblGrid>
                <a:gridCol w="2056452">
                  <a:extLst>
                    <a:ext uri="{9D8B030D-6E8A-4147-A177-3AD203B41FA5}">
                      <a16:colId xmlns:a16="http://schemas.microsoft.com/office/drawing/2014/main" val="1276324932"/>
                    </a:ext>
                  </a:extLst>
                </a:gridCol>
              </a:tblGrid>
              <a:tr h="142635">
                <a:tc>
                  <a:txBody>
                    <a:bodyPr/>
                    <a:lstStyle/>
                    <a:p>
                      <a:pPr algn="ctr"/>
                      <a:r>
                        <a:rPr kumimoji="1" lang="ja-JP" altLang="en-US" sz="800" b="0" dirty="0">
                          <a:solidFill>
                            <a:schemeClr val="tx1"/>
                          </a:solidFill>
                          <a:latin typeface="Yu Gothic UI" panose="020B0500000000000000" pitchFamily="50" charset="-128"/>
                          <a:ea typeface="Yu Gothic UI" panose="020B0500000000000000" pitchFamily="50" charset="-128"/>
                        </a:rPr>
                        <a:t>事業部</a:t>
                      </a:r>
                      <a:endParaRPr kumimoji="1" lang="en-US" altLang="ja-JP" sz="800" b="0" dirty="0">
                        <a:solidFill>
                          <a:schemeClr val="tx1"/>
                        </a:solidFill>
                        <a:latin typeface="Yu Gothic UI" panose="020B0500000000000000" pitchFamily="50" charset="-128"/>
                        <a:ea typeface="Yu Gothic UI" panose="020B0500000000000000" pitchFamily="50" charset="-128"/>
                      </a:endParaRPr>
                    </a:p>
                  </a:txBody>
                  <a:tcPr marL="36000" marR="36000" marT="0" marB="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59588388"/>
                  </a:ext>
                </a:extLst>
              </a:tr>
            </a:tbl>
          </a:graphicData>
        </a:graphic>
      </p:graphicFrame>
      <p:sp>
        <p:nvSpPr>
          <p:cNvPr id="6" name="テキスト ボックス 5">
            <a:extLst>
              <a:ext uri="{FF2B5EF4-FFF2-40B4-BE49-F238E27FC236}">
                <a16:creationId xmlns:a16="http://schemas.microsoft.com/office/drawing/2014/main" id="{D17BCCC9-AD5B-F79D-CDC8-1CF6901F4A0A}"/>
              </a:ext>
            </a:extLst>
          </p:cNvPr>
          <p:cNvSpPr txBox="1"/>
          <p:nvPr/>
        </p:nvSpPr>
        <p:spPr>
          <a:xfrm>
            <a:off x="9483112" y="5040846"/>
            <a:ext cx="939360" cy="107722"/>
          </a:xfrm>
          <a:prstGeom prst="rect">
            <a:avLst/>
          </a:prstGeom>
          <a:noFill/>
        </p:spPr>
        <p:txBody>
          <a:bodyPr wrap="none" lIns="0" tIns="0" rIns="0" bIns="0" rtlCol="0" anchor="ctr" anchorCtr="0">
            <a:noAutofit/>
          </a:bodyPr>
          <a:lstStyle/>
          <a:p>
            <a:pPr algn="r" defTabSz="914400">
              <a:buSzPct val="100000"/>
              <a:defRPr/>
            </a:pPr>
            <a:r>
              <a:rPr lang="ja-JP" altLang="en-US" sz="600" dirty="0">
                <a:solidFill>
                  <a:srgbClr val="000000"/>
                </a:solidFill>
                <a:latin typeface="Yu Gothic UI" panose="020B0500000000000000" pitchFamily="50" charset="-128"/>
                <a:ea typeface="Yu Gothic UI" panose="020B0500000000000000" pitchFamily="50" charset="-128"/>
              </a:rPr>
              <a:t>* </a:t>
            </a:r>
            <a:r>
              <a:rPr lang="en-US" altLang="ja-JP" sz="600" dirty="0">
                <a:solidFill>
                  <a:srgbClr val="000000"/>
                </a:solidFill>
                <a:latin typeface="Yu Gothic UI" panose="020B0500000000000000" pitchFamily="50" charset="-128"/>
                <a:ea typeface="Yu Gothic UI" panose="020B0500000000000000" pitchFamily="50" charset="-128"/>
              </a:rPr>
              <a:t>Overseas</a:t>
            </a:r>
            <a:r>
              <a:rPr lang="ja-JP" altLang="en-US" sz="600" dirty="0">
                <a:solidFill>
                  <a:srgbClr val="000000"/>
                </a:solidFill>
                <a:latin typeface="Yu Gothic UI" panose="020B0500000000000000" pitchFamily="50" charset="-128"/>
                <a:ea typeface="Yu Gothic UI" panose="020B0500000000000000" pitchFamily="50" charset="-128"/>
              </a:rPr>
              <a:t> </a:t>
            </a:r>
            <a:r>
              <a:rPr lang="en-US" altLang="ja-JP" sz="600" dirty="0">
                <a:solidFill>
                  <a:srgbClr val="000000"/>
                </a:solidFill>
                <a:latin typeface="Yu Gothic UI" panose="020B0500000000000000" pitchFamily="50" charset="-128"/>
                <a:ea typeface="Yu Gothic UI" panose="020B0500000000000000" pitchFamily="50" charset="-128"/>
              </a:rPr>
              <a:t>Sales</a:t>
            </a:r>
            <a:r>
              <a:rPr lang="ja-JP" altLang="en-US" sz="600" dirty="0">
                <a:solidFill>
                  <a:srgbClr val="000000"/>
                </a:solidFill>
                <a:latin typeface="Yu Gothic UI" panose="020B0500000000000000" pitchFamily="50" charset="-128"/>
                <a:ea typeface="Yu Gothic UI" panose="020B0500000000000000" pitchFamily="50" charset="-128"/>
              </a:rPr>
              <a:t> </a:t>
            </a:r>
            <a:r>
              <a:rPr lang="en-US" altLang="ja-JP" sz="600" dirty="0">
                <a:solidFill>
                  <a:srgbClr val="000000"/>
                </a:solidFill>
                <a:latin typeface="Yu Gothic UI" panose="020B0500000000000000" pitchFamily="50" charset="-128"/>
                <a:ea typeface="Yu Gothic UI" panose="020B0500000000000000" pitchFamily="50" charset="-128"/>
              </a:rPr>
              <a:t>Offices</a:t>
            </a:r>
          </a:p>
        </p:txBody>
      </p:sp>
      <p:sp>
        <p:nvSpPr>
          <p:cNvPr id="7" name="正方形/長方形 6">
            <a:extLst>
              <a:ext uri="{FF2B5EF4-FFF2-40B4-BE49-F238E27FC236}">
                <a16:creationId xmlns:a16="http://schemas.microsoft.com/office/drawing/2014/main" id="{FE1FFBE1-742E-ABA4-E0F3-800B5EA42B7C}"/>
              </a:ext>
            </a:extLst>
          </p:cNvPr>
          <p:cNvSpPr/>
          <p:nvPr/>
        </p:nvSpPr>
        <p:spPr bwMode="gray">
          <a:xfrm>
            <a:off x="5116637" y="1900430"/>
            <a:ext cx="2056452" cy="144000"/>
          </a:xfrm>
          <a:prstGeom prst="rect">
            <a:avLst/>
          </a:prstGeom>
          <a:solidFill>
            <a:srgbClr val="F3DDE6"/>
          </a:solidFill>
          <a:ln w="6350" algn="ctr">
            <a:solidFill>
              <a:schemeClr val="tx1">
                <a:lumMod val="50000"/>
                <a:lumOff val="50000"/>
              </a:schemeClr>
            </a:solidFill>
            <a:miter lim="800000"/>
            <a:headEnd/>
            <a:tailEnd/>
          </a:ln>
        </p:spPr>
        <p:txBody>
          <a:bodyPr wrap="square" lIns="36000" tIns="0" rIns="36000" bIns="0" rtlCol="0" anchor="ctr"/>
          <a:lstStyle/>
          <a:p>
            <a:pPr algn="ctr" defTabSz="914400">
              <a:spcBef>
                <a:spcPts val="300"/>
              </a:spcBef>
              <a:defRPr/>
            </a:pPr>
            <a:r>
              <a:rPr kumimoji="1" lang="en-US" altLang="ja-JP" sz="800" dirty="0">
                <a:solidFill>
                  <a:srgbClr val="000000"/>
                </a:solidFill>
                <a:latin typeface="Yu Gothic UI" panose="020B0500000000000000" pitchFamily="50" charset="-128"/>
                <a:ea typeface="Yu Gothic UI" panose="020B0500000000000000" pitchFamily="50" charset="-128"/>
              </a:rPr>
              <a:t>FA</a:t>
            </a:r>
            <a:r>
              <a:rPr kumimoji="1" lang="ja-JP" altLang="en-US" sz="800" dirty="0">
                <a:solidFill>
                  <a:srgbClr val="000000"/>
                </a:solidFill>
                <a:latin typeface="Yu Gothic UI" panose="020B0500000000000000" pitchFamily="50" charset="-128"/>
                <a:ea typeface="Yu Gothic UI" panose="020B0500000000000000" pitchFamily="50" charset="-128"/>
              </a:rPr>
              <a:t>本事業推進プロジェクトグループ</a:t>
            </a:r>
          </a:p>
        </p:txBody>
      </p:sp>
      <p:sp>
        <p:nvSpPr>
          <p:cNvPr id="8" name="テキスト ボックス 7">
            <a:extLst>
              <a:ext uri="{FF2B5EF4-FFF2-40B4-BE49-F238E27FC236}">
                <a16:creationId xmlns:a16="http://schemas.microsoft.com/office/drawing/2014/main" id="{A9C4A4FB-4647-555F-CDC4-1969DE59AA2E}"/>
              </a:ext>
            </a:extLst>
          </p:cNvPr>
          <p:cNvSpPr txBox="1"/>
          <p:nvPr/>
        </p:nvSpPr>
        <p:spPr>
          <a:xfrm>
            <a:off x="9190212" y="6273497"/>
            <a:ext cx="1223949" cy="180425"/>
          </a:xfrm>
          <a:prstGeom prst="rect">
            <a:avLst/>
          </a:prstGeom>
          <a:noFill/>
        </p:spPr>
        <p:txBody>
          <a:bodyPr wrap="square" lIns="36000" tIns="36000" rIns="36000" bIns="36000" rtlCol="0" anchor="ctr" anchorCtr="0">
            <a:spAutoFit/>
          </a:bodyPr>
          <a:lstStyle/>
          <a:p>
            <a:pPr algn="r" defTabSz="914400">
              <a:buSzPct val="100000"/>
              <a:defRPr/>
            </a:pPr>
            <a:r>
              <a:rPr lang="en-US" altLang="ja-JP" sz="700" dirty="0">
                <a:solidFill>
                  <a:srgbClr val="000000"/>
                </a:solidFill>
                <a:latin typeface="Yu Gothic UI" panose="020B0500000000000000" pitchFamily="50" charset="-128"/>
                <a:ea typeface="Yu Gothic UI" panose="020B0500000000000000" pitchFamily="50" charset="-128"/>
              </a:rPr>
              <a:t>'25/3</a:t>
            </a:r>
            <a:r>
              <a:rPr lang="ja-JP" altLang="en-US" sz="700" dirty="0">
                <a:solidFill>
                  <a:srgbClr val="000000"/>
                </a:solidFill>
                <a:latin typeface="Yu Gothic UI" panose="020B0500000000000000" pitchFamily="50" charset="-128"/>
                <a:ea typeface="Yu Gothic UI" panose="020B0500000000000000" pitchFamily="50" charset="-128"/>
              </a:rPr>
              <a:t>月末時点の組織</a:t>
            </a:r>
            <a:endParaRPr lang="en-US" altLang="ja-JP" sz="700" dirty="0">
              <a:solidFill>
                <a:srgbClr val="00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30046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表 19">
            <a:extLst>
              <a:ext uri="{FF2B5EF4-FFF2-40B4-BE49-F238E27FC236}">
                <a16:creationId xmlns:a16="http://schemas.microsoft.com/office/drawing/2014/main" id="{35CA093E-EC3A-17F2-CEF1-69D02762CF6B}"/>
              </a:ext>
            </a:extLst>
          </p:cNvPr>
          <p:cNvGraphicFramePr>
            <a:graphicFrameLocks/>
          </p:cNvGraphicFramePr>
          <p:nvPr/>
        </p:nvGraphicFramePr>
        <p:xfrm>
          <a:off x="2244436" y="4103719"/>
          <a:ext cx="8028708" cy="2241572"/>
        </p:xfrm>
        <a:graphic>
          <a:graphicData uri="http://schemas.openxmlformats.org/drawingml/2006/table">
            <a:tbl>
              <a:tblPr>
                <a:tableStyleId>{5C22544A-7EE6-4342-B048-85BDC9FD1C3A}</a:tableStyleId>
              </a:tblPr>
              <a:tblGrid>
                <a:gridCol w="2676236">
                  <a:extLst>
                    <a:ext uri="{9D8B030D-6E8A-4147-A177-3AD203B41FA5}">
                      <a16:colId xmlns:a16="http://schemas.microsoft.com/office/drawing/2014/main" val="402035656"/>
                    </a:ext>
                  </a:extLst>
                </a:gridCol>
                <a:gridCol w="2676236">
                  <a:extLst>
                    <a:ext uri="{9D8B030D-6E8A-4147-A177-3AD203B41FA5}">
                      <a16:colId xmlns:a16="http://schemas.microsoft.com/office/drawing/2014/main" val="1608580510"/>
                    </a:ext>
                  </a:extLst>
                </a:gridCol>
                <a:gridCol w="2676236">
                  <a:extLst>
                    <a:ext uri="{9D8B030D-6E8A-4147-A177-3AD203B41FA5}">
                      <a16:colId xmlns:a16="http://schemas.microsoft.com/office/drawing/2014/main" val="187013173"/>
                    </a:ext>
                  </a:extLst>
                </a:gridCol>
              </a:tblGrid>
              <a:tr h="2241572">
                <a:tc>
                  <a:txBody>
                    <a:bodyPr/>
                    <a:lstStyle/>
                    <a:p>
                      <a:endParaRPr kumimoji="1" lang="ja-JP" altLang="en-US" sz="1100" dirty="0"/>
                    </a:p>
                  </a:txBody>
                  <a:tcPr anchor="ctr">
                    <a:lnL w="6350" cap="flat" cmpd="sng" algn="ctr">
                      <a:noFill/>
                      <a:prstDash val="solid"/>
                      <a:round/>
                      <a:headEnd type="none" w="med" len="med"/>
                      <a:tailEnd type="none" w="med" len="med"/>
                    </a:lnL>
                    <a:lnR w="6350" cap="flat" cmpd="sng" algn="ctr">
                      <a:solidFill>
                        <a:schemeClr val="bg1">
                          <a:lumMod val="50000"/>
                        </a:schemeClr>
                      </a:solidFill>
                      <a:prstDash val="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100" dirty="0"/>
                    </a:p>
                  </a:txBody>
                  <a:tcPr anchor="ctr">
                    <a:lnL w="6350" cap="flat" cmpd="sng" algn="ctr">
                      <a:solidFill>
                        <a:schemeClr val="bg1">
                          <a:lumMod val="50000"/>
                        </a:schemeClr>
                      </a:solidFill>
                      <a:prstDash val="dash"/>
                      <a:round/>
                      <a:headEnd type="none" w="med" len="med"/>
                      <a:tailEnd type="none" w="med" len="med"/>
                    </a:lnL>
                    <a:lnR w="6350" cap="flat" cmpd="sng" algn="ctr">
                      <a:solidFill>
                        <a:schemeClr val="bg1">
                          <a:lumMod val="50000"/>
                        </a:schemeClr>
                      </a:solidFill>
                      <a:prstDash val="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100" dirty="0"/>
                    </a:p>
                  </a:txBody>
                  <a:tcPr anchor="ctr">
                    <a:lnL w="6350" cap="flat" cmpd="sng" algn="ctr">
                      <a:solidFill>
                        <a:schemeClr val="bg1">
                          <a:lumMod val="50000"/>
                        </a:schemeClr>
                      </a:solidFill>
                      <a:prstDash val="dash"/>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2581348"/>
                  </a:ext>
                </a:extLst>
              </a:tr>
            </a:tbl>
          </a:graphicData>
        </a:graphic>
      </p:graphicFrame>
      <p:graphicFrame>
        <p:nvGraphicFramePr>
          <p:cNvPr id="5" name="Object 4" hidden="1">
            <a:extLst>
              <a:ext uri="{FF2B5EF4-FFF2-40B4-BE49-F238E27FC236}">
                <a16:creationId xmlns:a16="http://schemas.microsoft.com/office/drawing/2014/main" id="{7474CA98-09CB-42F7-9B79-CACD1EDC164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5" name="Object 4" hidden="1">
                        <a:extLst>
                          <a:ext uri="{FF2B5EF4-FFF2-40B4-BE49-F238E27FC236}">
                            <a16:creationId xmlns:a16="http://schemas.microsoft.com/office/drawing/2014/main" id="{7474CA98-09CB-42F7-9B79-CACD1EDC164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スライド番号プレースホルダー 1">
            <a:extLst>
              <a:ext uri="{FF2B5EF4-FFF2-40B4-BE49-F238E27FC236}">
                <a16:creationId xmlns:a16="http://schemas.microsoft.com/office/drawing/2014/main" id="{6E74C83F-7349-CD40-9C4C-042CBC24B390}"/>
              </a:ext>
            </a:extLst>
          </p:cNvPr>
          <p:cNvSpPr txBox="1">
            <a:spLocks/>
          </p:cNvSpPr>
          <p:nvPr/>
        </p:nvSpPr>
        <p:spPr>
          <a:xfrm>
            <a:off x="1540266" y="6654007"/>
            <a:ext cx="234695" cy="115416"/>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A5FCFE5-FE56-4EF1-80A8-07776887C2A1}" type="slidenum">
              <a:rPr lang="ja-JP" altLang="en-US" sz="750">
                <a:solidFill>
                  <a:prstClr val="black"/>
                </a:solidFill>
                <a:latin typeface="Meiryo UI" panose="020B0604030504040204" pitchFamily="50" charset="-128"/>
                <a:ea typeface="Meiryo UI" panose="020B0604030504040204" pitchFamily="50" charset="-128"/>
              </a:rPr>
              <a:pPr>
                <a:defRPr/>
              </a:pPr>
              <a:t>8</a:t>
            </a:fld>
            <a:endParaRPr lang="ja-JP" altLang="en-US" sz="750">
              <a:solidFill>
                <a:prstClr val="black"/>
              </a:solidFill>
              <a:latin typeface="Meiryo UI" panose="020B0604030504040204" pitchFamily="50" charset="-128"/>
              <a:ea typeface="Meiryo UI" panose="020B0604030504040204" pitchFamily="50" charset="-128"/>
            </a:endParaRPr>
          </a:p>
        </p:txBody>
      </p:sp>
      <p:sp>
        <p:nvSpPr>
          <p:cNvPr id="6" name="タイトル 2">
            <a:extLst>
              <a:ext uri="{FF2B5EF4-FFF2-40B4-BE49-F238E27FC236}">
                <a16:creationId xmlns:a16="http://schemas.microsoft.com/office/drawing/2014/main" id="{FD5AFC85-A8CA-E1C3-88CB-3325D3D7FB25}"/>
              </a:ext>
            </a:extLst>
          </p:cNvPr>
          <p:cNvSpPr txBox="1">
            <a:spLocks/>
          </p:cNvSpPr>
          <p:nvPr/>
        </p:nvSpPr>
        <p:spPr>
          <a:xfrm>
            <a:off x="1889051" y="609094"/>
            <a:ext cx="8374154" cy="5973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endParaRPr lang="ja-JP" altLang="en-US" sz="2400" dirty="0">
              <a:latin typeface="Yu Gothic UI" panose="020B0500000000000000" pitchFamily="50" charset="-128"/>
              <a:ea typeface="Yu Gothic UI" panose="020B0500000000000000" pitchFamily="50" charset="-128"/>
            </a:endParaRPr>
          </a:p>
        </p:txBody>
      </p:sp>
      <p:sp>
        <p:nvSpPr>
          <p:cNvPr id="7" name="正方形/長方形 6">
            <a:extLst>
              <a:ext uri="{FF2B5EF4-FFF2-40B4-BE49-F238E27FC236}">
                <a16:creationId xmlns:a16="http://schemas.microsoft.com/office/drawing/2014/main" id="{0824FA54-FD9F-C4A2-4983-E9A5115A5D92}"/>
              </a:ext>
            </a:extLst>
          </p:cNvPr>
          <p:cNvSpPr/>
          <p:nvPr/>
        </p:nvSpPr>
        <p:spPr>
          <a:xfrm>
            <a:off x="1836855" y="1528457"/>
            <a:ext cx="270164" cy="2195854"/>
          </a:xfrm>
          <a:prstGeom prst="rect">
            <a:avLst/>
          </a:prstGeom>
          <a:solidFill>
            <a:schemeClr val="tx1">
              <a:lumMod val="75000"/>
              <a:lumOff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当社</a:t>
            </a:r>
          </a:p>
        </p:txBody>
      </p:sp>
      <p:sp>
        <p:nvSpPr>
          <p:cNvPr id="9" name="正方形/長方形 8">
            <a:extLst>
              <a:ext uri="{FF2B5EF4-FFF2-40B4-BE49-F238E27FC236}">
                <a16:creationId xmlns:a16="http://schemas.microsoft.com/office/drawing/2014/main" id="{76C2DA49-DC24-5B94-7778-98030FBCA999}"/>
              </a:ext>
            </a:extLst>
          </p:cNvPr>
          <p:cNvSpPr/>
          <p:nvPr/>
        </p:nvSpPr>
        <p:spPr>
          <a:xfrm>
            <a:off x="1826396" y="4149437"/>
            <a:ext cx="270164" cy="2195854"/>
          </a:xfrm>
          <a:prstGeom prst="rect">
            <a:avLst/>
          </a:prstGeom>
          <a:solidFill>
            <a:schemeClr val="tx1">
              <a:lumMod val="75000"/>
              <a:lumOff val="2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Yu Gothic UI" panose="020B0500000000000000" pitchFamily="50" charset="-128"/>
                <a:ea typeface="Yu Gothic UI" panose="020B0500000000000000" pitchFamily="50" charset="-128"/>
              </a:rPr>
              <a:t>海外販社</a:t>
            </a:r>
          </a:p>
        </p:txBody>
      </p:sp>
      <p:sp>
        <p:nvSpPr>
          <p:cNvPr id="10" name="正方形/長方形 9">
            <a:extLst>
              <a:ext uri="{FF2B5EF4-FFF2-40B4-BE49-F238E27FC236}">
                <a16:creationId xmlns:a16="http://schemas.microsoft.com/office/drawing/2014/main" id="{47352FBC-637A-4324-EB8C-39B30AFA94AD}"/>
              </a:ext>
            </a:extLst>
          </p:cNvPr>
          <p:cNvSpPr/>
          <p:nvPr/>
        </p:nvSpPr>
        <p:spPr>
          <a:xfrm>
            <a:off x="2285999" y="1111803"/>
            <a:ext cx="3700127" cy="41802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tx1"/>
                </a:solidFill>
                <a:latin typeface="Yu Gothic UI" panose="020B0500000000000000" pitchFamily="50" charset="-128"/>
                <a:ea typeface="Yu Gothic UI" panose="020B0500000000000000" pitchFamily="50" charset="-128"/>
              </a:rPr>
              <a:t>国内サイト</a:t>
            </a:r>
            <a:br>
              <a:rPr kumimoji="1" lang="en-US" altLang="ja-JP" sz="1050" b="1" dirty="0">
                <a:solidFill>
                  <a:schemeClr val="tx1"/>
                </a:solidFill>
                <a:latin typeface="Yu Gothic UI" panose="020B0500000000000000" pitchFamily="50" charset="-128"/>
                <a:ea typeface="Yu Gothic UI" panose="020B0500000000000000" pitchFamily="50" charset="-128"/>
              </a:rPr>
            </a:br>
            <a:r>
              <a:rPr kumimoji="1" lang="en-US" altLang="ja-JP" sz="1050" dirty="0">
                <a:solidFill>
                  <a:schemeClr val="tx1"/>
                </a:solidFill>
                <a:latin typeface="Yu Gothic UI" panose="020B0500000000000000" pitchFamily="50" charset="-128"/>
                <a:ea typeface="Yu Gothic UI" panose="020B0500000000000000" pitchFamily="50" charset="-128"/>
              </a:rPr>
              <a:t>https://www.mitsubishielectric.co.jp/fa/</a:t>
            </a:r>
            <a:endParaRPr kumimoji="1" lang="ja-JP" altLang="en-US" sz="1050" dirty="0">
              <a:solidFill>
                <a:schemeClr val="tx1"/>
              </a:solidFill>
              <a:latin typeface="Yu Gothic UI" panose="020B0500000000000000" pitchFamily="50" charset="-128"/>
              <a:ea typeface="Yu Gothic UI" panose="020B0500000000000000" pitchFamily="50" charset="-128"/>
            </a:endParaRP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2AD3881C-B3DE-0758-9C3D-BD5DC034868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0183"/>
          <a:stretch/>
        </p:blipFill>
        <p:spPr>
          <a:xfrm>
            <a:off x="2369125" y="1892177"/>
            <a:ext cx="1334596" cy="1441388"/>
          </a:xfrm>
          <a:prstGeom prst="rect">
            <a:avLst/>
          </a:prstGeom>
          <a:ln w="3175">
            <a:solidFill>
              <a:schemeClr val="bg1">
                <a:lumMod val="75000"/>
              </a:schemeClr>
            </a:solidFill>
          </a:ln>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D91D58A0-759C-91C0-4047-8992854329E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70183"/>
          <a:stretch/>
        </p:blipFill>
        <p:spPr>
          <a:xfrm>
            <a:off x="6289002" y="1892179"/>
            <a:ext cx="1368343" cy="1441387"/>
          </a:xfrm>
          <a:prstGeom prst="rect">
            <a:avLst/>
          </a:prstGeom>
          <a:ln w="3175">
            <a:solidFill>
              <a:schemeClr val="bg1">
                <a:lumMod val="75000"/>
              </a:schemeClr>
            </a:solidFill>
          </a:ln>
        </p:spPr>
      </p:pic>
      <p:sp>
        <p:nvSpPr>
          <p:cNvPr id="17" name="正方形/長方形 16">
            <a:extLst>
              <a:ext uri="{FF2B5EF4-FFF2-40B4-BE49-F238E27FC236}">
                <a16:creationId xmlns:a16="http://schemas.microsoft.com/office/drawing/2014/main" id="{61B3CD6F-8F9A-75BE-B820-7C6B6AEEDC8F}"/>
              </a:ext>
            </a:extLst>
          </p:cNvPr>
          <p:cNvSpPr/>
          <p:nvPr/>
        </p:nvSpPr>
        <p:spPr>
          <a:xfrm>
            <a:off x="1826395" y="1170227"/>
            <a:ext cx="270164" cy="301177"/>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運営</a:t>
            </a:r>
            <a:br>
              <a:rPr kumimoji="1" lang="en-US" altLang="ja-JP" sz="900" dirty="0">
                <a:solidFill>
                  <a:schemeClr val="tx1"/>
                </a:solidFill>
                <a:latin typeface="Yu Gothic UI" panose="020B0500000000000000" pitchFamily="50" charset="-128"/>
                <a:ea typeface="Yu Gothic UI" panose="020B0500000000000000" pitchFamily="50" charset="-128"/>
              </a:rPr>
            </a:br>
            <a:r>
              <a:rPr kumimoji="1" lang="ja-JP" altLang="en-US" sz="900" dirty="0">
                <a:solidFill>
                  <a:schemeClr val="tx1"/>
                </a:solidFill>
                <a:latin typeface="Yu Gothic UI" panose="020B0500000000000000" pitchFamily="50" charset="-128"/>
                <a:ea typeface="Yu Gothic UI" panose="020B0500000000000000" pitchFamily="50" charset="-128"/>
              </a:rPr>
              <a:t>主体</a:t>
            </a:r>
          </a:p>
        </p:txBody>
      </p:sp>
      <p:graphicFrame>
        <p:nvGraphicFramePr>
          <p:cNvPr id="19" name="表 19">
            <a:extLst>
              <a:ext uri="{FF2B5EF4-FFF2-40B4-BE49-F238E27FC236}">
                <a16:creationId xmlns:a16="http://schemas.microsoft.com/office/drawing/2014/main" id="{15FC652F-1FFA-AAB1-3D89-BC8E77AFBE0C}"/>
              </a:ext>
            </a:extLst>
          </p:cNvPr>
          <p:cNvGraphicFramePr>
            <a:graphicFrameLocks noGrp="1"/>
          </p:cNvGraphicFramePr>
          <p:nvPr/>
        </p:nvGraphicFramePr>
        <p:xfrm>
          <a:off x="3788412" y="1889591"/>
          <a:ext cx="2280841" cy="1446560"/>
        </p:xfrm>
        <a:graphic>
          <a:graphicData uri="http://schemas.openxmlformats.org/drawingml/2006/table">
            <a:tbl>
              <a:tblPr>
                <a:tableStyleId>{5C22544A-7EE6-4342-B048-85BDC9FD1C3A}</a:tableStyleId>
              </a:tblPr>
              <a:tblGrid>
                <a:gridCol w="980304">
                  <a:extLst>
                    <a:ext uri="{9D8B030D-6E8A-4147-A177-3AD203B41FA5}">
                      <a16:colId xmlns:a16="http://schemas.microsoft.com/office/drawing/2014/main" val="402035656"/>
                    </a:ext>
                  </a:extLst>
                </a:gridCol>
                <a:gridCol w="1300537">
                  <a:extLst>
                    <a:ext uri="{9D8B030D-6E8A-4147-A177-3AD203B41FA5}">
                      <a16:colId xmlns:a16="http://schemas.microsoft.com/office/drawing/2014/main" val="1608580510"/>
                    </a:ext>
                  </a:extLst>
                </a:gridCol>
              </a:tblGrid>
              <a:tr h="361640">
                <a:tc>
                  <a:txBody>
                    <a:bodyPr/>
                    <a:lstStyle/>
                    <a:p>
                      <a:r>
                        <a:rPr kumimoji="1" lang="ja-JP" altLang="en-US" sz="1050" dirty="0">
                          <a:latin typeface="Yu Gothic UI" panose="020B0500000000000000" pitchFamily="50" charset="-128"/>
                          <a:ea typeface="Yu Gothic UI" panose="020B0500000000000000" pitchFamily="50" charset="-128"/>
                        </a:rPr>
                        <a:t>ページ数</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静的</a:t>
                      </a:r>
                      <a:r>
                        <a:rPr kumimoji="1" lang="en-US" altLang="ja-JP" sz="1050" dirty="0">
                          <a:latin typeface="Yu Gothic UI" panose="020B0500000000000000" pitchFamily="50" charset="-128"/>
                          <a:ea typeface="Yu Gothic UI" panose="020B0500000000000000" pitchFamily="50" charset="-128"/>
                        </a:rPr>
                        <a:t>)</a:t>
                      </a:r>
                      <a:endParaRPr kumimoji="1" lang="ja-JP" altLang="en-US" sz="1050" dirty="0">
                        <a:latin typeface="Yu Gothic UI" panose="020B0500000000000000" pitchFamily="50" charset="-128"/>
                        <a:ea typeface="Yu Gothic UI" panose="020B0500000000000000" pitchFamily="50" charset="-128"/>
                      </a:endParaRPr>
                    </a:p>
                  </a:txBody>
                  <a:tcPr marL="36000" marR="36000" marT="36000" marB="0" anchor="ctr">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10,700</a:t>
                      </a:r>
                      <a:r>
                        <a:rPr kumimoji="1" lang="ja-JP" altLang="en-US" sz="1050" dirty="0">
                          <a:latin typeface="Yu Gothic UI" panose="020B0500000000000000" pitchFamily="50" charset="-128"/>
                          <a:ea typeface="Yu Gothic UI" panose="020B0500000000000000" pitchFamily="50" charset="-128"/>
                        </a:rPr>
                        <a:t> ページ</a:t>
                      </a:r>
                    </a:p>
                  </a:txBody>
                  <a:tcPr marL="36000" marR="36000" marT="36000" marB="0" anchor="ctr">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4124970232"/>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月間</a:t>
                      </a:r>
                      <a:r>
                        <a:rPr kumimoji="1" lang="en-US" altLang="ja-JP" sz="1050" dirty="0">
                          <a:latin typeface="Yu Gothic UI" panose="020B0500000000000000" pitchFamily="50" charset="-128"/>
                          <a:ea typeface="Yu Gothic UI" panose="020B0500000000000000" pitchFamily="50" charset="-128"/>
                        </a:rPr>
                        <a:t>PV</a:t>
                      </a:r>
                      <a:r>
                        <a:rPr kumimoji="1" lang="ja-JP" altLang="en-US" sz="1050" dirty="0">
                          <a:latin typeface="Yu Gothic UI" panose="020B0500000000000000" pitchFamily="50" charset="-128"/>
                          <a:ea typeface="Yu Gothic UI" panose="020B0500000000000000" pitchFamily="50" charset="-128"/>
                        </a:rPr>
                        <a:t>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500</a:t>
                      </a:r>
                      <a:r>
                        <a:rPr kumimoji="1" lang="ja-JP" altLang="en-US" sz="1400" b="1" dirty="0">
                          <a:latin typeface="Yu Gothic UI" panose="020B0500000000000000" pitchFamily="50" charset="-128"/>
                          <a:ea typeface="Yu Gothic UI" panose="020B0500000000000000" pitchFamily="50" charset="-128"/>
                        </a:rPr>
                        <a:t> </a:t>
                      </a:r>
                      <a:r>
                        <a:rPr kumimoji="1" lang="ja-JP" altLang="en-US" sz="1050" dirty="0">
                          <a:latin typeface="Yu Gothic UI" panose="020B0500000000000000" pitchFamily="50" charset="-128"/>
                          <a:ea typeface="Yu Gothic UI" panose="020B0500000000000000" pitchFamily="50" charset="-128"/>
                        </a:rPr>
                        <a:t>万</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4007845404"/>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月間訪問者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50</a:t>
                      </a:r>
                      <a:r>
                        <a:rPr kumimoji="1" lang="ja-JP" altLang="en-US" sz="1050" dirty="0">
                          <a:latin typeface="Yu Gothic UI" panose="020B0500000000000000" pitchFamily="50" charset="-128"/>
                          <a:ea typeface="Yu Gothic UI" panose="020B0500000000000000" pitchFamily="50" charset="-128"/>
                        </a:rPr>
                        <a:t> 万</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531496019"/>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会員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70</a:t>
                      </a:r>
                      <a:r>
                        <a:rPr kumimoji="1" lang="ja-JP" altLang="en-US" sz="1050" dirty="0">
                          <a:latin typeface="Yu Gothic UI" panose="020B0500000000000000" pitchFamily="50" charset="-128"/>
                          <a:ea typeface="Yu Gothic UI" panose="020B0500000000000000" pitchFamily="50" charset="-128"/>
                        </a:rPr>
                        <a:t> 万</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901341945"/>
                  </a:ext>
                </a:extLst>
              </a:tr>
            </a:tbl>
          </a:graphicData>
        </a:graphic>
      </p:graphicFrame>
      <p:sp>
        <p:nvSpPr>
          <p:cNvPr id="27" name="正方形/長方形 26">
            <a:extLst>
              <a:ext uri="{FF2B5EF4-FFF2-40B4-BE49-F238E27FC236}">
                <a16:creationId xmlns:a16="http://schemas.microsoft.com/office/drawing/2014/main" id="{4FAC6616-42F1-200C-2901-7DEF291A329D}"/>
              </a:ext>
            </a:extLst>
          </p:cNvPr>
          <p:cNvSpPr/>
          <p:nvPr/>
        </p:nvSpPr>
        <p:spPr>
          <a:xfrm>
            <a:off x="5117298" y="420260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オーストラリア</a:t>
            </a:r>
          </a:p>
        </p:txBody>
      </p:sp>
      <p:sp>
        <p:nvSpPr>
          <p:cNvPr id="28" name="正方形/長方形 27">
            <a:extLst>
              <a:ext uri="{FF2B5EF4-FFF2-40B4-BE49-F238E27FC236}">
                <a16:creationId xmlns:a16="http://schemas.microsoft.com/office/drawing/2014/main" id="{76D50DB2-160A-CEF2-4C69-0E6C88139E2C}"/>
              </a:ext>
            </a:extLst>
          </p:cNvPr>
          <p:cNvSpPr/>
          <p:nvPr/>
        </p:nvSpPr>
        <p:spPr>
          <a:xfrm>
            <a:off x="5117298" y="4465838"/>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中国</a:t>
            </a:r>
          </a:p>
        </p:txBody>
      </p:sp>
      <p:sp>
        <p:nvSpPr>
          <p:cNvPr id="29" name="正方形/長方形 28">
            <a:extLst>
              <a:ext uri="{FF2B5EF4-FFF2-40B4-BE49-F238E27FC236}">
                <a16:creationId xmlns:a16="http://schemas.microsoft.com/office/drawing/2014/main" id="{0C83402B-A3A8-CAD9-2C07-F0D399783F1E}"/>
              </a:ext>
            </a:extLst>
          </p:cNvPr>
          <p:cNvSpPr/>
          <p:nvPr/>
        </p:nvSpPr>
        <p:spPr>
          <a:xfrm>
            <a:off x="5117298" y="472907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インド</a:t>
            </a:r>
          </a:p>
        </p:txBody>
      </p:sp>
      <p:sp>
        <p:nvSpPr>
          <p:cNvPr id="30" name="正方形/長方形 29">
            <a:extLst>
              <a:ext uri="{FF2B5EF4-FFF2-40B4-BE49-F238E27FC236}">
                <a16:creationId xmlns:a16="http://schemas.microsoft.com/office/drawing/2014/main" id="{DF140DD7-7C6E-0FBB-AE0A-DA32CE229B4C}"/>
              </a:ext>
            </a:extLst>
          </p:cNvPr>
          <p:cNvSpPr/>
          <p:nvPr/>
        </p:nvSpPr>
        <p:spPr>
          <a:xfrm>
            <a:off x="5117298" y="5000495"/>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インドネシア</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英</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現</a:t>
            </a: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32" name="正方形/長方形 31">
            <a:extLst>
              <a:ext uri="{FF2B5EF4-FFF2-40B4-BE49-F238E27FC236}">
                <a16:creationId xmlns:a16="http://schemas.microsoft.com/office/drawing/2014/main" id="{4CB81867-C5AB-DF5F-04C3-B10ECDF844CD}"/>
              </a:ext>
            </a:extLst>
          </p:cNvPr>
          <p:cNvSpPr/>
          <p:nvPr/>
        </p:nvSpPr>
        <p:spPr>
          <a:xfrm>
            <a:off x="2992157" y="420260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ブラジル</a:t>
            </a:r>
          </a:p>
        </p:txBody>
      </p:sp>
      <p:sp>
        <p:nvSpPr>
          <p:cNvPr id="33" name="正方形/長方形 32">
            <a:extLst>
              <a:ext uri="{FF2B5EF4-FFF2-40B4-BE49-F238E27FC236}">
                <a16:creationId xmlns:a16="http://schemas.microsoft.com/office/drawing/2014/main" id="{7425C6B4-45F0-3025-5E8C-7260CEA7AB53}"/>
              </a:ext>
            </a:extLst>
          </p:cNvPr>
          <p:cNvSpPr/>
          <p:nvPr/>
        </p:nvSpPr>
        <p:spPr>
          <a:xfrm>
            <a:off x="2992157" y="4465838"/>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アメリカ</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英</a:t>
            </a: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34" name="正方形/長方形 33">
            <a:extLst>
              <a:ext uri="{FF2B5EF4-FFF2-40B4-BE49-F238E27FC236}">
                <a16:creationId xmlns:a16="http://schemas.microsoft.com/office/drawing/2014/main" id="{F6004F3A-2BD8-1313-191B-ED9FE680C1F4}"/>
              </a:ext>
            </a:extLst>
          </p:cNvPr>
          <p:cNvSpPr/>
          <p:nvPr/>
        </p:nvSpPr>
        <p:spPr>
          <a:xfrm>
            <a:off x="2992157" y="472907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アメリカ</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スペイン</a:t>
            </a: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36" name="正方形/長方形 35">
            <a:extLst>
              <a:ext uri="{FF2B5EF4-FFF2-40B4-BE49-F238E27FC236}">
                <a16:creationId xmlns:a16="http://schemas.microsoft.com/office/drawing/2014/main" id="{0B1B5248-DBB1-358E-0CD7-84ED2DFC9962}"/>
              </a:ext>
            </a:extLst>
          </p:cNvPr>
          <p:cNvSpPr/>
          <p:nvPr/>
        </p:nvSpPr>
        <p:spPr>
          <a:xfrm>
            <a:off x="5117298" y="5264001"/>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韓国</a:t>
            </a:r>
          </a:p>
        </p:txBody>
      </p:sp>
      <p:sp>
        <p:nvSpPr>
          <p:cNvPr id="38" name="正方形/長方形 37">
            <a:extLst>
              <a:ext uri="{FF2B5EF4-FFF2-40B4-BE49-F238E27FC236}">
                <a16:creationId xmlns:a16="http://schemas.microsoft.com/office/drawing/2014/main" id="{56620D36-26F0-87B8-6909-2BC1213BE19E}"/>
              </a:ext>
            </a:extLst>
          </p:cNvPr>
          <p:cNvSpPr/>
          <p:nvPr/>
        </p:nvSpPr>
        <p:spPr>
          <a:xfrm>
            <a:off x="5117298" y="5527507"/>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マレーシア</a:t>
            </a:r>
          </a:p>
        </p:txBody>
      </p:sp>
      <p:sp>
        <p:nvSpPr>
          <p:cNvPr id="39" name="正方形/長方形 38">
            <a:extLst>
              <a:ext uri="{FF2B5EF4-FFF2-40B4-BE49-F238E27FC236}">
                <a16:creationId xmlns:a16="http://schemas.microsoft.com/office/drawing/2014/main" id="{E99883D1-9C25-2C79-AFD5-D635F9E8F747}"/>
              </a:ext>
            </a:extLst>
          </p:cNvPr>
          <p:cNvSpPr/>
          <p:nvPr/>
        </p:nvSpPr>
        <p:spPr>
          <a:xfrm>
            <a:off x="5117298" y="5798929"/>
            <a:ext cx="1069861" cy="207818"/>
          </a:xfrm>
          <a:prstGeom prst="rect">
            <a:avLst/>
          </a:prstGeom>
          <a:noFill/>
          <a:ln w="6350" cap="flat" cmpd="sng" algn="ctr">
            <a:solidFill>
              <a:schemeClr val="tx1">
                <a:lumMod val="50000"/>
                <a:lumOff val="5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フィリピン</a:t>
            </a:r>
          </a:p>
        </p:txBody>
      </p:sp>
      <p:sp>
        <p:nvSpPr>
          <p:cNvPr id="40" name="正方形/長方形 39">
            <a:extLst>
              <a:ext uri="{FF2B5EF4-FFF2-40B4-BE49-F238E27FC236}">
                <a16:creationId xmlns:a16="http://schemas.microsoft.com/office/drawing/2014/main" id="{12DCD0C4-A375-9CC3-5245-5E6F955C641D}"/>
              </a:ext>
            </a:extLst>
          </p:cNvPr>
          <p:cNvSpPr/>
          <p:nvPr/>
        </p:nvSpPr>
        <p:spPr>
          <a:xfrm>
            <a:off x="5117298" y="6062435"/>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シンガポール</a:t>
            </a:r>
          </a:p>
        </p:txBody>
      </p:sp>
      <p:sp>
        <p:nvSpPr>
          <p:cNvPr id="41" name="正方形/長方形 40">
            <a:extLst>
              <a:ext uri="{FF2B5EF4-FFF2-40B4-BE49-F238E27FC236}">
                <a16:creationId xmlns:a16="http://schemas.microsoft.com/office/drawing/2014/main" id="{4DF62145-CF1E-7ADF-2CD6-2683F0E6647F}"/>
              </a:ext>
            </a:extLst>
          </p:cNvPr>
          <p:cNvSpPr/>
          <p:nvPr/>
        </p:nvSpPr>
        <p:spPr>
          <a:xfrm>
            <a:off x="6336498" y="420260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台湾</a:t>
            </a:r>
            <a:r>
              <a:rPr kumimoji="1" lang="en-US" altLang="ja-JP" sz="900" dirty="0">
                <a:solidFill>
                  <a:schemeClr val="tx1"/>
                </a:solidFill>
                <a:latin typeface="Yu Gothic UI" panose="020B0500000000000000" pitchFamily="50" charset="-128"/>
                <a:ea typeface="Yu Gothic UI" panose="020B0500000000000000" pitchFamily="50" charset="-128"/>
              </a:rPr>
              <a:t>(ME-TWN)</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42" name="正方形/長方形 41">
            <a:extLst>
              <a:ext uri="{FF2B5EF4-FFF2-40B4-BE49-F238E27FC236}">
                <a16:creationId xmlns:a16="http://schemas.microsoft.com/office/drawing/2014/main" id="{19F51B5E-8704-EDAC-0642-9E03375AFD70}"/>
              </a:ext>
            </a:extLst>
          </p:cNvPr>
          <p:cNvSpPr/>
          <p:nvPr/>
        </p:nvSpPr>
        <p:spPr>
          <a:xfrm>
            <a:off x="6336498" y="4465838"/>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台湾</a:t>
            </a:r>
            <a:r>
              <a:rPr kumimoji="1" lang="en-US" altLang="ja-JP" sz="900" dirty="0">
                <a:solidFill>
                  <a:schemeClr val="tx1"/>
                </a:solidFill>
                <a:latin typeface="Yu Gothic UI" panose="020B0500000000000000" pitchFamily="50" charset="-128"/>
                <a:ea typeface="Yu Gothic UI" panose="020B0500000000000000" pitchFamily="50" charset="-128"/>
              </a:rPr>
              <a:t>(MEA-TWM)</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43" name="正方形/長方形 42">
            <a:extLst>
              <a:ext uri="{FF2B5EF4-FFF2-40B4-BE49-F238E27FC236}">
                <a16:creationId xmlns:a16="http://schemas.microsoft.com/office/drawing/2014/main" id="{86A435AD-99BF-A4AD-2429-482A1C1C56D1}"/>
              </a:ext>
            </a:extLst>
          </p:cNvPr>
          <p:cNvSpPr/>
          <p:nvPr/>
        </p:nvSpPr>
        <p:spPr>
          <a:xfrm>
            <a:off x="6336498" y="472907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タイ</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英</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現</a:t>
            </a: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44" name="正方形/長方形 43">
            <a:extLst>
              <a:ext uri="{FF2B5EF4-FFF2-40B4-BE49-F238E27FC236}">
                <a16:creationId xmlns:a16="http://schemas.microsoft.com/office/drawing/2014/main" id="{7E598975-B79A-0A33-3927-E45070ADC360}"/>
              </a:ext>
            </a:extLst>
          </p:cNvPr>
          <p:cNvSpPr/>
          <p:nvPr/>
        </p:nvSpPr>
        <p:spPr>
          <a:xfrm>
            <a:off x="6336498" y="5000495"/>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ベトナム</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英</a:t>
            </a:r>
            <a:r>
              <a:rPr kumimoji="1" lang="en-US" altLang="ja-JP" sz="900" dirty="0">
                <a:solidFill>
                  <a:schemeClr val="tx1"/>
                </a:solidFill>
                <a:latin typeface="Yu Gothic UI" panose="020B0500000000000000" pitchFamily="50" charset="-128"/>
                <a:ea typeface="Yu Gothic UI" panose="020B0500000000000000" pitchFamily="50" charset="-128"/>
              </a:rPr>
              <a:t>/</a:t>
            </a:r>
            <a:r>
              <a:rPr kumimoji="1" lang="ja-JP" altLang="en-US" sz="900" dirty="0">
                <a:solidFill>
                  <a:schemeClr val="tx1"/>
                </a:solidFill>
                <a:latin typeface="Yu Gothic UI" panose="020B0500000000000000" pitchFamily="50" charset="-128"/>
                <a:ea typeface="Yu Gothic UI" panose="020B0500000000000000" pitchFamily="50" charset="-128"/>
              </a:rPr>
              <a:t>現</a:t>
            </a: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45" name="正方形/長方形 44">
            <a:extLst>
              <a:ext uri="{FF2B5EF4-FFF2-40B4-BE49-F238E27FC236}">
                <a16:creationId xmlns:a16="http://schemas.microsoft.com/office/drawing/2014/main" id="{30701C8A-4149-1FB7-B95A-36CF27FBFD98}"/>
              </a:ext>
            </a:extLst>
          </p:cNvPr>
          <p:cNvSpPr/>
          <p:nvPr/>
        </p:nvSpPr>
        <p:spPr>
          <a:xfrm>
            <a:off x="7765050" y="4202603"/>
            <a:ext cx="229585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ポータルサイト</a:t>
            </a:r>
          </a:p>
        </p:txBody>
      </p:sp>
      <p:sp>
        <p:nvSpPr>
          <p:cNvPr id="46" name="正方形/長方形 45">
            <a:extLst>
              <a:ext uri="{FF2B5EF4-FFF2-40B4-BE49-F238E27FC236}">
                <a16:creationId xmlns:a16="http://schemas.microsoft.com/office/drawing/2014/main" id="{0817BE39-2D1B-D9C6-A26C-41890D2B1CE1}"/>
              </a:ext>
            </a:extLst>
          </p:cNvPr>
          <p:cNvSpPr/>
          <p:nvPr/>
        </p:nvSpPr>
        <p:spPr>
          <a:xfrm>
            <a:off x="7771840" y="4465838"/>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アルジェリア</a:t>
            </a:r>
          </a:p>
        </p:txBody>
      </p:sp>
      <p:sp>
        <p:nvSpPr>
          <p:cNvPr id="47" name="正方形/長方形 46">
            <a:extLst>
              <a:ext uri="{FF2B5EF4-FFF2-40B4-BE49-F238E27FC236}">
                <a16:creationId xmlns:a16="http://schemas.microsoft.com/office/drawing/2014/main" id="{9CC5B7A1-37D7-FC41-08B6-AD559B571B57}"/>
              </a:ext>
            </a:extLst>
          </p:cNvPr>
          <p:cNvSpPr/>
          <p:nvPr/>
        </p:nvSpPr>
        <p:spPr>
          <a:xfrm>
            <a:off x="8991040" y="4465838"/>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オーストリア</a:t>
            </a:r>
          </a:p>
        </p:txBody>
      </p:sp>
      <p:sp>
        <p:nvSpPr>
          <p:cNvPr id="48" name="正方形/長方形 47">
            <a:extLst>
              <a:ext uri="{FF2B5EF4-FFF2-40B4-BE49-F238E27FC236}">
                <a16:creationId xmlns:a16="http://schemas.microsoft.com/office/drawing/2014/main" id="{ADDF4032-DE78-0CE1-E2FD-4B55F644EDE7}"/>
              </a:ext>
            </a:extLst>
          </p:cNvPr>
          <p:cNvSpPr/>
          <p:nvPr/>
        </p:nvSpPr>
        <p:spPr>
          <a:xfrm>
            <a:off x="7771840" y="472907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ベルギー</a:t>
            </a:r>
          </a:p>
        </p:txBody>
      </p:sp>
      <p:sp>
        <p:nvSpPr>
          <p:cNvPr id="49" name="正方形/長方形 48">
            <a:extLst>
              <a:ext uri="{FF2B5EF4-FFF2-40B4-BE49-F238E27FC236}">
                <a16:creationId xmlns:a16="http://schemas.microsoft.com/office/drawing/2014/main" id="{F4F2A72F-6755-0AB5-3F7E-010E3E90DDFE}"/>
              </a:ext>
            </a:extLst>
          </p:cNvPr>
          <p:cNvSpPr/>
          <p:nvPr/>
        </p:nvSpPr>
        <p:spPr>
          <a:xfrm>
            <a:off x="8991040" y="4729073"/>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ブルガリア</a:t>
            </a:r>
          </a:p>
        </p:txBody>
      </p:sp>
      <p:sp>
        <p:nvSpPr>
          <p:cNvPr id="50" name="正方形/長方形 49">
            <a:extLst>
              <a:ext uri="{FF2B5EF4-FFF2-40B4-BE49-F238E27FC236}">
                <a16:creationId xmlns:a16="http://schemas.microsoft.com/office/drawing/2014/main" id="{0E6DBDE2-CC2F-0C55-9351-D2658992ADE0}"/>
              </a:ext>
            </a:extLst>
          </p:cNvPr>
          <p:cNvSpPr/>
          <p:nvPr/>
        </p:nvSpPr>
        <p:spPr>
          <a:xfrm>
            <a:off x="7771840" y="5000495"/>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クロアチア</a:t>
            </a:r>
          </a:p>
        </p:txBody>
      </p:sp>
      <p:sp>
        <p:nvSpPr>
          <p:cNvPr id="51" name="正方形/長方形 50">
            <a:extLst>
              <a:ext uri="{FF2B5EF4-FFF2-40B4-BE49-F238E27FC236}">
                <a16:creationId xmlns:a16="http://schemas.microsoft.com/office/drawing/2014/main" id="{E32E0DB4-45B6-BC1D-A4A0-246B819C52C1}"/>
              </a:ext>
            </a:extLst>
          </p:cNvPr>
          <p:cNvSpPr/>
          <p:nvPr/>
        </p:nvSpPr>
        <p:spPr>
          <a:xfrm>
            <a:off x="8991040" y="5000495"/>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チェコ</a:t>
            </a:r>
          </a:p>
        </p:txBody>
      </p:sp>
      <p:sp>
        <p:nvSpPr>
          <p:cNvPr id="52" name="正方形/長方形 51">
            <a:extLst>
              <a:ext uri="{FF2B5EF4-FFF2-40B4-BE49-F238E27FC236}">
                <a16:creationId xmlns:a16="http://schemas.microsoft.com/office/drawing/2014/main" id="{F1EE86C4-08A7-D6EF-BEBA-FEB69A2012C5}"/>
              </a:ext>
            </a:extLst>
          </p:cNvPr>
          <p:cNvSpPr/>
          <p:nvPr/>
        </p:nvSpPr>
        <p:spPr>
          <a:xfrm>
            <a:off x="7771840" y="5271917"/>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デンマーク</a:t>
            </a:r>
          </a:p>
        </p:txBody>
      </p:sp>
      <p:sp>
        <p:nvSpPr>
          <p:cNvPr id="53" name="正方形/長方形 52">
            <a:extLst>
              <a:ext uri="{FF2B5EF4-FFF2-40B4-BE49-F238E27FC236}">
                <a16:creationId xmlns:a16="http://schemas.microsoft.com/office/drawing/2014/main" id="{4803041A-8D96-5E34-5DD2-94B43B75122F}"/>
              </a:ext>
            </a:extLst>
          </p:cNvPr>
          <p:cNvSpPr/>
          <p:nvPr/>
        </p:nvSpPr>
        <p:spPr>
          <a:xfrm>
            <a:off x="8991040" y="5271917"/>
            <a:ext cx="1069861" cy="207818"/>
          </a:xfrm>
          <a:prstGeom prst="rect">
            <a:avLst/>
          </a:prstGeom>
          <a:noFill/>
          <a:ln w="63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エジプト</a:t>
            </a:r>
          </a:p>
        </p:txBody>
      </p:sp>
      <p:sp>
        <p:nvSpPr>
          <p:cNvPr id="54" name="正方形/長方形 53">
            <a:extLst>
              <a:ext uri="{FF2B5EF4-FFF2-40B4-BE49-F238E27FC236}">
                <a16:creationId xmlns:a16="http://schemas.microsoft.com/office/drawing/2014/main" id="{AA1F1FD8-E8FE-1FDF-5056-2416BA8CC3BB}"/>
              </a:ext>
            </a:extLst>
          </p:cNvPr>
          <p:cNvSpPr/>
          <p:nvPr/>
        </p:nvSpPr>
        <p:spPr>
          <a:xfrm>
            <a:off x="7765050" y="5554677"/>
            <a:ext cx="2295851" cy="207818"/>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55" name="正方形/長方形 54">
            <a:extLst>
              <a:ext uri="{FF2B5EF4-FFF2-40B4-BE49-F238E27FC236}">
                <a16:creationId xmlns:a16="http://schemas.microsoft.com/office/drawing/2014/main" id="{E84E013A-ECD0-E85A-4679-1617884BA7AE}"/>
              </a:ext>
            </a:extLst>
          </p:cNvPr>
          <p:cNvSpPr/>
          <p:nvPr/>
        </p:nvSpPr>
        <p:spPr>
          <a:xfrm>
            <a:off x="7765050" y="5826099"/>
            <a:ext cx="2295851" cy="207818"/>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など </a:t>
            </a:r>
          </a:p>
        </p:txBody>
      </p:sp>
      <p:graphicFrame>
        <p:nvGraphicFramePr>
          <p:cNvPr id="3" name="表 19">
            <a:extLst>
              <a:ext uri="{FF2B5EF4-FFF2-40B4-BE49-F238E27FC236}">
                <a16:creationId xmlns:a16="http://schemas.microsoft.com/office/drawing/2014/main" id="{D9CBD15A-F0BA-2D54-68F2-CD7A0F7F92AE}"/>
              </a:ext>
            </a:extLst>
          </p:cNvPr>
          <p:cNvGraphicFramePr>
            <a:graphicFrameLocks noGrp="1"/>
          </p:cNvGraphicFramePr>
          <p:nvPr/>
        </p:nvGraphicFramePr>
        <p:xfrm>
          <a:off x="7738007" y="1889591"/>
          <a:ext cx="2280841" cy="1446560"/>
        </p:xfrm>
        <a:graphic>
          <a:graphicData uri="http://schemas.openxmlformats.org/drawingml/2006/table">
            <a:tbl>
              <a:tblPr>
                <a:tableStyleId>{5C22544A-7EE6-4342-B048-85BDC9FD1C3A}</a:tableStyleId>
              </a:tblPr>
              <a:tblGrid>
                <a:gridCol w="980304">
                  <a:extLst>
                    <a:ext uri="{9D8B030D-6E8A-4147-A177-3AD203B41FA5}">
                      <a16:colId xmlns:a16="http://schemas.microsoft.com/office/drawing/2014/main" val="402035656"/>
                    </a:ext>
                  </a:extLst>
                </a:gridCol>
                <a:gridCol w="1300537">
                  <a:extLst>
                    <a:ext uri="{9D8B030D-6E8A-4147-A177-3AD203B41FA5}">
                      <a16:colId xmlns:a16="http://schemas.microsoft.com/office/drawing/2014/main" val="1608580510"/>
                    </a:ext>
                  </a:extLst>
                </a:gridCol>
              </a:tblGrid>
              <a:tr h="361640">
                <a:tc>
                  <a:txBody>
                    <a:bodyPr/>
                    <a:lstStyle/>
                    <a:p>
                      <a:r>
                        <a:rPr kumimoji="1" lang="ja-JP" altLang="en-US" sz="1050" dirty="0">
                          <a:latin typeface="Yu Gothic UI" panose="020B0500000000000000" pitchFamily="50" charset="-128"/>
                          <a:ea typeface="Yu Gothic UI" panose="020B0500000000000000" pitchFamily="50" charset="-128"/>
                        </a:rPr>
                        <a:t>ページ数</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静的</a:t>
                      </a:r>
                      <a:r>
                        <a:rPr kumimoji="1" lang="en-US" altLang="ja-JP" sz="1050" dirty="0">
                          <a:latin typeface="Yu Gothic UI" panose="020B0500000000000000" pitchFamily="50" charset="-128"/>
                          <a:ea typeface="Yu Gothic UI" panose="020B0500000000000000" pitchFamily="50" charset="-128"/>
                        </a:rPr>
                        <a:t>)</a:t>
                      </a:r>
                      <a:endParaRPr kumimoji="1" lang="ja-JP" altLang="en-US" sz="1050" dirty="0">
                        <a:latin typeface="Yu Gothic UI" panose="020B0500000000000000" pitchFamily="50" charset="-128"/>
                        <a:ea typeface="Yu Gothic UI" panose="020B0500000000000000" pitchFamily="50" charset="-128"/>
                      </a:endParaRPr>
                    </a:p>
                  </a:txBody>
                  <a:tcPr marL="36000" marR="36000" marT="36000" marB="0" anchor="ctr">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18,700</a:t>
                      </a:r>
                      <a:r>
                        <a:rPr kumimoji="1" lang="ja-JP" altLang="en-US" sz="1050" dirty="0">
                          <a:latin typeface="Yu Gothic UI" panose="020B0500000000000000" pitchFamily="50" charset="-128"/>
                          <a:ea typeface="Yu Gothic UI" panose="020B0500000000000000" pitchFamily="50" charset="-128"/>
                        </a:rPr>
                        <a:t> ページ</a:t>
                      </a:r>
                    </a:p>
                  </a:txBody>
                  <a:tcPr marL="36000" marR="36000" marT="36000" marB="0" anchor="ctr">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4124970232"/>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月間</a:t>
                      </a:r>
                      <a:r>
                        <a:rPr kumimoji="1" lang="en-US" altLang="ja-JP" sz="1050" dirty="0">
                          <a:latin typeface="Yu Gothic UI" panose="020B0500000000000000" pitchFamily="50" charset="-128"/>
                          <a:ea typeface="Yu Gothic UI" panose="020B0500000000000000" pitchFamily="50" charset="-128"/>
                        </a:rPr>
                        <a:t>PV</a:t>
                      </a:r>
                      <a:r>
                        <a:rPr kumimoji="1" lang="ja-JP" altLang="en-US" sz="1050" dirty="0">
                          <a:latin typeface="Yu Gothic UI" panose="020B0500000000000000" pitchFamily="50" charset="-128"/>
                          <a:ea typeface="Yu Gothic UI" panose="020B0500000000000000" pitchFamily="50" charset="-128"/>
                        </a:rPr>
                        <a:t>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30</a:t>
                      </a:r>
                      <a:r>
                        <a:rPr kumimoji="1" lang="ja-JP" altLang="en-US" sz="1400" b="1" dirty="0">
                          <a:latin typeface="Yu Gothic UI" panose="020B0500000000000000" pitchFamily="50" charset="-128"/>
                          <a:ea typeface="Yu Gothic UI" panose="020B0500000000000000" pitchFamily="50" charset="-128"/>
                        </a:rPr>
                        <a:t> </a:t>
                      </a:r>
                      <a:r>
                        <a:rPr kumimoji="1" lang="ja-JP" altLang="en-US" sz="1050" dirty="0">
                          <a:latin typeface="Yu Gothic UI" panose="020B0500000000000000" pitchFamily="50" charset="-128"/>
                          <a:ea typeface="Yu Gothic UI" panose="020B0500000000000000" pitchFamily="50" charset="-128"/>
                        </a:rPr>
                        <a:t>万</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4007845404"/>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月間訪問者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ja-JP" altLang="en-US" sz="1050" dirty="0">
                          <a:latin typeface="Yu Gothic UI" panose="020B0500000000000000" pitchFamily="50" charset="-128"/>
                          <a:ea typeface="Yu Gothic UI" panose="020B0500000000000000" pitchFamily="50" charset="-128"/>
                        </a:rPr>
                        <a:t>約 </a:t>
                      </a:r>
                      <a:r>
                        <a:rPr kumimoji="1" lang="en-US" altLang="ja-JP" sz="1400" b="1" dirty="0">
                          <a:latin typeface="Yu Gothic UI" panose="020B0500000000000000" pitchFamily="50" charset="-128"/>
                          <a:ea typeface="Yu Gothic UI" panose="020B0500000000000000" pitchFamily="50" charset="-128"/>
                        </a:rPr>
                        <a:t>7</a:t>
                      </a:r>
                      <a:r>
                        <a:rPr kumimoji="1" lang="ja-JP" altLang="en-US" sz="1050" dirty="0">
                          <a:latin typeface="Yu Gothic UI" panose="020B0500000000000000" pitchFamily="50" charset="-128"/>
                          <a:ea typeface="Yu Gothic UI" panose="020B0500000000000000" pitchFamily="50" charset="-128"/>
                        </a:rPr>
                        <a:t> 万</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531496019"/>
                  </a:ext>
                </a:extLst>
              </a:tr>
              <a:tr h="361640">
                <a:tc>
                  <a:txBody>
                    <a:bodyPr/>
                    <a:lstStyle/>
                    <a:p>
                      <a:r>
                        <a:rPr kumimoji="1" lang="ja-JP" altLang="en-US" sz="1050" dirty="0">
                          <a:latin typeface="Yu Gothic UI" panose="020B0500000000000000" pitchFamily="50" charset="-128"/>
                          <a:ea typeface="Yu Gothic UI" panose="020B0500000000000000" pitchFamily="50" charset="-128"/>
                        </a:rPr>
                        <a:t>会員数</a:t>
                      </a: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  </a:t>
                      </a:r>
                      <a:r>
                        <a:rPr kumimoji="1" lang="en-US" altLang="ja-JP" sz="1050" dirty="0">
                          <a:latin typeface="Yu Gothic UI" panose="020B0500000000000000" pitchFamily="50" charset="-128"/>
                          <a:ea typeface="Yu Gothic UI" panose="020B0500000000000000" pitchFamily="50" charset="-128"/>
                        </a:rPr>
                        <a:t>(</a:t>
                      </a:r>
                      <a:r>
                        <a:rPr kumimoji="1" lang="ja-JP" altLang="en-US" sz="1050" dirty="0">
                          <a:latin typeface="Yu Gothic UI" panose="020B0500000000000000" pitchFamily="50" charset="-128"/>
                          <a:ea typeface="Yu Gothic UI" panose="020B0500000000000000" pitchFamily="50" charset="-128"/>
                        </a:rPr>
                        <a:t>会員制度なし</a:t>
                      </a:r>
                      <a:r>
                        <a:rPr kumimoji="1" lang="en-US" altLang="ja-JP" sz="1050" dirty="0">
                          <a:latin typeface="Yu Gothic UI" panose="020B0500000000000000" pitchFamily="50" charset="-128"/>
                          <a:ea typeface="Yu Gothic UI" panose="020B0500000000000000" pitchFamily="50" charset="-128"/>
                        </a:rPr>
                        <a:t>)</a:t>
                      </a:r>
                      <a:endParaRPr kumimoji="1" lang="ja-JP" altLang="en-US" sz="1050" dirty="0">
                        <a:latin typeface="Yu Gothic UI" panose="020B0500000000000000" pitchFamily="50" charset="-128"/>
                        <a:ea typeface="Yu Gothic UI" panose="020B0500000000000000" pitchFamily="50" charset="-128"/>
                      </a:endParaRPr>
                    </a:p>
                  </a:txBody>
                  <a:tcPr marL="36000" marR="36000" marT="36000" marB="0" anchor="ct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901341945"/>
                  </a:ext>
                </a:extLst>
              </a:tr>
            </a:tbl>
          </a:graphicData>
        </a:graphic>
      </p:graphicFrame>
      <p:sp>
        <p:nvSpPr>
          <p:cNvPr id="12" name="正方形/長方形 11">
            <a:extLst>
              <a:ext uri="{FF2B5EF4-FFF2-40B4-BE49-F238E27FC236}">
                <a16:creationId xmlns:a16="http://schemas.microsoft.com/office/drawing/2014/main" id="{1C106324-188F-9D29-503F-3A30E8E0125D}"/>
              </a:ext>
            </a:extLst>
          </p:cNvPr>
          <p:cNvSpPr/>
          <p:nvPr/>
        </p:nvSpPr>
        <p:spPr>
          <a:xfrm>
            <a:off x="6892636" y="6303174"/>
            <a:ext cx="690836"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kumimoji="1" lang="ja-JP" altLang="en-US" sz="800" dirty="0">
                <a:solidFill>
                  <a:schemeClr val="tx1"/>
                </a:solidFill>
                <a:latin typeface="Yu Gothic UI" panose="020B0500000000000000" pitchFamily="50" charset="-128"/>
                <a:ea typeface="Yu Gothic UI" panose="020B0500000000000000" pitchFamily="50" charset="-128"/>
              </a:rPr>
              <a:t>* 現 </a:t>
            </a:r>
            <a:r>
              <a:rPr kumimoji="1" lang="en-US" altLang="ja-JP" sz="800" dirty="0">
                <a:solidFill>
                  <a:schemeClr val="tx1"/>
                </a:solidFill>
                <a:latin typeface="Yu Gothic UI" panose="020B0500000000000000" pitchFamily="50" charset="-128"/>
                <a:ea typeface="Yu Gothic UI" panose="020B0500000000000000" pitchFamily="50" charset="-128"/>
              </a:rPr>
              <a:t>=</a:t>
            </a:r>
            <a:r>
              <a:rPr kumimoji="1" lang="ja-JP" altLang="en-US" sz="800" dirty="0">
                <a:solidFill>
                  <a:schemeClr val="tx1"/>
                </a:solidFill>
                <a:latin typeface="Yu Gothic UI" panose="020B0500000000000000" pitchFamily="50" charset="-128"/>
                <a:ea typeface="Yu Gothic UI" panose="020B0500000000000000" pitchFamily="50" charset="-128"/>
              </a:rPr>
              <a:t> 現地語</a:t>
            </a:r>
          </a:p>
        </p:txBody>
      </p:sp>
      <p:sp>
        <p:nvSpPr>
          <p:cNvPr id="14" name="四角形: 角を丸くする 13">
            <a:extLst>
              <a:ext uri="{FF2B5EF4-FFF2-40B4-BE49-F238E27FC236}">
                <a16:creationId xmlns:a16="http://schemas.microsoft.com/office/drawing/2014/main" id="{94AD3695-D192-D281-533F-31FCA5BD655A}"/>
              </a:ext>
            </a:extLst>
          </p:cNvPr>
          <p:cNvSpPr/>
          <p:nvPr/>
        </p:nvSpPr>
        <p:spPr>
          <a:xfrm>
            <a:off x="2244436" y="3778838"/>
            <a:ext cx="2604656" cy="301177"/>
          </a:xfrm>
          <a:prstGeom prst="round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tx1"/>
                </a:solidFill>
                <a:latin typeface="Yu Gothic UI" panose="020B0500000000000000" pitchFamily="50" charset="-128"/>
                <a:ea typeface="Yu Gothic UI" panose="020B0500000000000000" pitchFamily="50" charset="-128"/>
              </a:rPr>
              <a:t>米州</a:t>
            </a:r>
          </a:p>
        </p:txBody>
      </p:sp>
      <p:sp>
        <p:nvSpPr>
          <p:cNvPr id="16" name="四角形: 角を丸くする 15">
            <a:extLst>
              <a:ext uri="{FF2B5EF4-FFF2-40B4-BE49-F238E27FC236}">
                <a16:creationId xmlns:a16="http://schemas.microsoft.com/office/drawing/2014/main" id="{94246788-C166-0528-6264-4C4E0E511EC2}"/>
              </a:ext>
            </a:extLst>
          </p:cNvPr>
          <p:cNvSpPr/>
          <p:nvPr/>
        </p:nvSpPr>
        <p:spPr>
          <a:xfrm>
            <a:off x="4927183" y="3778838"/>
            <a:ext cx="2604656" cy="301177"/>
          </a:xfrm>
          <a:prstGeom prst="round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tx1"/>
                </a:solidFill>
                <a:latin typeface="Yu Gothic UI" panose="020B0500000000000000" pitchFamily="50" charset="-128"/>
                <a:ea typeface="Yu Gothic UI" panose="020B0500000000000000" pitchFamily="50" charset="-128"/>
              </a:rPr>
              <a:t>アジア／パシフィック</a:t>
            </a:r>
          </a:p>
        </p:txBody>
      </p:sp>
      <p:sp>
        <p:nvSpPr>
          <p:cNvPr id="18" name="四角形: 角を丸くする 17">
            <a:extLst>
              <a:ext uri="{FF2B5EF4-FFF2-40B4-BE49-F238E27FC236}">
                <a16:creationId xmlns:a16="http://schemas.microsoft.com/office/drawing/2014/main" id="{036E541B-220E-E2F5-A566-F13B7E6AC353}"/>
              </a:ext>
            </a:extLst>
          </p:cNvPr>
          <p:cNvSpPr/>
          <p:nvPr/>
        </p:nvSpPr>
        <p:spPr>
          <a:xfrm>
            <a:off x="7609931" y="3765072"/>
            <a:ext cx="2604656" cy="301177"/>
          </a:xfrm>
          <a:prstGeom prst="round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tx1"/>
                </a:solidFill>
                <a:latin typeface="Yu Gothic UI" panose="020B0500000000000000" pitchFamily="50" charset="-128"/>
                <a:ea typeface="Yu Gothic UI" panose="020B0500000000000000" pitchFamily="50" charset="-128"/>
              </a:rPr>
              <a:t>ヨーロッパ／中東／アフリカ</a:t>
            </a:r>
          </a:p>
        </p:txBody>
      </p:sp>
      <p:sp>
        <p:nvSpPr>
          <p:cNvPr id="21" name="正方形/長方形 20">
            <a:extLst>
              <a:ext uri="{FF2B5EF4-FFF2-40B4-BE49-F238E27FC236}">
                <a16:creationId xmlns:a16="http://schemas.microsoft.com/office/drawing/2014/main" id="{08DD746F-245C-42B2-BDD6-D0EA2B12D3EE}"/>
              </a:ext>
            </a:extLst>
          </p:cNvPr>
          <p:cNvSpPr/>
          <p:nvPr/>
        </p:nvSpPr>
        <p:spPr>
          <a:xfrm>
            <a:off x="6289001" y="1111803"/>
            <a:ext cx="3714108" cy="418025"/>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tx1"/>
                </a:solidFill>
                <a:latin typeface="Yu Gothic UI" panose="020B0500000000000000" pitchFamily="50" charset="-128"/>
                <a:ea typeface="Yu Gothic UI" panose="020B0500000000000000" pitchFamily="50" charset="-128"/>
              </a:rPr>
              <a:t>グローバルサイト</a:t>
            </a:r>
            <a:br>
              <a:rPr kumimoji="1" lang="en-US" altLang="ja-JP" sz="1050" b="1" dirty="0">
                <a:solidFill>
                  <a:schemeClr val="tx1"/>
                </a:solidFill>
                <a:latin typeface="Yu Gothic UI" panose="020B0500000000000000" pitchFamily="50" charset="-128"/>
                <a:ea typeface="Yu Gothic UI" panose="020B0500000000000000" pitchFamily="50" charset="-128"/>
              </a:rPr>
            </a:br>
            <a:r>
              <a:rPr kumimoji="1" lang="en-US" altLang="ja-JP" sz="1050" dirty="0">
                <a:solidFill>
                  <a:schemeClr val="tx1"/>
                </a:solidFill>
                <a:latin typeface="Yu Gothic UI" panose="020B0500000000000000" pitchFamily="50" charset="-128"/>
                <a:ea typeface="Yu Gothic UI" panose="020B0500000000000000" pitchFamily="50" charset="-128"/>
              </a:rPr>
              <a:t>https://www.mitsubishielectric.com/fa/</a:t>
            </a:r>
            <a:endParaRPr kumimoji="1" lang="ja-JP" altLang="en-US" sz="1050" dirty="0">
              <a:solidFill>
                <a:schemeClr val="tx1"/>
              </a:solidFill>
              <a:latin typeface="Yu Gothic UI" panose="020B0500000000000000" pitchFamily="50" charset="-128"/>
              <a:ea typeface="Yu Gothic UI" panose="020B0500000000000000" pitchFamily="50" charset="-128"/>
            </a:endParaRPr>
          </a:p>
        </p:txBody>
      </p:sp>
      <p:sp>
        <p:nvSpPr>
          <p:cNvPr id="2" name="タイトル 1">
            <a:extLst>
              <a:ext uri="{FF2B5EF4-FFF2-40B4-BE49-F238E27FC236}">
                <a16:creationId xmlns:a16="http://schemas.microsoft.com/office/drawing/2014/main" id="{BB8F77C5-EE77-89E4-5F3F-BAEB6C657E8A}"/>
              </a:ext>
            </a:extLst>
          </p:cNvPr>
          <p:cNvSpPr>
            <a:spLocks noGrp="1"/>
          </p:cNvSpPr>
          <p:nvPr>
            <p:ph type="title"/>
          </p:nvPr>
        </p:nvSpPr>
        <p:spPr/>
        <p:txBody>
          <a:bodyPr>
            <a:normAutofit/>
          </a:bodyPr>
          <a:lstStyle/>
          <a:p>
            <a:pPr algn="ctr"/>
            <a:r>
              <a:rPr lang="en-US" altLang="ja-JP" sz="1600" dirty="0">
                <a:solidFill>
                  <a:srgbClr val="000000"/>
                </a:solidFill>
                <a:latin typeface="+mn-ea"/>
                <a:ea typeface="+mn-ea"/>
              </a:rPr>
              <a:t>2</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2.</a:t>
            </a: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プロジェクトスコープ</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 &gt;</a:t>
            </a:r>
            <a:br>
              <a:rPr kumimoji="1" lang="en-US" altLang="ja-JP" sz="1600" b="1" i="0" u="none" strike="noStrike" kern="1200" cap="none" spc="300" normalizeH="0" baseline="0" noProof="0" dirty="0">
                <a:ln>
                  <a:noFill/>
                </a:ln>
                <a:solidFill>
                  <a:srgbClr val="000000"/>
                </a:solidFill>
                <a:effectLst/>
                <a:uLnTx/>
                <a:uFillTx/>
                <a:latin typeface="+mn-ea"/>
                <a:ea typeface="+mn-ea"/>
                <a:cs typeface="+mj-cs"/>
              </a:rPr>
            </a:b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ビジネススコープ</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FA</a:t>
            </a: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サイト概況</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a:t>
            </a:r>
            <a:endParaRPr lang="ja-JP" altLang="en-US" dirty="0">
              <a:latin typeface="+mn-ea"/>
              <a:ea typeface="+mn-ea"/>
            </a:endParaRPr>
          </a:p>
        </p:txBody>
      </p:sp>
    </p:spTree>
    <p:extLst>
      <p:ext uri="{BB962C8B-B14F-4D97-AF65-F5344CB8AC3E}">
        <p14:creationId xmlns:p14="http://schemas.microsoft.com/office/powerpoint/2010/main" val="1460724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正方形/長方形 221">
            <a:extLst>
              <a:ext uri="{FF2B5EF4-FFF2-40B4-BE49-F238E27FC236}">
                <a16:creationId xmlns:a16="http://schemas.microsoft.com/office/drawing/2014/main" id="{7A0EFDE1-EA0F-D825-3171-7344D1637D6B}"/>
              </a:ext>
            </a:extLst>
          </p:cNvPr>
          <p:cNvSpPr/>
          <p:nvPr/>
        </p:nvSpPr>
        <p:spPr>
          <a:xfrm>
            <a:off x="2728316" y="1672205"/>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23" name="正方形/長方形 222">
            <a:extLst>
              <a:ext uri="{FF2B5EF4-FFF2-40B4-BE49-F238E27FC236}">
                <a16:creationId xmlns:a16="http://schemas.microsoft.com/office/drawing/2014/main" id="{A36D0BBD-93D8-3EDD-2A60-9F0C4817136F}"/>
              </a:ext>
            </a:extLst>
          </p:cNvPr>
          <p:cNvSpPr/>
          <p:nvPr/>
        </p:nvSpPr>
        <p:spPr>
          <a:xfrm>
            <a:off x="2990292" y="1690772"/>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E</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21" name="正方形/長方形 220">
            <a:extLst>
              <a:ext uri="{FF2B5EF4-FFF2-40B4-BE49-F238E27FC236}">
                <a16:creationId xmlns:a16="http://schemas.microsoft.com/office/drawing/2014/main" id="{432F1F70-1090-AB5E-7290-C46E6E402D02}"/>
              </a:ext>
            </a:extLst>
          </p:cNvPr>
          <p:cNvSpPr/>
          <p:nvPr/>
        </p:nvSpPr>
        <p:spPr>
          <a:xfrm>
            <a:off x="2728316" y="1536427"/>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D</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graphicFrame>
        <p:nvGraphicFramePr>
          <p:cNvPr id="5" name="Object 4" hidden="1">
            <a:extLst>
              <a:ext uri="{FF2B5EF4-FFF2-40B4-BE49-F238E27FC236}">
                <a16:creationId xmlns:a16="http://schemas.microsoft.com/office/drawing/2014/main" id="{7474CA98-09CB-42F7-9B79-CACD1EDC164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5" name="Object 4" hidden="1">
                        <a:extLst>
                          <a:ext uri="{FF2B5EF4-FFF2-40B4-BE49-F238E27FC236}">
                            <a16:creationId xmlns:a16="http://schemas.microsoft.com/office/drawing/2014/main" id="{7474CA98-09CB-42F7-9B79-CACD1EDC164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スライド番号プレースホルダー 1">
            <a:extLst>
              <a:ext uri="{FF2B5EF4-FFF2-40B4-BE49-F238E27FC236}">
                <a16:creationId xmlns:a16="http://schemas.microsoft.com/office/drawing/2014/main" id="{6E74C83F-7349-CD40-9C4C-042CBC24B390}"/>
              </a:ext>
            </a:extLst>
          </p:cNvPr>
          <p:cNvSpPr txBox="1">
            <a:spLocks/>
          </p:cNvSpPr>
          <p:nvPr/>
        </p:nvSpPr>
        <p:spPr>
          <a:xfrm>
            <a:off x="1540266" y="6654007"/>
            <a:ext cx="234695" cy="115416"/>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A5FCFE5-FE56-4EF1-80A8-07776887C2A1}" type="slidenum">
              <a:rPr lang="ja-JP" altLang="en-US" sz="750">
                <a:solidFill>
                  <a:prstClr val="black"/>
                </a:solidFill>
                <a:latin typeface="Meiryo UI" panose="020B0604030504040204" pitchFamily="50" charset="-128"/>
                <a:ea typeface="Meiryo UI" panose="020B0604030504040204" pitchFamily="50" charset="-128"/>
              </a:rPr>
              <a:pPr>
                <a:defRPr/>
              </a:pPr>
              <a:t>9</a:t>
            </a:fld>
            <a:endParaRPr lang="ja-JP" altLang="en-US" sz="750">
              <a:solidFill>
                <a:prstClr val="black"/>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A2F86DD-D119-7229-819B-72EE3AF552CE}"/>
              </a:ext>
            </a:extLst>
          </p:cNvPr>
          <p:cNvSpPr/>
          <p:nvPr/>
        </p:nvSpPr>
        <p:spPr>
          <a:xfrm>
            <a:off x="1774961" y="870592"/>
            <a:ext cx="968281"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TOP</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7137752A-6FA3-9269-C2BF-3CC88A5F00D9}"/>
              </a:ext>
            </a:extLst>
          </p:cNvPr>
          <p:cNvSpPr/>
          <p:nvPr/>
        </p:nvSpPr>
        <p:spPr>
          <a:xfrm>
            <a:off x="2125878" y="1247726"/>
            <a:ext cx="968281"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製品情報</a:t>
            </a:r>
          </a:p>
        </p:txBody>
      </p:sp>
      <p:grpSp>
        <p:nvGrpSpPr>
          <p:cNvPr id="26" name="グループ化 25">
            <a:extLst>
              <a:ext uri="{FF2B5EF4-FFF2-40B4-BE49-F238E27FC236}">
                <a16:creationId xmlns:a16="http://schemas.microsoft.com/office/drawing/2014/main" id="{3005C311-2690-47E7-C121-17DA8847B7AE}"/>
              </a:ext>
            </a:extLst>
          </p:cNvPr>
          <p:cNvGrpSpPr/>
          <p:nvPr/>
        </p:nvGrpSpPr>
        <p:grpSpPr>
          <a:xfrm>
            <a:off x="2089897" y="3077186"/>
            <a:ext cx="1696808" cy="1990459"/>
            <a:chOff x="2952750" y="870592"/>
            <a:chExt cx="1928813" cy="2262615"/>
          </a:xfrm>
        </p:grpSpPr>
        <p:pic>
          <p:nvPicPr>
            <p:cNvPr id="21" name="図 20" descr="コンピューターのスクリーンショット&#10;&#10;自動的に生成された説明">
              <a:extLst>
                <a:ext uri="{FF2B5EF4-FFF2-40B4-BE49-F238E27FC236}">
                  <a16:creationId xmlns:a16="http://schemas.microsoft.com/office/drawing/2014/main" id="{A1A96382-B9C4-6747-7033-BEFE1C57F61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563" t="12694" r="9404" b="64530"/>
            <a:stretch/>
          </p:blipFill>
          <p:spPr>
            <a:xfrm>
              <a:off x="2952750" y="870592"/>
              <a:ext cx="1928813" cy="2262615"/>
            </a:xfrm>
            <a:prstGeom prst="rect">
              <a:avLst/>
            </a:prstGeom>
          </p:spPr>
        </p:pic>
        <p:pic>
          <p:nvPicPr>
            <p:cNvPr id="25" name="図 24">
              <a:extLst>
                <a:ext uri="{FF2B5EF4-FFF2-40B4-BE49-F238E27FC236}">
                  <a16:creationId xmlns:a16="http://schemas.microsoft.com/office/drawing/2014/main" id="{9430C702-B46E-82D1-1B11-5F947DE25447}"/>
                </a:ext>
              </a:extLst>
            </p:cNvPr>
            <p:cNvPicPr>
              <a:picLocks noChangeAspect="1"/>
            </p:cNvPicPr>
            <p:nvPr/>
          </p:nvPicPr>
          <p:blipFill>
            <a:blip r:embed="rId7"/>
            <a:stretch>
              <a:fillRect/>
            </a:stretch>
          </p:blipFill>
          <p:spPr>
            <a:xfrm>
              <a:off x="2997994" y="2671277"/>
              <a:ext cx="1883569" cy="461930"/>
            </a:xfrm>
            <a:prstGeom prst="rect">
              <a:avLst/>
            </a:prstGeom>
          </p:spPr>
        </p:pic>
      </p:grpSp>
      <p:pic>
        <p:nvPicPr>
          <p:cNvPr id="56" name="図 55">
            <a:extLst>
              <a:ext uri="{FF2B5EF4-FFF2-40B4-BE49-F238E27FC236}">
                <a16:creationId xmlns:a16="http://schemas.microsoft.com/office/drawing/2014/main" id="{C47FD55C-199E-4C3A-99D3-79BE25E55B7F}"/>
              </a:ext>
            </a:extLst>
          </p:cNvPr>
          <p:cNvPicPr>
            <a:picLocks noChangeAspect="1"/>
          </p:cNvPicPr>
          <p:nvPr/>
        </p:nvPicPr>
        <p:blipFill>
          <a:blip r:embed="rId8"/>
          <a:stretch>
            <a:fillRect/>
          </a:stretch>
        </p:blipFill>
        <p:spPr>
          <a:xfrm>
            <a:off x="3922463" y="3147146"/>
            <a:ext cx="1657006" cy="952057"/>
          </a:xfrm>
          <a:prstGeom prst="rect">
            <a:avLst/>
          </a:prstGeom>
        </p:spPr>
      </p:pic>
      <p:sp>
        <p:nvSpPr>
          <p:cNvPr id="57" name="正方形/長方形 56">
            <a:extLst>
              <a:ext uri="{FF2B5EF4-FFF2-40B4-BE49-F238E27FC236}">
                <a16:creationId xmlns:a16="http://schemas.microsoft.com/office/drawing/2014/main" id="{DB441D2C-2EE3-43B7-B9C5-55A9515E3E82}"/>
              </a:ext>
            </a:extLst>
          </p:cNvPr>
          <p:cNvSpPr/>
          <p:nvPr/>
        </p:nvSpPr>
        <p:spPr>
          <a:xfrm>
            <a:off x="4191808" y="1247726"/>
            <a:ext cx="968281"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ダウンロード</a:t>
            </a:r>
          </a:p>
        </p:txBody>
      </p:sp>
      <p:sp>
        <p:nvSpPr>
          <p:cNvPr id="66" name="正方形/長方形 65">
            <a:extLst>
              <a:ext uri="{FF2B5EF4-FFF2-40B4-BE49-F238E27FC236}">
                <a16:creationId xmlns:a16="http://schemas.microsoft.com/office/drawing/2014/main" id="{A7924C4E-F1A8-1BD8-5995-7B0203E2E640}"/>
              </a:ext>
            </a:extLst>
          </p:cNvPr>
          <p:cNvSpPr/>
          <p:nvPr/>
        </p:nvSpPr>
        <p:spPr>
          <a:xfrm>
            <a:off x="2335747" y="2479152"/>
            <a:ext cx="1450958"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138" name="正方形/長方形 137">
            <a:extLst>
              <a:ext uri="{FF2B5EF4-FFF2-40B4-BE49-F238E27FC236}">
                <a16:creationId xmlns:a16="http://schemas.microsoft.com/office/drawing/2014/main" id="{A32348CF-CE64-076D-7DBE-1C394C812119}"/>
              </a:ext>
            </a:extLst>
          </p:cNvPr>
          <p:cNvSpPr/>
          <p:nvPr/>
        </p:nvSpPr>
        <p:spPr>
          <a:xfrm>
            <a:off x="1828658" y="1534431"/>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A</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139" name="正方形/長方形 138">
            <a:extLst>
              <a:ext uri="{FF2B5EF4-FFF2-40B4-BE49-F238E27FC236}">
                <a16:creationId xmlns:a16="http://schemas.microsoft.com/office/drawing/2014/main" id="{B6CAB764-A032-0B03-836C-89630B4F69F8}"/>
              </a:ext>
            </a:extLst>
          </p:cNvPr>
          <p:cNvSpPr/>
          <p:nvPr/>
        </p:nvSpPr>
        <p:spPr>
          <a:xfrm>
            <a:off x="1828658" y="1670209"/>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140" name="正方形/長方形 139">
            <a:extLst>
              <a:ext uri="{FF2B5EF4-FFF2-40B4-BE49-F238E27FC236}">
                <a16:creationId xmlns:a16="http://schemas.microsoft.com/office/drawing/2014/main" id="{3B87A979-DA04-6A54-BDB9-FEBB9837B56B}"/>
              </a:ext>
            </a:extLst>
          </p:cNvPr>
          <p:cNvSpPr/>
          <p:nvPr/>
        </p:nvSpPr>
        <p:spPr>
          <a:xfrm>
            <a:off x="2055789" y="1689859"/>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B</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141" name="正方形/長方形 140">
            <a:extLst>
              <a:ext uri="{FF2B5EF4-FFF2-40B4-BE49-F238E27FC236}">
                <a16:creationId xmlns:a16="http://schemas.microsoft.com/office/drawing/2014/main" id="{8D8BC8EC-0071-E78D-97ED-1D9AB07F9AC6}"/>
              </a:ext>
            </a:extLst>
          </p:cNvPr>
          <p:cNvSpPr/>
          <p:nvPr/>
        </p:nvSpPr>
        <p:spPr>
          <a:xfrm>
            <a:off x="2055789" y="1825637"/>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pic>
        <p:nvPicPr>
          <p:cNvPr id="35" name="図 34">
            <a:extLst>
              <a:ext uri="{FF2B5EF4-FFF2-40B4-BE49-F238E27FC236}">
                <a16:creationId xmlns:a16="http://schemas.microsoft.com/office/drawing/2014/main" id="{5DAFD684-54F0-6FDE-F24D-40534B2A91B2}"/>
              </a:ext>
            </a:extLst>
          </p:cNvPr>
          <p:cNvPicPr>
            <a:picLocks noChangeAspect="1"/>
          </p:cNvPicPr>
          <p:nvPr/>
        </p:nvPicPr>
        <p:blipFill rotWithShape="1">
          <a:blip r:embed="rId9"/>
          <a:srcRect b="24814"/>
          <a:stretch/>
        </p:blipFill>
        <p:spPr>
          <a:xfrm>
            <a:off x="3922463" y="4144690"/>
            <a:ext cx="1657006" cy="750131"/>
          </a:xfrm>
          <a:prstGeom prst="rect">
            <a:avLst/>
          </a:prstGeom>
        </p:spPr>
      </p:pic>
      <p:sp>
        <p:nvSpPr>
          <p:cNvPr id="142" name="正方形/長方形 141">
            <a:extLst>
              <a:ext uri="{FF2B5EF4-FFF2-40B4-BE49-F238E27FC236}">
                <a16:creationId xmlns:a16="http://schemas.microsoft.com/office/drawing/2014/main" id="{3B398E93-CE79-C54C-AC73-0970C0B566A1}"/>
              </a:ext>
            </a:extLst>
          </p:cNvPr>
          <p:cNvSpPr/>
          <p:nvPr/>
        </p:nvSpPr>
        <p:spPr>
          <a:xfrm>
            <a:off x="2318976" y="1846878"/>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C</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143" name="正方形/長方形 142">
            <a:extLst>
              <a:ext uri="{FF2B5EF4-FFF2-40B4-BE49-F238E27FC236}">
                <a16:creationId xmlns:a16="http://schemas.microsoft.com/office/drawing/2014/main" id="{7FA22247-D2ED-C338-6654-3F464CE313D9}"/>
              </a:ext>
            </a:extLst>
          </p:cNvPr>
          <p:cNvSpPr/>
          <p:nvPr/>
        </p:nvSpPr>
        <p:spPr>
          <a:xfrm>
            <a:off x="2318976" y="1982656"/>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155" name="四角形: 角を丸くする 154">
            <a:extLst>
              <a:ext uri="{FF2B5EF4-FFF2-40B4-BE49-F238E27FC236}">
                <a16:creationId xmlns:a16="http://schemas.microsoft.com/office/drawing/2014/main" id="{AD6C68C5-FB36-A67D-16F2-AE252E362311}"/>
              </a:ext>
            </a:extLst>
          </p:cNvPr>
          <p:cNvSpPr/>
          <p:nvPr/>
        </p:nvSpPr>
        <p:spPr>
          <a:xfrm>
            <a:off x="1774961" y="2693553"/>
            <a:ext cx="4175567" cy="310278"/>
          </a:xfrm>
          <a:prstGeom prst="round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機種ごとにコンテンツが存在し、各機種部門にて制作</a:t>
            </a:r>
            <a:br>
              <a:rPr kumimoji="1" lang="en-US" altLang="ja-JP" sz="900" dirty="0">
                <a:solidFill>
                  <a:schemeClr val="tx1"/>
                </a:solidFill>
                <a:latin typeface="Yu Gothic UI" panose="020B0500000000000000" pitchFamily="50" charset="-128"/>
                <a:ea typeface="Yu Gothic UI" panose="020B0500000000000000" pitchFamily="50" charset="-128"/>
              </a:rPr>
            </a:br>
            <a:r>
              <a:rPr kumimoji="1" lang="en-US" altLang="ja-JP" sz="800" dirty="0">
                <a:solidFill>
                  <a:schemeClr val="tx1"/>
                </a:solidFill>
                <a:latin typeface="Yu Gothic UI" panose="020B0500000000000000" pitchFamily="50" charset="-128"/>
                <a:ea typeface="Yu Gothic UI" panose="020B0500000000000000" pitchFamily="50" charset="-128"/>
              </a:rPr>
              <a:t>※</a:t>
            </a:r>
            <a:r>
              <a:rPr kumimoji="1" lang="ja-JP" altLang="en-US" sz="700" dirty="0">
                <a:solidFill>
                  <a:schemeClr val="tx1"/>
                </a:solidFill>
                <a:latin typeface="Yu Gothic UI" panose="020B0500000000000000" pitchFamily="50" charset="-128"/>
                <a:ea typeface="Yu Gothic UI" panose="020B0500000000000000" pitchFamily="50" charset="-128"/>
              </a:rPr>
              <a:t>機種カテゴリ数も固定ではなく随時増減あり。（年に数回）</a:t>
            </a:r>
            <a:endParaRPr kumimoji="1" lang="en-US" altLang="ja-JP" sz="900" dirty="0">
              <a:solidFill>
                <a:schemeClr val="tx1"/>
              </a:solidFill>
              <a:latin typeface="Yu Gothic UI" panose="020B0500000000000000" pitchFamily="50" charset="-128"/>
              <a:ea typeface="Yu Gothic UI" panose="020B0500000000000000" pitchFamily="50" charset="-128"/>
            </a:endParaRPr>
          </a:p>
        </p:txBody>
      </p:sp>
      <p:sp>
        <p:nvSpPr>
          <p:cNvPr id="40" name="テキスト ボックス 39">
            <a:extLst>
              <a:ext uri="{FF2B5EF4-FFF2-40B4-BE49-F238E27FC236}">
                <a16:creationId xmlns:a16="http://schemas.microsoft.com/office/drawing/2014/main" id="{726C621B-451D-E070-38A5-DDF0C358DA07}"/>
              </a:ext>
            </a:extLst>
          </p:cNvPr>
          <p:cNvSpPr txBox="1"/>
          <p:nvPr/>
        </p:nvSpPr>
        <p:spPr>
          <a:xfrm>
            <a:off x="2153180" y="3069833"/>
            <a:ext cx="722328" cy="172157"/>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none" lIns="0" tIns="0" rIns="0" bIns="0" anchor="ctr">
            <a:noAutofit/>
          </a:bodyP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ハードウェア</a:t>
            </a:r>
          </a:p>
        </p:txBody>
      </p:sp>
      <p:sp>
        <p:nvSpPr>
          <p:cNvPr id="45" name="正方形/長方形 44">
            <a:extLst>
              <a:ext uri="{FF2B5EF4-FFF2-40B4-BE49-F238E27FC236}">
                <a16:creationId xmlns:a16="http://schemas.microsoft.com/office/drawing/2014/main" id="{05A59FA7-BC39-95F3-B55B-87043752C74F}"/>
              </a:ext>
            </a:extLst>
          </p:cNvPr>
          <p:cNvSpPr/>
          <p:nvPr/>
        </p:nvSpPr>
        <p:spPr>
          <a:xfrm>
            <a:off x="1774960" y="5579938"/>
            <a:ext cx="1080854"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A</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46" name="正方形/長方形 45">
            <a:extLst>
              <a:ext uri="{FF2B5EF4-FFF2-40B4-BE49-F238E27FC236}">
                <a16:creationId xmlns:a16="http://schemas.microsoft.com/office/drawing/2014/main" id="{5DAC1D1B-9E8C-12F2-206F-93C1139BB8D7}"/>
              </a:ext>
            </a:extLst>
          </p:cNvPr>
          <p:cNvSpPr/>
          <p:nvPr/>
        </p:nvSpPr>
        <p:spPr>
          <a:xfrm>
            <a:off x="1774960" y="5715716"/>
            <a:ext cx="1080854"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47" name="正方形/長方形 46">
            <a:extLst>
              <a:ext uri="{FF2B5EF4-FFF2-40B4-BE49-F238E27FC236}">
                <a16:creationId xmlns:a16="http://schemas.microsoft.com/office/drawing/2014/main" id="{40E21C80-5F03-DE11-2FD0-F6EED8CF0B89}"/>
              </a:ext>
            </a:extLst>
          </p:cNvPr>
          <p:cNvSpPr/>
          <p:nvPr/>
        </p:nvSpPr>
        <p:spPr>
          <a:xfrm>
            <a:off x="2076693"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部門</a:t>
            </a:r>
          </a:p>
        </p:txBody>
      </p:sp>
      <p:sp>
        <p:nvSpPr>
          <p:cNvPr id="48" name="正方形/長方形 47">
            <a:extLst>
              <a:ext uri="{FF2B5EF4-FFF2-40B4-BE49-F238E27FC236}">
                <a16:creationId xmlns:a16="http://schemas.microsoft.com/office/drawing/2014/main" id="{951B698A-CBD6-9EE4-9F17-F27A56A98931}"/>
              </a:ext>
            </a:extLst>
          </p:cNvPr>
          <p:cNvSpPr/>
          <p:nvPr/>
        </p:nvSpPr>
        <p:spPr>
          <a:xfrm>
            <a:off x="2076693"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49" name="正方形/長方形 48">
            <a:extLst>
              <a:ext uri="{FF2B5EF4-FFF2-40B4-BE49-F238E27FC236}">
                <a16:creationId xmlns:a16="http://schemas.microsoft.com/office/drawing/2014/main" id="{7736DC22-BC6A-B97B-9E28-64FB03A2959F}"/>
              </a:ext>
            </a:extLst>
          </p:cNvPr>
          <p:cNvSpPr/>
          <p:nvPr/>
        </p:nvSpPr>
        <p:spPr>
          <a:xfrm>
            <a:off x="1828381" y="6197597"/>
            <a:ext cx="474307"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50" name="正方形/長方形 49">
            <a:extLst>
              <a:ext uri="{FF2B5EF4-FFF2-40B4-BE49-F238E27FC236}">
                <a16:creationId xmlns:a16="http://schemas.microsoft.com/office/drawing/2014/main" id="{10807DBB-FF99-7201-4555-5B51CD413438}"/>
              </a:ext>
            </a:extLst>
          </p:cNvPr>
          <p:cNvSpPr/>
          <p:nvPr/>
        </p:nvSpPr>
        <p:spPr>
          <a:xfrm>
            <a:off x="2335748" y="6196407"/>
            <a:ext cx="474307"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51" name="正方形/長方形 50">
            <a:extLst>
              <a:ext uri="{FF2B5EF4-FFF2-40B4-BE49-F238E27FC236}">
                <a16:creationId xmlns:a16="http://schemas.microsoft.com/office/drawing/2014/main" id="{7A069D5B-5E11-A129-2DDD-DF6180E17E5F}"/>
              </a:ext>
            </a:extLst>
          </p:cNvPr>
          <p:cNvSpPr/>
          <p:nvPr/>
        </p:nvSpPr>
        <p:spPr>
          <a:xfrm>
            <a:off x="2893475" y="5579938"/>
            <a:ext cx="827228"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B</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52" name="正方形/長方形 51">
            <a:extLst>
              <a:ext uri="{FF2B5EF4-FFF2-40B4-BE49-F238E27FC236}">
                <a16:creationId xmlns:a16="http://schemas.microsoft.com/office/drawing/2014/main" id="{EDA6A570-5B93-8191-D0AA-A996226E25E1}"/>
              </a:ext>
            </a:extLst>
          </p:cNvPr>
          <p:cNvSpPr/>
          <p:nvPr/>
        </p:nvSpPr>
        <p:spPr>
          <a:xfrm>
            <a:off x="2893475" y="5715716"/>
            <a:ext cx="827228"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53" name="正方形/長方形 52">
            <a:extLst>
              <a:ext uri="{FF2B5EF4-FFF2-40B4-BE49-F238E27FC236}">
                <a16:creationId xmlns:a16="http://schemas.microsoft.com/office/drawing/2014/main" id="{CAB31C95-EAD4-D9B0-3565-E0236769E480}"/>
              </a:ext>
            </a:extLst>
          </p:cNvPr>
          <p:cNvSpPr/>
          <p:nvPr/>
        </p:nvSpPr>
        <p:spPr>
          <a:xfrm>
            <a:off x="3068395"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部門</a:t>
            </a:r>
          </a:p>
        </p:txBody>
      </p:sp>
      <p:sp>
        <p:nvSpPr>
          <p:cNvPr id="54" name="正方形/長方形 53">
            <a:extLst>
              <a:ext uri="{FF2B5EF4-FFF2-40B4-BE49-F238E27FC236}">
                <a16:creationId xmlns:a16="http://schemas.microsoft.com/office/drawing/2014/main" id="{F5E6FFA8-30AE-EE78-8192-B70BE657A44A}"/>
              </a:ext>
            </a:extLst>
          </p:cNvPr>
          <p:cNvSpPr/>
          <p:nvPr/>
        </p:nvSpPr>
        <p:spPr>
          <a:xfrm>
            <a:off x="3068395"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55" name="正方形/長方形 54">
            <a:extLst>
              <a:ext uri="{FF2B5EF4-FFF2-40B4-BE49-F238E27FC236}">
                <a16:creationId xmlns:a16="http://schemas.microsoft.com/office/drawing/2014/main" id="{DCBACFB6-48DE-726E-CBB2-E95F0E0E7F41}"/>
              </a:ext>
            </a:extLst>
          </p:cNvPr>
          <p:cNvSpPr/>
          <p:nvPr/>
        </p:nvSpPr>
        <p:spPr>
          <a:xfrm>
            <a:off x="3069937" y="6197597"/>
            <a:ext cx="474307"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64" name="正方形/長方形 63">
            <a:extLst>
              <a:ext uri="{FF2B5EF4-FFF2-40B4-BE49-F238E27FC236}">
                <a16:creationId xmlns:a16="http://schemas.microsoft.com/office/drawing/2014/main" id="{6664D865-86E7-F6EB-80D8-237DA0A9BBBC}"/>
              </a:ext>
            </a:extLst>
          </p:cNvPr>
          <p:cNvSpPr/>
          <p:nvPr/>
        </p:nvSpPr>
        <p:spPr>
          <a:xfrm>
            <a:off x="5460290" y="5893266"/>
            <a:ext cx="635710"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a:t>
            </a:r>
            <a:r>
              <a:rPr kumimoji="1" lang="ja-JP" altLang="en-US" sz="800" dirty="0">
                <a:solidFill>
                  <a:schemeClr val="tx1"/>
                </a:solidFill>
                <a:latin typeface="Yu Gothic UI" panose="020B0500000000000000" pitchFamily="50" charset="-128"/>
                <a:ea typeface="Yu Gothic UI" panose="020B0500000000000000" pitchFamily="50" charset="-128"/>
              </a:rPr>
              <a:t> </a:t>
            </a:r>
            <a:r>
              <a:rPr kumimoji="1" lang="en-US" altLang="ja-JP" sz="800" dirty="0">
                <a:solidFill>
                  <a:schemeClr val="tx1"/>
                </a:solidFill>
                <a:latin typeface="Yu Gothic UI" panose="020B0500000000000000" pitchFamily="50" charset="-128"/>
                <a:ea typeface="Yu Gothic UI" panose="020B0500000000000000" pitchFamily="50" charset="-128"/>
              </a:rPr>
              <a:t>etc.</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65" name="四角形: 角を丸くする 64">
            <a:extLst>
              <a:ext uri="{FF2B5EF4-FFF2-40B4-BE49-F238E27FC236}">
                <a16:creationId xmlns:a16="http://schemas.microsoft.com/office/drawing/2014/main" id="{1E509BD9-6268-19A6-78AF-B5E35244CFC9}"/>
              </a:ext>
            </a:extLst>
          </p:cNvPr>
          <p:cNvSpPr/>
          <p:nvPr/>
        </p:nvSpPr>
        <p:spPr>
          <a:xfrm>
            <a:off x="1774960" y="5165222"/>
            <a:ext cx="8578220" cy="323240"/>
          </a:xfrm>
          <a:prstGeom prst="roundRect">
            <a:avLst/>
          </a:prstGeom>
          <a:solidFill>
            <a:schemeClr val="accent4">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solidFill>
                  <a:schemeClr val="tx1"/>
                </a:solidFill>
                <a:latin typeface="Yu Gothic UI" panose="020B0500000000000000" pitchFamily="50" charset="-128"/>
                <a:ea typeface="Yu Gothic UI" panose="020B0500000000000000" pitchFamily="50" charset="-128"/>
              </a:rPr>
              <a:t>運用体制</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制作・翻訳業務フロー</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更新頻度</a:t>
            </a:r>
            <a:r>
              <a:rPr kumimoji="1" lang="en-US" altLang="ja-JP" sz="1050" dirty="0">
                <a:solidFill>
                  <a:schemeClr val="tx1"/>
                </a:solidFill>
                <a:latin typeface="Yu Gothic UI" panose="020B0500000000000000" pitchFamily="50" charset="-128"/>
                <a:ea typeface="Yu Gothic UI" panose="020B0500000000000000" pitchFamily="50" charset="-128"/>
              </a:rPr>
              <a:t>/</a:t>
            </a:r>
            <a:r>
              <a:rPr kumimoji="1" lang="ja-JP" altLang="en-US" sz="1050" dirty="0">
                <a:solidFill>
                  <a:schemeClr val="tx1"/>
                </a:solidFill>
                <a:latin typeface="Yu Gothic UI" panose="020B0500000000000000" pitchFamily="50" charset="-128"/>
                <a:ea typeface="Yu Gothic UI" panose="020B0500000000000000" pitchFamily="50" charset="-128"/>
              </a:rPr>
              <a:t>予算など、それぞれの部門やコンテンツによって異なる</a:t>
            </a:r>
            <a:endParaRPr kumimoji="1" lang="en-US" altLang="ja-JP" sz="1050" dirty="0">
              <a:solidFill>
                <a:schemeClr val="tx1"/>
              </a:solidFill>
              <a:latin typeface="Yu Gothic UI" panose="020B0500000000000000" pitchFamily="50" charset="-128"/>
              <a:ea typeface="Yu Gothic UI" panose="020B0500000000000000" pitchFamily="50" charset="-128"/>
            </a:endParaRPr>
          </a:p>
        </p:txBody>
      </p:sp>
      <p:sp>
        <p:nvSpPr>
          <p:cNvPr id="41" name="四角形: 角を丸くする 40">
            <a:extLst>
              <a:ext uri="{FF2B5EF4-FFF2-40B4-BE49-F238E27FC236}">
                <a16:creationId xmlns:a16="http://schemas.microsoft.com/office/drawing/2014/main" id="{C6871B7F-E06F-58A8-76CE-05C8F5F90BEA}"/>
              </a:ext>
            </a:extLst>
          </p:cNvPr>
          <p:cNvSpPr/>
          <p:nvPr/>
        </p:nvSpPr>
        <p:spPr>
          <a:xfrm>
            <a:off x="1801264" y="5598502"/>
            <a:ext cx="240794" cy="103019"/>
          </a:xfrm>
          <a:prstGeom prst="roundRect">
            <a:avLst>
              <a:gd name="adj" fmla="val 10503"/>
            </a:avLst>
          </a:prstGeom>
          <a:solidFill>
            <a:schemeClr val="bg1">
              <a:lumMod val="50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名電</a:t>
            </a:r>
          </a:p>
        </p:txBody>
      </p:sp>
      <p:sp>
        <p:nvSpPr>
          <p:cNvPr id="68" name="四角形: 角を丸くする 67">
            <a:extLst>
              <a:ext uri="{FF2B5EF4-FFF2-40B4-BE49-F238E27FC236}">
                <a16:creationId xmlns:a16="http://schemas.microsoft.com/office/drawing/2014/main" id="{964D24DF-34D7-2CD6-5645-BB4AF774E0C0}"/>
              </a:ext>
            </a:extLst>
          </p:cNvPr>
          <p:cNvSpPr/>
          <p:nvPr/>
        </p:nvSpPr>
        <p:spPr>
          <a:xfrm>
            <a:off x="2910029" y="5598502"/>
            <a:ext cx="240794" cy="103019"/>
          </a:xfrm>
          <a:prstGeom prst="roundRect">
            <a:avLst/>
          </a:prstGeom>
          <a:solidFill>
            <a:schemeClr val="bg1">
              <a:lumMod val="50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山電</a:t>
            </a:r>
          </a:p>
        </p:txBody>
      </p:sp>
      <p:sp>
        <p:nvSpPr>
          <p:cNvPr id="75" name="正方形/長方形 74">
            <a:extLst>
              <a:ext uri="{FF2B5EF4-FFF2-40B4-BE49-F238E27FC236}">
                <a16:creationId xmlns:a16="http://schemas.microsoft.com/office/drawing/2014/main" id="{8D67E57E-3AF6-F58D-D98A-F91182DA55C7}"/>
              </a:ext>
            </a:extLst>
          </p:cNvPr>
          <p:cNvSpPr/>
          <p:nvPr/>
        </p:nvSpPr>
        <p:spPr>
          <a:xfrm>
            <a:off x="3758364" y="5579938"/>
            <a:ext cx="827228"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C</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76" name="正方形/長方形 75">
            <a:extLst>
              <a:ext uri="{FF2B5EF4-FFF2-40B4-BE49-F238E27FC236}">
                <a16:creationId xmlns:a16="http://schemas.microsoft.com/office/drawing/2014/main" id="{C9A59680-1699-5763-CD8D-7664878E6268}"/>
              </a:ext>
            </a:extLst>
          </p:cNvPr>
          <p:cNvSpPr/>
          <p:nvPr/>
        </p:nvSpPr>
        <p:spPr>
          <a:xfrm>
            <a:off x="3758364" y="5715716"/>
            <a:ext cx="827228"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77" name="正方形/長方形 76">
            <a:extLst>
              <a:ext uri="{FF2B5EF4-FFF2-40B4-BE49-F238E27FC236}">
                <a16:creationId xmlns:a16="http://schemas.microsoft.com/office/drawing/2014/main" id="{97C26505-EF66-65BD-28BB-F54E254DDD81}"/>
              </a:ext>
            </a:extLst>
          </p:cNvPr>
          <p:cNvSpPr/>
          <p:nvPr/>
        </p:nvSpPr>
        <p:spPr>
          <a:xfrm>
            <a:off x="3933284"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部門</a:t>
            </a:r>
          </a:p>
        </p:txBody>
      </p:sp>
      <p:sp>
        <p:nvSpPr>
          <p:cNvPr id="78" name="正方形/長方形 77">
            <a:extLst>
              <a:ext uri="{FF2B5EF4-FFF2-40B4-BE49-F238E27FC236}">
                <a16:creationId xmlns:a16="http://schemas.microsoft.com/office/drawing/2014/main" id="{45993344-4A39-1BE2-D453-DAE3C830FC0E}"/>
              </a:ext>
            </a:extLst>
          </p:cNvPr>
          <p:cNvSpPr/>
          <p:nvPr/>
        </p:nvSpPr>
        <p:spPr>
          <a:xfrm>
            <a:off x="3933284"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80" name="四角形: 角を丸くする 79">
            <a:extLst>
              <a:ext uri="{FF2B5EF4-FFF2-40B4-BE49-F238E27FC236}">
                <a16:creationId xmlns:a16="http://schemas.microsoft.com/office/drawing/2014/main" id="{C633E7BE-315E-95C1-20C3-9D7E895EA84F}"/>
              </a:ext>
            </a:extLst>
          </p:cNvPr>
          <p:cNvSpPr/>
          <p:nvPr/>
        </p:nvSpPr>
        <p:spPr>
          <a:xfrm>
            <a:off x="3774918" y="5598502"/>
            <a:ext cx="240794" cy="103019"/>
          </a:xfrm>
          <a:prstGeom prst="roundRect">
            <a:avLst/>
          </a:prstGeom>
          <a:solidFill>
            <a:schemeClr val="bg1">
              <a:lumMod val="50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ﾒｶ電</a:t>
            </a:r>
          </a:p>
        </p:txBody>
      </p:sp>
      <p:sp>
        <p:nvSpPr>
          <p:cNvPr id="86" name="正方形/長方形 85">
            <a:extLst>
              <a:ext uri="{FF2B5EF4-FFF2-40B4-BE49-F238E27FC236}">
                <a16:creationId xmlns:a16="http://schemas.microsoft.com/office/drawing/2014/main" id="{31BF7868-9362-0169-37EA-6DEE0E68BDF8}"/>
              </a:ext>
            </a:extLst>
          </p:cNvPr>
          <p:cNvSpPr/>
          <p:nvPr/>
        </p:nvSpPr>
        <p:spPr>
          <a:xfrm>
            <a:off x="10064858" y="1265333"/>
            <a:ext cx="400189"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87" name="正方形/長方形 86">
            <a:extLst>
              <a:ext uri="{FF2B5EF4-FFF2-40B4-BE49-F238E27FC236}">
                <a16:creationId xmlns:a16="http://schemas.microsoft.com/office/drawing/2014/main" id="{E1A8E299-DC23-0CDB-4110-10C689AF1571}"/>
              </a:ext>
            </a:extLst>
          </p:cNvPr>
          <p:cNvSpPr/>
          <p:nvPr/>
        </p:nvSpPr>
        <p:spPr>
          <a:xfrm>
            <a:off x="6553308" y="1576139"/>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700" dirty="0">
                <a:solidFill>
                  <a:schemeClr val="tx1"/>
                </a:solidFill>
                <a:latin typeface="Yu Gothic UI" panose="020B0500000000000000" pitchFamily="50" charset="-128"/>
                <a:ea typeface="Yu Gothic UI" panose="020B0500000000000000" pitchFamily="50" charset="-128"/>
              </a:rPr>
              <a:t>XX</a:t>
            </a:r>
            <a:r>
              <a:rPr kumimoji="1" lang="ja-JP" altLang="en-US" sz="700" dirty="0">
                <a:solidFill>
                  <a:schemeClr val="tx1"/>
                </a:solidFill>
                <a:latin typeface="Yu Gothic UI" panose="020B0500000000000000" pitchFamily="50" charset="-128"/>
                <a:ea typeface="Yu Gothic UI" panose="020B0500000000000000" pitchFamily="50" charset="-128"/>
              </a:rPr>
              <a:t>ソリューション</a:t>
            </a:r>
          </a:p>
        </p:txBody>
      </p:sp>
      <p:sp>
        <p:nvSpPr>
          <p:cNvPr id="90" name="正方形/長方形 89">
            <a:extLst>
              <a:ext uri="{FF2B5EF4-FFF2-40B4-BE49-F238E27FC236}">
                <a16:creationId xmlns:a16="http://schemas.microsoft.com/office/drawing/2014/main" id="{714EF6A3-883E-231A-7274-0058B954D5CD}"/>
              </a:ext>
            </a:extLst>
          </p:cNvPr>
          <p:cNvSpPr/>
          <p:nvPr/>
        </p:nvSpPr>
        <p:spPr>
          <a:xfrm>
            <a:off x="6553308" y="1800620"/>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導入事例</a:t>
            </a:r>
          </a:p>
        </p:txBody>
      </p:sp>
      <p:sp>
        <p:nvSpPr>
          <p:cNvPr id="92" name="正方形/長方形 91">
            <a:extLst>
              <a:ext uri="{FF2B5EF4-FFF2-40B4-BE49-F238E27FC236}">
                <a16:creationId xmlns:a16="http://schemas.microsoft.com/office/drawing/2014/main" id="{6BDE0C08-BFFF-ED29-CA40-2860F571DCDB}"/>
              </a:ext>
            </a:extLst>
          </p:cNvPr>
          <p:cNvSpPr/>
          <p:nvPr/>
        </p:nvSpPr>
        <p:spPr>
          <a:xfrm>
            <a:off x="6552355" y="2030190"/>
            <a:ext cx="723842"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93" name="正方形/長方形 92">
            <a:extLst>
              <a:ext uri="{FF2B5EF4-FFF2-40B4-BE49-F238E27FC236}">
                <a16:creationId xmlns:a16="http://schemas.microsoft.com/office/drawing/2014/main" id="{1169FF65-2DF5-9A8C-620C-FC3C327D0C7F}"/>
              </a:ext>
            </a:extLst>
          </p:cNvPr>
          <p:cNvSpPr/>
          <p:nvPr/>
        </p:nvSpPr>
        <p:spPr>
          <a:xfrm>
            <a:off x="7505379" y="1576139"/>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700" dirty="0">
                <a:solidFill>
                  <a:schemeClr val="tx1"/>
                </a:solidFill>
                <a:latin typeface="Yu Gothic UI" panose="020B0500000000000000" pitchFamily="50" charset="-128"/>
                <a:ea typeface="Yu Gothic UI" panose="020B0500000000000000" pitchFamily="50" charset="-128"/>
              </a:rPr>
              <a:t>輸出該非情報</a:t>
            </a:r>
          </a:p>
        </p:txBody>
      </p:sp>
      <p:sp>
        <p:nvSpPr>
          <p:cNvPr id="94" name="正方形/長方形 93">
            <a:extLst>
              <a:ext uri="{FF2B5EF4-FFF2-40B4-BE49-F238E27FC236}">
                <a16:creationId xmlns:a16="http://schemas.microsoft.com/office/drawing/2014/main" id="{D9EC58F6-E15E-1226-E966-09D47D436248}"/>
              </a:ext>
            </a:extLst>
          </p:cNvPr>
          <p:cNvSpPr/>
          <p:nvPr/>
        </p:nvSpPr>
        <p:spPr>
          <a:xfrm>
            <a:off x="7505379" y="1800620"/>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修理・調査</a:t>
            </a:r>
          </a:p>
        </p:txBody>
      </p:sp>
      <p:sp>
        <p:nvSpPr>
          <p:cNvPr id="96" name="正方形/長方形 95">
            <a:extLst>
              <a:ext uri="{FF2B5EF4-FFF2-40B4-BE49-F238E27FC236}">
                <a16:creationId xmlns:a16="http://schemas.microsoft.com/office/drawing/2014/main" id="{4E8B24F7-E3A6-5C84-3F1A-43AADF29C581}"/>
              </a:ext>
            </a:extLst>
          </p:cNvPr>
          <p:cNvSpPr/>
          <p:nvPr/>
        </p:nvSpPr>
        <p:spPr>
          <a:xfrm>
            <a:off x="7505379" y="2030190"/>
            <a:ext cx="723842"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97" name="正方形/長方形 96">
            <a:extLst>
              <a:ext uri="{FF2B5EF4-FFF2-40B4-BE49-F238E27FC236}">
                <a16:creationId xmlns:a16="http://schemas.microsoft.com/office/drawing/2014/main" id="{BF18BDD2-364B-088B-E665-D7915E3ADB41}"/>
              </a:ext>
            </a:extLst>
          </p:cNvPr>
          <p:cNvSpPr/>
          <p:nvPr/>
        </p:nvSpPr>
        <p:spPr>
          <a:xfrm>
            <a:off x="8496027" y="1576139"/>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600" dirty="0">
                <a:solidFill>
                  <a:schemeClr val="tx1"/>
                </a:solidFill>
                <a:latin typeface="Yu Gothic UI" panose="020B0500000000000000" pitchFamily="50" charset="-128"/>
                <a:ea typeface="Yu Gothic UI" panose="020B0500000000000000" pitchFamily="50" charset="-128"/>
              </a:rPr>
              <a:t>トレーニングスクール</a:t>
            </a:r>
          </a:p>
        </p:txBody>
      </p:sp>
      <p:sp>
        <p:nvSpPr>
          <p:cNvPr id="98" name="正方形/長方形 97">
            <a:extLst>
              <a:ext uri="{FF2B5EF4-FFF2-40B4-BE49-F238E27FC236}">
                <a16:creationId xmlns:a16="http://schemas.microsoft.com/office/drawing/2014/main" id="{71F12FE7-BDC7-235D-8883-3C376E974B39}"/>
              </a:ext>
            </a:extLst>
          </p:cNvPr>
          <p:cNvSpPr/>
          <p:nvPr/>
        </p:nvSpPr>
        <p:spPr>
          <a:xfrm>
            <a:off x="8496027" y="1800620"/>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e-</a:t>
            </a:r>
            <a:r>
              <a:rPr kumimoji="1" lang="ja-JP" altLang="en-US" sz="800" dirty="0">
                <a:solidFill>
                  <a:schemeClr val="tx1"/>
                </a:solidFill>
                <a:latin typeface="Yu Gothic UI" panose="020B0500000000000000" pitchFamily="50" charset="-128"/>
                <a:ea typeface="Yu Gothic UI" panose="020B0500000000000000" pitchFamily="50" charset="-128"/>
              </a:rPr>
              <a:t>ラーニング</a:t>
            </a:r>
          </a:p>
        </p:txBody>
      </p:sp>
      <p:sp>
        <p:nvSpPr>
          <p:cNvPr id="99" name="正方形/長方形 98">
            <a:extLst>
              <a:ext uri="{FF2B5EF4-FFF2-40B4-BE49-F238E27FC236}">
                <a16:creationId xmlns:a16="http://schemas.microsoft.com/office/drawing/2014/main" id="{80506CF6-B4E3-B847-916D-BF004CE02C0B}"/>
              </a:ext>
            </a:extLst>
          </p:cNvPr>
          <p:cNvSpPr/>
          <p:nvPr/>
        </p:nvSpPr>
        <p:spPr>
          <a:xfrm>
            <a:off x="8496027" y="2030190"/>
            <a:ext cx="723842"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cxnSp>
        <p:nvCxnSpPr>
          <p:cNvPr id="101" name="コネクタ: カギ線 100">
            <a:extLst>
              <a:ext uri="{FF2B5EF4-FFF2-40B4-BE49-F238E27FC236}">
                <a16:creationId xmlns:a16="http://schemas.microsoft.com/office/drawing/2014/main" id="{12C2E88D-AB69-9CAB-0889-1C26F5E13E5F}"/>
              </a:ext>
            </a:extLst>
          </p:cNvPr>
          <p:cNvCxnSpPr>
            <a:stCxn id="4" idx="2"/>
            <a:endCxn id="12" idx="0"/>
          </p:cNvCxnSpPr>
          <p:nvPr/>
        </p:nvCxnSpPr>
        <p:spPr>
          <a:xfrm rot="16200000" flipH="1">
            <a:off x="2349901" y="987610"/>
            <a:ext cx="169316" cy="350917"/>
          </a:xfrm>
          <a:prstGeom prst="bentConnector3">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コネクタ: カギ線 101">
            <a:extLst>
              <a:ext uri="{FF2B5EF4-FFF2-40B4-BE49-F238E27FC236}">
                <a16:creationId xmlns:a16="http://schemas.microsoft.com/office/drawing/2014/main" id="{C19851E0-727B-5E6E-29D6-083EC270159E}"/>
              </a:ext>
            </a:extLst>
          </p:cNvPr>
          <p:cNvCxnSpPr>
            <a:cxnSpLocks/>
            <a:stCxn id="4" idx="2"/>
            <a:endCxn id="57" idx="0"/>
          </p:cNvCxnSpPr>
          <p:nvPr/>
        </p:nvCxnSpPr>
        <p:spPr>
          <a:xfrm rot="16200000" flipH="1">
            <a:off x="3382866" y="-45356"/>
            <a:ext cx="169316" cy="2416847"/>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077F48F7-A210-D852-DD01-C4FEB277508E}"/>
              </a:ext>
            </a:extLst>
          </p:cNvPr>
          <p:cNvCxnSpPr>
            <a:cxnSpLocks/>
            <a:stCxn id="4" idx="2"/>
            <a:endCxn id="16" idx="0"/>
          </p:cNvCxnSpPr>
          <p:nvPr/>
        </p:nvCxnSpPr>
        <p:spPr>
          <a:xfrm rot="16200000" flipH="1">
            <a:off x="4410745" y="-1073235"/>
            <a:ext cx="169316" cy="4472605"/>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F99CE157-568C-AB45-A46D-98E08531AA20}"/>
              </a:ext>
            </a:extLst>
          </p:cNvPr>
          <p:cNvCxnSpPr>
            <a:cxnSpLocks/>
            <a:stCxn id="4" idx="2"/>
            <a:endCxn id="83" idx="0"/>
          </p:cNvCxnSpPr>
          <p:nvPr/>
        </p:nvCxnSpPr>
        <p:spPr>
          <a:xfrm rot="16200000" flipH="1">
            <a:off x="4886781" y="-1549270"/>
            <a:ext cx="169316" cy="5424676"/>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A42CA22C-4EEA-75AB-F1B0-20966CF86CE1}"/>
              </a:ext>
            </a:extLst>
          </p:cNvPr>
          <p:cNvCxnSpPr>
            <a:cxnSpLocks/>
            <a:stCxn id="4" idx="2"/>
            <a:endCxn id="134" idx="0"/>
          </p:cNvCxnSpPr>
          <p:nvPr/>
        </p:nvCxnSpPr>
        <p:spPr>
          <a:xfrm rot="16200000" flipH="1">
            <a:off x="5382105" y="-2044594"/>
            <a:ext cx="169316" cy="6415324"/>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 name="コネクタ: カギ線 113">
            <a:extLst>
              <a:ext uri="{FF2B5EF4-FFF2-40B4-BE49-F238E27FC236}">
                <a16:creationId xmlns:a16="http://schemas.microsoft.com/office/drawing/2014/main" id="{A699AF95-4129-EC68-7AC4-7EEA8FD35CD0}"/>
              </a:ext>
            </a:extLst>
          </p:cNvPr>
          <p:cNvCxnSpPr>
            <a:cxnSpLocks/>
            <a:stCxn id="4" idx="2"/>
            <a:endCxn id="9" idx="0"/>
          </p:cNvCxnSpPr>
          <p:nvPr/>
        </p:nvCxnSpPr>
        <p:spPr>
          <a:xfrm rot="16200000" flipH="1">
            <a:off x="5871553" y="-2534043"/>
            <a:ext cx="169316" cy="7394221"/>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7" name="楕円 116">
            <a:extLst>
              <a:ext uri="{FF2B5EF4-FFF2-40B4-BE49-F238E27FC236}">
                <a16:creationId xmlns:a16="http://schemas.microsoft.com/office/drawing/2014/main" id="{CD4C5F81-08A3-B63C-B9CB-CAD10003E75E}"/>
              </a:ext>
            </a:extLst>
          </p:cNvPr>
          <p:cNvSpPr/>
          <p:nvPr/>
        </p:nvSpPr>
        <p:spPr>
          <a:xfrm>
            <a:off x="6340638" y="1287416"/>
            <a:ext cx="123053" cy="123053"/>
          </a:xfrm>
          <a:prstGeom prst="ellipse">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a:solidFill>
                <a:schemeClr val="tx1"/>
              </a:solidFill>
              <a:latin typeface="Yu Gothic UI" panose="020B0500000000000000" pitchFamily="50" charset="-128"/>
              <a:ea typeface="Yu Gothic UI" panose="020B0500000000000000" pitchFamily="50" charset="-128"/>
            </a:endParaRPr>
          </a:p>
        </p:txBody>
      </p:sp>
      <p:sp>
        <p:nvSpPr>
          <p:cNvPr id="118" name="楕円 117">
            <a:extLst>
              <a:ext uri="{FF2B5EF4-FFF2-40B4-BE49-F238E27FC236}">
                <a16:creationId xmlns:a16="http://schemas.microsoft.com/office/drawing/2014/main" id="{03D4CA63-7B9D-D508-1B76-0D5BC314B5E4}"/>
              </a:ext>
            </a:extLst>
          </p:cNvPr>
          <p:cNvSpPr/>
          <p:nvPr/>
        </p:nvSpPr>
        <p:spPr>
          <a:xfrm>
            <a:off x="7309914" y="1287416"/>
            <a:ext cx="123053" cy="123053"/>
          </a:xfrm>
          <a:prstGeom prst="ellipse">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a:solidFill>
                <a:schemeClr val="tx1"/>
              </a:solidFill>
              <a:latin typeface="Yu Gothic UI" panose="020B0500000000000000" pitchFamily="50" charset="-128"/>
              <a:ea typeface="Yu Gothic UI" panose="020B0500000000000000" pitchFamily="50" charset="-128"/>
            </a:endParaRPr>
          </a:p>
        </p:txBody>
      </p:sp>
      <p:sp>
        <p:nvSpPr>
          <p:cNvPr id="119" name="楕円 118">
            <a:extLst>
              <a:ext uri="{FF2B5EF4-FFF2-40B4-BE49-F238E27FC236}">
                <a16:creationId xmlns:a16="http://schemas.microsoft.com/office/drawing/2014/main" id="{4DDB0C5A-177C-C651-7BC7-12D80060D943}"/>
              </a:ext>
            </a:extLst>
          </p:cNvPr>
          <p:cNvSpPr/>
          <p:nvPr/>
        </p:nvSpPr>
        <p:spPr>
          <a:xfrm>
            <a:off x="8279173" y="1287416"/>
            <a:ext cx="123053" cy="123053"/>
          </a:xfrm>
          <a:prstGeom prst="ellipse">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a:solidFill>
                <a:schemeClr val="tx1"/>
              </a:solidFill>
              <a:latin typeface="Yu Gothic UI" panose="020B0500000000000000" pitchFamily="50" charset="-128"/>
              <a:ea typeface="Yu Gothic UI" panose="020B0500000000000000" pitchFamily="50" charset="-128"/>
            </a:endParaRPr>
          </a:p>
        </p:txBody>
      </p:sp>
      <p:cxnSp>
        <p:nvCxnSpPr>
          <p:cNvPr id="120" name="コネクタ: カギ線 119">
            <a:extLst>
              <a:ext uri="{FF2B5EF4-FFF2-40B4-BE49-F238E27FC236}">
                <a16:creationId xmlns:a16="http://schemas.microsoft.com/office/drawing/2014/main" id="{7BA3216F-FEA1-9B81-4242-5807229D4920}"/>
              </a:ext>
            </a:extLst>
          </p:cNvPr>
          <p:cNvCxnSpPr>
            <a:cxnSpLocks/>
            <a:stCxn id="117" idx="4"/>
            <a:endCxn id="87" idx="1"/>
          </p:cNvCxnSpPr>
          <p:nvPr/>
        </p:nvCxnSpPr>
        <p:spPr>
          <a:xfrm rot="16200000" flipH="1">
            <a:off x="6342946" y="1469686"/>
            <a:ext cx="269580" cy="151144"/>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5" name="コネクタ: カギ線 124">
            <a:extLst>
              <a:ext uri="{FF2B5EF4-FFF2-40B4-BE49-F238E27FC236}">
                <a16:creationId xmlns:a16="http://schemas.microsoft.com/office/drawing/2014/main" id="{253ECC05-D049-2D72-46E1-B0A695CE0AB5}"/>
              </a:ext>
            </a:extLst>
          </p:cNvPr>
          <p:cNvCxnSpPr>
            <a:cxnSpLocks/>
            <a:stCxn id="117" idx="4"/>
            <a:endCxn id="90" idx="1"/>
          </p:cNvCxnSpPr>
          <p:nvPr/>
        </p:nvCxnSpPr>
        <p:spPr>
          <a:xfrm rot="16200000" flipH="1">
            <a:off x="6230707" y="1581926"/>
            <a:ext cx="494061" cy="151144"/>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コネクタ: カギ線 127">
            <a:extLst>
              <a:ext uri="{FF2B5EF4-FFF2-40B4-BE49-F238E27FC236}">
                <a16:creationId xmlns:a16="http://schemas.microsoft.com/office/drawing/2014/main" id="{B50BA36B-D33B-4681-F217-71E4BAE9D1FD}"/>
              </a:ext>
            </a:extLst>
          </p:cNvPr>
          <p:cNvCxnSpPr>
            <a:cxnSpLocks/>
            <a:stCxn id="93" idx="1"/>
            <a:endCxn id="118" idx="4"/>
          </p:cNvCxnSpPr>
          <p:nvPr/>
        </p:nvCxnSpPr>
        <p:spPr>
          <a:xfrm rot="10800000">
            <a:off x="7371442" y="1410468"/>
            <a:ext cx="133939" cy="269580"/>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2" name="コネクタ: カギ線 131">
            <a:extLst>
              <a:ext uri="{FF2B5EF4-FFF2-40B4-BE49-F238E27FC236}">
                <a16:creationId xmlns:a16="http://schemas.microsoft.com/office/drawing/2014/main" id="{D37758F2-AD1E-5489-9138-D82421215326}"/>
              </a:ext>
            </a:extLst>
          </p:cNvPr>
          <p:cNvCxnSpPr>
            <a:cxnSpLocks/>
            <a:stCxn id="94" idx="1"/>
            <a:endCxn id="118" idx="4"/>
          </p:cNvCxnSpPr>
          <p:nvPr/>
        </p:nvCxnSpPr>
        <p:spPr>
          <a:xfrm rot="10800000">
            <a:off x="7371442" y="1410470"/>
            <a:ext cx="133939" cy="494061"/>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6" name="コネクタ: カギ線 135">
            <a:extLst>
              <a:ext uri="{FF2B5EF4-FFF2-40B4-BE49-F238E27FC236}">
                <a16:creationId xmlns:a16="http://schemas.microsoft.com/office/drawing/2014/main" id="{48EC8551-9DAC-A04A-7C95-A98993DBA6E4}"/>
              </a:ext>
            </a:extLst>
          </p:cNvPr>
          <p:cNvCxnSpPr>
            <a:cxnSpLocks/>
            <a:stCxn id="117" idx="4"/>
            <a:endCxn id="92" idx="1"/>
          </p:cNvCxnSpPr>
          <p:nvPr/>
        </p:nvCxnSpPr>
        <p:spPr>
          <a:xfrm rot="16200000" flipH="1">
            <a:off x="6115445" y="1697188"/>
            <a:ext cx="723631" cy="150191"/>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8" name="コネクタ: カギ線 147">
            <a:extLst>
              <a:ext uri="{FF2B5EF4-FFF2-40B4-BE49-F238E27FC236}">
                <a16:creationId xmlns:a16="http://schemas.microsoft.com/office/drawing/2014/main" id="{4C55D0B6-B85E-4C47-41F9-D2114F4B69F2}"/>
              </a:ext>
            </a:extLst>
          </p:cNvPr>
          <p:cNvCxnSpPr>
            <a:cxnSpLocks/>
            <a:stCxn id="118" idx="4"/>
            <a:endCxn id="96" idx="1"/>
          </p:cNvCxnSpPr>
          <p:nvPr/>
        </p:nvCxnSpPr>
        <p:spPr>
          <a:xfrm rot="16200000" flipH="1">
            <a:off x="7076595" y="1705314"/>
            <a:ext cx="723631" cy="133939"/>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 name="コネクタ: カギ線 167">
            <a:extLst>
              <a:ext uri="{FF2B5EF4-FFF2-40B4-BE49-F238E27FC236}">
                <a16:creationId xmlns:a16="http://schemas.microsoft.com/office/drawing/2014/main" id="{B9DBD340-8164-1BBC-003D-F0E5AC8E7C67}"/>
              </a:ext>
            </a:extLst>
          </p:cNvPr>
          <p:cNvCxnSpPr>
            <a:cxnSpLocks/>
            <a:stCxn id="4" idx="2"/>
            <a:endCxn id="86" idx="0"/>
          </p:cNvCxnSpPr>
          <p:nvPr/>
        </p:nvCxnSpPr>
        <p:spPr>
          <a:xfrm rot="16200000" flipH="1">
            <a:off x="6168566" y="-2831055"/>
            <a:ext cx="186923" cy="8005851"/>
          </a:xfrm>
          <a:prstGeom prst="bentConnector3">
            <a:avLst>
              <a:gd name="adj1" fmla="val 50000"/>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6" name="楕円 175">
            <a:extLst>
              <a:ext uri="{FF2B5EF4-FFF2-40B4-BE49-F238E27FC236}">
                <a16:creationId xmlns:a16="http://schemas.microsoft.com/office/drawing/2014/main" id="{4E3FDF59-D3CC-9636-29DE-BF4DD017C191}"/>
              </a:ext>
            </a:extLst>
          </p:cNvPr>
          <p:cNvSpPr/>
          <p:nvPr/>
        </p:nvSpPr>
        <p:spPr>
          <a:xfrm>
            <a:off x="9266034" y="1287416"/>
            <a:ext cx="123053" cy="123053"/>
          </a:xfrm>
          <a:prstGeom prst="ellipse">
            <a:avLst/>
          </a:pr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a:solidFill>
                <a:schemeClr val="tx1"/>
              </a:solidFill>
              <a:latin typeface="Yu Gothic UI" panose="020B0500000000000000" pitchFamily="50" charset="-128"/>
              <a:ea typeface="Yu Gothic UI" panose="020B0500000000000000" pitchFamily="50" charset="-128"/>
            </a:endParaRPr>
          </a:p>
        </p:txBody>
      </p:sp>
      <p:cxnSp>
        <p:nvCxnSpPr>
          <p:cNvPr id="177" name="コネクタ: カギ線 176">
            <a:extLst>
              <a:ext uri="{FF2B5EF4-FFF2-40B4-BE49-F238E27FC236}">
                <a16:creationId xmlns:a16="http://schemas.microsoft.com/office/drawing/2014/main" id="{EEECC2D2-C6AA-8FFF-5FE8-8E0286AD33E0}"/>
              </a:ext>
            </a:extLst>
          </p:cNvPr>
          <p:cNvCxnSpPr>
            <a:cxnSpLocks/>
            <a:stCxn id="97" idx="1"/>
            <a:endCxn id="119" idx="4"/>
          </p:cNvCxnSpPr>
          <p:nvPr/>
        </p:nvCxnSpPr>
        <p:spPr>
          <a:xfrm rot="10800000">
            <a:off x="8340699" y="1410468"/>
            <a:ext cx="155328" cy="269580"/>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0" name="コネクタ: カギ線 179">
            <a:extLst>
              <a:ext uri="{FF2B5EF4-FFF2-40B4-BE49-F238E27FC236}">
                <a16:creationId xmlns:a16="http://schemas.microsoft.com/office/drawing/2014/main" id="{A29DA1D7-17AB-3F7B-FB57-47A90753A80C}"/>
              </a:ext>
            </a:extLst>
          </p:cNvPr>
          <p:cNvCxnSpPr>
            <a:cxnSpLocks/>
            <a:stCxn id="98" idx="1"/>
            <a:endCxn id="119" idx="4"/>
          </p:cNvCxnSpPr>
          <p:nvPr/>
        </p:nvCxnSpPr>
        <p:spPr>
          <a:xfrm rot="10800000">
            <a:off x="8340699" y="1410470"/>
            <a:ext cx="155328" cy="494061"/>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3" name="コネクタ: カギ線 182">
            <a:extLst>
              <a:ext uri="{FF2B5EF4-FFF2-40B4-BE49-F238E27FC236}">
                <a16:creationId xmlns:a16="http://schemas.microsoft.com/office/drawing/2014/main" id="{DEE54DBD-8A62-1DB1-A267-AA36EE49E177}"/>
              </a:ext>
            </a:extLst>
          </p:cNvPr>
          <p:cNvCxnSpPr>
            <a:cxnSpLocks/>
            <a:stCxn id="99" idx="1"/>
            <a:endCxn id="119" idx="4"/>
          </p:cNvCxnSpPr>
          <p:nvPr/>
        </p:nvCxnSpPr>
        <p:spPr>
          <a:xfrm rot="10800000">
            <a:off x="8340699" y="1410470"/>
            <a:ext cx="155328" cy="723631"/>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6" name="テキスト ボックス 185">
            <a:extLst>
              <a:ext uri="{FF2B5EF4-FFF2-40B4-BE49-F238E27FC236}">
                <a16:creationId xmlns:a16="http://schemas.microsoft.com/office/drawing/2014/main" id="{0DD2557B-A27B-E0EA-25C3-647EF524A414}"/>
              </a:ext>
            </a:extLst>
          </p:cNvPr>
          <p:cNvSpPr txBox="1"/>
          <p:nvPr/>
        </p:nvSpPr>
        <p:spPr>
          <a:xfrm>
            <a:off x="3230048" y="5006823"/>
            <a:ext cx="2779517" cy="119300"/>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anchor="ctr">
            <a:noAutofit/>
          </a:bodyPr>
          <a:lstStyle/>
          <a:p>
            <a:pPr algn="ctr"/>
            <a:r>
              <a:rPr kumimoji="1" lang="ja-JP" altLang="en-US" sz="700" dirty="0">
                <a:solidFill>
                  <a:schemeClr val="tx1"/>
                </a:solidFill>
                <a:latin typeface="Yu Gothic UI" panose="020B0500000000000000" pitchFamily="50" charset="-128"/>
                <a:ea typeface="Yu Gothic UI" panose="020B0500000000000000" pitchFamily="50" charset="-128"/>
              </a:rPr>
              <a:t>参考：</a:t>
            </a:r>
            <a:r>
              <a:rPr kumimoji="1" lang="en-US" altLang="ja-JP" sz="700" dirty="0">
                <a:solidFill>
                  <a:schemeClr val="tx1"/>
                </a:solidFill>
                <a:latin typeface="Yu Gothic UI" panose="020B0500000000000000" pitchFamily="50" charset="-128"/>
                <a:ea typeface="Yu Gothic UI" panose="020B0500000000000000" pitchFamily="50" charset="-128"/>
              </a:rPr>
              <a:t>https://www.mitsubishielectric.co.jp/fa/products/index.html</a:t>
            </a:r>
            <a:endParaRPr kumimoji="1" lang="ja-JP" altLang="en-US" sz="700" dirty="0">
              <a:solidFill>
                <a:schemeClr val="tx1"/>
              </a:solidFill>
              <a:latin typeface="Yu Gothic UI" panose="020B0500000000000000" pitchFamily="50" charset="-128"/>
              <a:ea typeface="Yu Gothic UI" panose="020B0500000000000000" pitchFamily="50" charset="-128"/>
            </a:endParaRPr>
          </a:p>
        </p:txBody>
      </p:sp>
      <p:sp>
        <p:nvSpPr>
          <p:cNvPr id="187" name="テキスト ボックス 186">
            <a:extLst>
              <a:ext uri="{FF2B5EF4-FFF2-40B4-BE49-F238E27FC236}">
                <a16:creationId xmlns:a16="http://schemas.microsoft.com/office/drawing/2014/main" id="{A8769BC1-A9CC-03C3-431A-C3F84F05C349}"/>
              </a:ext>
            </a:extLst>
          </p:cNvPr>
          <p:cNvSpPr txBox="1"/>
          <p:nvPr/>
        </p:nvSpPr>
        <p:spPr>
          <a:xfrm>
            <a:off x="3929442" y="3102799"/>
            <a:ext cx="722328" cy="172157"/>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none" lIns="0" tIns="0" rIns="0" bIns="0" anchor="ctr">
            <a:noAutofit/>
          </a:bodyP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ネットワーク</a:t>
            </a:r>
          </a:p>
        </p:txBody>
      </p:sp>
      <p:sp>
        <p:nvSpPr>
          <p:cNvPr id="188" name="テキスト ボックス 187">
            <a:extLst>
              <a:ext uri="{FF2B5EF4-FFF2-40B4-BE49-F238E27FC236}">
                <a16:creationId xmlns:a16="http://schemas.microsoft.com/office/drawing/2014/main" id="{B7FB4F78-790B-ACC5-B8C0-425ADBE58A8A}"/>
              </a:ext>
            </a:extLst>
          </p:cNvPr>
          <p:cNvSpPr txBox="1"/>
          <p:nvPr/>
        </p:nvSpPr>
        <p:spPr>
          <a:xfrm>
            <a:off x="3937583" y="4120115"/>
            <a:ext cx="722328" cy="172157"/>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none" lIns="0" tIns="0" rIns="0" bIns="0" anchor="ctr">
            <a:noAutofit/>
          </a:bodyPr>
          <a:lstStyle/>
          <a:p>
            <a:pPr algn="ctr"/>
            <a:r>
              <a:rPr kumimoji="1" lang="ja-JP" altLang="en-US" sz="700" dirty="0">
                <a:solidFill>
                  <a:schemeClr val="bg1"/>
                </a:solidFill>
                <a:latin typeface="Yu Gothic UI" panose="020B0500000000000000" pitchFamily="50" charset="-128"/>
                <a:ea typeface="Yu Gothic UI" panose="020B0500000000000000" pitchFamily="50" charset="-128"/>
              </a:rPr>
              <a:t>ソフトウェア</a:t>
            </a:r>
          </a:p>
        </p:txBody>
      </p:sp>
      <p:sp>
        <p:nvSpPr>
          <p:cNvPr id="189" name="四角形: 角を丸くする 188">
            <a:extLst>
              <a:ext uri="{FF2B5EF4-FFF2-40B4-BE49-F238E27FC236}">
                <a16:creationId xmlns:a16="http://schemas.microsoft.com/office/drawing/2014/main" id="{8C3174D3-4DF5-033E-B0CC-4AE3DCA2A6DA}"/>
              </a:ext>
            </a:extLst>
          </p:cNvPr>
          <p:cNvSpPr/>
          <p:nvPr/>
        </p:nvSpPr>
        <p:spPr>
          <a:xfrm>
            <a:off x="6241474" y="2693553"/>
            <a:ext cx="4111706" cy="310278"/>
          </a:xfrm>
          <a:prstGeom prst="round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他のコンテンツも様々な部門が制作にかかわっている</a:t>
            </a:r>
            <a:endParaRPr kumimoji="1" lang="en-US" altLang="ja-JP" sz="900" dirty="0">
              <a:solidFill>
                <a:schemeClr val="tx1"/>
              </a:solidFill>
              <a:latin typeface="Yu Gothic UI" panose="020B0500000000000000" pitchFamily="50" charset="-128"/>
              <a:ea typeface="Yu Gothic UI" panose="020B0500000000000000" pitchFamily="50" charset="-128"/>
            </a:endParaRPr>
          </a:p>
        </p:txBody>
      </p:sp>
      <p:sp>
        <p:nvSpPr>
          <p:cNvPr id="203" name="正方形/長方形 202">
            <a:extLst>
              <a:ext uri="{FF2B5EF4-FFF2-40B4-BE49-F238E27FC236}">
                <a16:creationId xmlns:a16="http://schemas.microsoft.com/office/drawing/2014/main" id="{3F90E68F-A9FA-3987-61CD-EF173F36C482}"/>
              </a:ext>
            </a:extLst>
          </p:cNvPr>
          <p:cNvSpPr/>
          <p:nvPr/>
        </p:nvSpPr>
        <p:spPr>
          <a:xfrm>
            <a:off x="9474924" y="1576139"/>
            <a:ext cx="601234"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700" dirty="0">
                <a:solidFill>
                  <a:schemeClr val="tx1"/>
                </a:solidFill>
                <a:latin typeface="Yu Gothic UI" panose="020B0500000000000000" pitchFamily="50" charset="-128"/>
                <a:ea typeface="Yu Gothic UI" panose="020B0500000000000000" pitchFamily="50" charset="-128"/>
              </a:rPr>
              <a:t>ホワイトペーパー</a:t>
            </a:r>
          </a:p>
        </p:txBody>
      </p:sp>
      <p:sp>
        <p:nvSpPr>
          <p:cNvPr id="205" name="正方形/長方形 204">
            <a:extLst>
              <a:ext uri="{FF2B5EF4-FFF2-40B4-BE49-F238E27FC236}">
                <a16:creationId xmlns:a16="http://schemas.microsoft.com/office/drawing/2014/main" id="{CF417C51-A79B-EC6A-3B2A-67E85B30E00A}"/>
              </a:ext>
            </a:extLst>
          </p:cNvPr>
          <p:cNvSpPr/>
          <p:nvPr/>
        </p:nvSpPr>
        <p:spPr>
          <a:xfrm>
            <a:off x="9474924" y="2030190"/>
            <a:ext cx="723842"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cxnSp>
        <p:nvCxnSpPr>
          <p:cNvPr id="206" name="コネクタ: カギ線 205">
            <a:extLst>
              <a:ext uri="{FF2B5EF4-FFF2-40B4-BE49-F238E27FC236}">
                <a16:creationId xmlns:a16="http://schemas.microsoft.com/office/drawing/2014/main" id="{85FCD6B1-CECE-9432-87B5-F82DA987652B}"/>
              </a:ext>
            </a:extLst>
          </p:cNvPr>
          <p:cNvCxnSpPr>
            <a:cxnSpLocks/>
            <a:stCxn id="203" idx="1"/>
            <a:endCxn id="176" idx="4"/>
          </p:cNvCxnSpPr>
          <p:nvPr/>
        </p:nvCxnSpPr>
        <p:spPr>
          <a:xfrm rot="10800000">
            <a:off x="9327560" y="1410468"/>
            <a:ext cx="147364" cy="269580"/>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2" name="コネクタ: カギ線 211">
            <a:extLst>
              <a:ext uri="{FF2B5EF4-FFF2-40B4-BE49-F238E27FC236}">
                <a16:creationId xmlns:a16="http://schemas.microsoft.com/office/drawing/2014/main" id="{EC3CC3AD-0326-F565-90CB-B0308B09B027}"/>
              </a:ext>
            </a:extLst>
          </p:cNvPr>
          <p:cNvCxnSpPr>
            <a:cxnSpLocks/>
            <a:stCxn id="205" idx="1"/>
            <a:endCxn id="176" idx="4"/>
          </p:cNvCxnSpPr>
          <p:nvPr/>
        </p:nvCxnSpPr>
        <p:spPr>
          <a:xfrm rot="10800000">
            <a:off x="9327560" y="1410470"/>
            <a:ext cx="147364" cy="723631"/>
          </a:xfrm>
          <a:prstGeom prst="bentConnector2">
            <a:avLst/>
          </a:prstGeom>
          <a:ln w="31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4" name="正方形/長方形 223">
            <a:extLst>
              <a:ext uri="{FF2B5EF4-FFF2-40B4-BE49-F238E27FC236}">
                <a16:creationId xmlns:a16="http://schemas.microsoft.com/office/drawing/2014/main" id="{C4219CBA-C229-4064-F704-EEFB69E9A694}"/>
              </a:ext>
            </a:extLst>
          </p:cNvPr>
          <p:cNvSpPr/>
          <p:nvPr/>
        </p:nvSpPr>
        <p:spPr>
          <a:xfrm>
            <a:off x="2990292" y="1826550"/>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27" name="正方形/長方形 226">
            <a:extLst>
              <a:ext uri="{FF2B5EF4-FFF2-40B4-BE49-F238E27FC236}">
                <a16:creationId xmlns:a16="http://schemas.microsoft.com/office/drawing/2014/main" id="{CA82BA22-94F3-88E0-BE5A-D50C9782B199}"/>
              </a:ext>
            </a:extLst>
          </p:cNvPr>
          <p:cNvSpPr/>
          <p:nvPr/>
        </p:nvSpPr>
        <p:spPr>
          <a:xfrm>
            <a:off x="3141808" y="1856339"/>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F</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28" name="正方形/長方形 227">
            <a:extLst>
              <a:ext uri="{FF2B5EF4-FFF2-40B4-BE49-F238E27FC236}">
                <a16:creationId xmlns:a16="http://schemas.microsoft.com/office/drawing/2014/main" id="{EBE21458-C7C0-089A-F5EF-73FB52F1259E}"/>
              </a:ext>
            </a:extLst>
          </p:cNvPr>
          <p:cNvSpPr/>
          <p:nvPr/>
        </p:nvSpPr>
        <p:spPr>
          <a:xfrm>
            <a:off x="3141808" y="1992117"/>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一覧</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特長</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製品仕様</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生産終了品</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29" name="正方形/長方形 228">
            <a:extLst>
              <a:ext uri="{FF2B5EF4-FFF2-40B4-BE49-F238E27FC236}">
                <a16:creationId xmlns:a16="http://schemas.microsoft.com/office/drawing/2014/main" id="{9311280D-722C-AD55-10C5-C12A61F3B52D}"/>
              </a:ext>
            </a:extLst>
          </p:cNvPr>
          <p:cNvSpPr/>
          <p:nvPr/>
        </p:nvSpPr>
        <p:spPr>
          <a:xfrm>
            <a:off x="4623253" y="5579938"/>
            <a:ext cx="827228"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D</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30" name="正方形/長方形 229">
            <a:extLst>
              <a:ext uri="{FF2B5EF4-FFF2-40B4-BE49-F238E27FC236}">
                <a16:creationId xmlns:a16="http://schemas.microsoft.com/office/drawing/2014/main" id="{B5B5E562-45D2-46F5-18DE-3F1D92C316A2}"/>
              </a:ext>
            </a:extLst>
          </p:cNvPr>
          <p:cNvSpPr/>
          <p:nvPr/>
        </p:nvSpPr>
        <p:spPr>
          <a:xfrm>
            <a:off x="4623253" y="5715716"/>
            <a:ext cx="827228"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231" name="正方形/長方形 230">
            <a:extLst>
              <a:ext uri="{FF2B5EF4-FFF2-40B4-BE49-F238E27FC236}">
                <a16:creationId xmlns:a16="http://schemas.microsoft.com/office/drawing/2014/main" id="{850E9FE9-932E-A9A8-185F-8C2015B567A9}"/>
              </a:ext>
            </a:extLst>
          </p:cNvPr>
          <p:cNvSpPr/>
          <p:nvPr/>
        </p:nvSpPr>
        <p:spPr>
          <a:xfrm>
            <a:off x="4798173"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部門</a:t>
            </a:r>
          </a:p>
        </p:txBody>
      </p:sp>
      <p:sp>
        <p:nvSpPr>
          <p:cNvPr id="232" name="正方形/長方形 231">
            <a:extLst>
              <a:ext uri="{FF2B5EF4-FFF2-40B4-BE49-F238E27FC236}">
                <a16:creationId xmlns:a16="http://schemas.microsoft.com/office/drawing/2014/main" id="{2B2B974A-F21C-080E-66E9-7E92ECAF8063}"/>
              </a:ext>
            </a:extLst>
          </p:cNvPr>
          <p:cNvSpPr/>
          <p:nvPr/>
        </p:nvSpPr>
        <p:spPr>
          <a:xfrm>
            <a:off x="4798173"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設計部門</a:t>
            </a:r>
          </a:p>
        </p:txBody>
      </p:sp>
      <p:sp>
        <p:nvSpPr>
          <p:cNvPr id="233" name="四角形: 角を丸くする 232">
            <a:extLst>
              <a:ext uri="{FF2B5EF4-FFF2-40B4-BE49-F238E27FC236}">
                <a16:creationId xmlns:a16="http://schemas.microsoft.com/office/drawing/2014/main" id="{1BBCD3E7-EA63-AE5E-1998-8ACCEBA9EEAE}"/>
              </a:ext>
            </a:extLst>
          </p:cNvPr>
          <p:cNvSpPr/>
          <p:nvPr/>
        </p:nvSpPr>
        <p:spPr>
          <a:xfrm>
            <a:off x="4639807" y="5598502"/>
            <a:ext cx="240794" cy="103019"/>
          </a:xfrm>
          <a:prstGeom prst="roundRect">
            <a:avLst/>
          </a:prstGeom>
          <a:solidFill>
            <a:schemeClr val="bg1">
              <a:lumMod val="50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r>
              <a:rPr kumimoji="1" lang="ja-JP" altLang="en-US" sz="600" dirty="0">
                <a:solidFill>
                  <a:schemeClr val="bg1"/>
                </a:solidFill>
                <a:latin typeface="Yu Gothic UI" panose="020B0500000000000000" pitchFamily="50" charset="-128"/>
                <a:ea typeface="Yu Gothic UI" panose="020B0500000000000000" pitchFamily="50" charset="-128"/>
              </a:rPr>
              <a:t>他場所</a:t>
            </a:r>
          </a:p>
        </p:txBody>
      </p:sp>
      <p:sp>
        <p:nvSpPr>
          <p:cNvPr id="234" name="正方形/長方形 233">
            <a:extLst>
              <a:ext uri="{FF2B5EF4-FFF2-40B4-BE49-F238E27FC236}">
                <a16:creationId xmlns:a16="http://schemas.microsoft.com/office/drawing/2014/main" id="{2ED1FD33-70EF-BC57-72CD-36D9FB3F4092}"/>
              </a:ext>
            </a:extLst>
          </p:cNvPr>
          <p:cNvSpPr/>
          <p:nvPr/>
        </p:nvSpPr>
        <p:spPr>
          <a:xfrm>
            <a:off x="6241474" y="5579938"/>
            <a:ext cx="827228"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XX</a:t>
            </a:r>
            <a:r>
              <a:rPr kumimoji="1" lang="ja-JP" altLang="en-US" sz="800" dirty="0">
                <a:solidFill>
                  <a:schemeClr val="tx1"/>
                </a:solidFill>
                <a:latin typeface="Yu Gothic UI" panose="020B0500000000000000" pitchFamily="50" charset="-128"/>
                <a:ea typeface="Yu Gothic UI" panose="020B0500000000000000" pitchFamily="50" charset="-128"/>
              </a:rPr>
              <a:t>ソリューション</a:t>
            </a:r>
          </a:p>
        </p:txBody>
      </p:sp>
      <p:sp>
        <p:nvSpPr>
          <p:cNvPr id="235" name="正方形/長方形 234">
            <a:extLst>
              <a:ext uri="{FF2B5EF4-FFF2-40B4-BE49-F238E27FC236}">
                <a16:creationId xmlns:a16="http://schemas.microsoft.com/office/drawing/2014/main" id="{E6B41B23-5E51-A328-F5C7-9F414F4205B2}"/>
              </a:ext>
            </a:extLst>
          </p:cNvPr>
          <p:cNvSpPr/>
          <p:nvPr/>
        </p:nvSpPr>
        <p:spPr>
          <a:xfrm>
            <a:off x="6241474" y="5715716"/>
            <a:ext cx="827228"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236" name="正方形/長方形 235">
            <a:extLst>
              <a:ext uri="{FF2B5EF4-FFF2-40B4-BE49-F238E27FC236}">
                <a16:creationId xmlns:a16="http://schemas.microsoft.com/office/drawing/2014/main" id="{42501D52-C1F0-BBC1-87F5-EBCDBC301CF4}"/>
              </a:ext>
            </a:extLst>
          </p:cNvPr>
          <p:cNvSpPr/>
          <p:nvPr/>
        </p:nvSpPr>
        <p:spPr>
          <a:xfrm>
            <a:off x="6416394"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部門</a:t>
            </a:r>
          </a:p>
        </p:txBody>
      </p:sp>
      <p:sp>
        <p:nvSpPr>
          <p:cNvPr id="237" name="正方形/長方形 236">
            <a:extLst>
              <a:ext uri="{FF2B5EF4-FFF2-40B4-BE49-F238E27FC236}">
                <a16:creationId xmlns:a16="http://schemas.microsoft.com/office/drawing/2014/main" id="{C0C5FB7D-1854-99C5-5D18-3FDE55B1BA31}"/>
              </a:ext>
            </a:extLst>
          </p:cNvPr>
          <p:cNvSpPr/>
          <p:nvPr/>
        </p:nvSpPr>
        <p:spPr>
          <a:xfrm>
            <a:off x="6416394"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238" name="正方形/長方形 237">
            <a:extLst>
              <a:ext uri="{FF2B5EF4-FFF2-40B4-BE49-F238E27FC236}">
                <a16:creationId xmlns:a16="http://schemas.microsoft.com/office/drawing/2014/main" id="{0315156C-0A59-B74F-6445-D666EFCFCC98}"/>
              </a:ext>
            </a:extLst>
          </p:cNvPr>
          <p:cNvSpPr/>
          <p:nvPr/>
        </p:nvSpPr>
        <p:spPr>
          <a:xfrm>
            <a:off x="6416394" y="6167052"/>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239" name="正方形/長方形 238">
            <a:extLst>
              <a:ext uri="{FF2B5EF4-FFF2-40B4-BE49-F238E27FC236}">
                <a16:creationId xmlns:a16="http://schemas.microsoft.com/office/drawing/2014/main" id="{740FB988-E26E-C261-7844-8BBECF58226C}"/>
              </a:ext>
            </a:extLst>
          </p:cNvPr>
          <p:cNvSpPr/>
          <p:nvPr/>
        </p:nvSpPr>
        <p:spPr>
          <a:xfrm>
            <a:off x="7109409" y="5579938"/>
            <a:ext cx="790947"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輸出該非情報</a:t>
            </a:r>
          </a:p>
        </p:txBody>
      </p:sp>
      <p:sp>
        <p:nvSpPr>
          <p:cNvPr id="240" name="正方形/長方形 239">
            <a:extLst>
              <a:ext uri="{FF2B5EF4-FFF2-40B4-BE49-F238E27FC236}">
                <a16:creationId xmlns:a16="http://schemas.microsoft.com/office/drawing/2014/main" id="{6213EB83-CC78-A8A0-80CB-1EE456B7DA0A}"/>
              </a:ext>
            </a:extLst>
          </p:cNvPr>
          <p:cNvSpPr/>
          <p:nvPr/>
        </p:nvSpPr>
        <p:spPr>
          <a:xfrm>
            <a:off x="7109409" y="5715716"/>
            <a:ext cx="790947"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241" name="正方形/長方形 240">
            <a:extLst>
              <a:ext uri="{FF2B5EF4-FFF2-40B4-BE49-F238E27FC236}">
                <a16:creationId xmlns:a16="http://schemas.microsoft.com/office/drawing/2014/main" id="{7D5454FC-9A0F-9A73-96B6-6C883CE3B105}"/>
              </a:ext>
            </a:extLst>
          </p:cNvPr>
          <p:cNvSpPr/>
          <p:nvPr/>
        </p:nvSpPr>
        <p:spPr>
          <a:xfrm>
            <a:off x="7266187"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輸管部門</a:t>
            </a:r>
          </a:p>
        </p:txBody>
      </p:sp>
      <p:sp>
        <p:nvSpPr>
          <p:cNvPr id="242" name="正方形/長方形 241">
            <a:extLst>
              <a:ext uri="{FF2B5EF4-FFF2-40B4-BE49-F238E27FC236}">
                <a16:creationId xmlns:a16="http://schemas.microsoft.com/office/drawing/2014/main" id="{47622871-FE7B-A582-DD8D-BA104F309D4E}"/>
              </a:ext>
            </a:extLst>
          </p:cNvPr>
          <p:cNvSpPr/>
          <p:nvPr/>
        </p:nvSpPr>
        <p:spPr>
          <a:xfrm>
            <a:off x="7266187"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DMG</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44" name="正方形/長方形 243">
            <a:extLst>
              <a:ext uri="{FF2B5EF4-FFF2-40B4-BE49-F238E27FC236}">
                <a16:creationId xmlns:a16="http://schemas.microsoft.com/office/drawing/2014/main" id="{06222825-733C-71A8-C3D0-73477DFBCFB9}"/>
              </a:ext>
            </a:extLst>
          </p:cNvPr>
          <p:cNvSpPr/>
          <p:nvPr/>
        </p:nvSpPr>
        <p:spPr>
          <a:xfrm>
            <a:off x="7938299" y="5579938"/>
            <a:ext cx="790947"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e-</a:t>
            </a:r>
            <a:r>
              <a:rPr kumimoji="1" lang="ja-JP" altLang="en-US" sz="800" dirty="0">
                <a:solidFill>
                  <a:schemeClr val="tx1"/>
                </a:solidFill>
                <a:latin typeface="Yu Gothic UI" panose="020B0500000000000000" pitchFamily="50" charset="-128"/>
                <a:ea typeface="Yu Gothic UI" panose="020B0500000000000000" pitchFamily="50" charset="-128"/>
              </a:rPr>
              <a:t>ラーニング</a:t>
            </a:r>
          </a:p>
        </p:txBody>
      </p:sp>
      <p:sp>
        <p:nvSpPr>
          <p:cNvPr id="245" name="正方形/長方形 244">
            <a:extLst>
              <a:ext uri="{FF2B5EF4-FFF2-40B4-BE49-F238E27FC236}">
                <a16:creationId xmlns:a16="http://schemas.microsoft.com/office/drawing/2014/main" id="{A159C399-BF77-EF4F-742A-7B9FE973CCB2}"/>
              </a:ext>
            </a:extLst>
          </p:cNvPr>
          <p:cNvSpPr/>
          <p:nvPr/>
        </p:nvSpPr>
        <p:spPr>
          <a:xfrm>
            <a:off x="7938299" y="5715716"/>
            <a:ext cx="790947"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246" name="正方形/長方形 245">
            <a:extLst>
              <a:ext uri="{FF2B5EF4-FFF2-40B4-BE49-F238E27FC236}">
                <a16:creationId xmlns:a16="http://schemas.microsoft.com/office/drawing/2014/main" id="{5FA05410-4DCB-00CF-F79B-00FA0D0ADA7E}"/>
              </a:ext>
            </a:extLst>
          </p:cNvPr>
          <p:cNvSpPr/>
          <p:nvPr/>
        </p:nvSpPr>
        <p:spPr>
          <a:xfrm>
            <a:off x="8095077"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技教</a:t>
            </a:r>
            <a:r>
              <a:rPr kumimoji="1" lang="en-US" altLang="ja-JP" sz="800" dirty="0">
                <a:solidFill>
                  <a:schemeClr val="tx1"/>
                </a:solidFill>
                <a:latin typeface="Yu Gothic UI" panose="020B0500000000000000" pitchFamily="50" charset="-128"/>
                <a:ea typeface="Yu Gothic UI" panose="020B0500000000000000" pitchFamily="50" charset="-128"/>
              </a:rPr>
              <a:t>G</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47" name="正方形/長方形 246">
            <a:extLst>
              <a:ext uri="{FF2B5EF4-FFF2-40B4-BE49-F238E27FC236}">
                <a16:creationId xmlns:a16="http://schemas.microsoft.com/office/drawing/2014/main" id="{E60F5592-F836-8A0F-F5BF-A5CD5E692668}"/>
              </a:ext>
            </a:extLst>
          </p:cNvPr>
          <p:cNvSpPr/>
          <p:nvPr/>
        </p:nvSpPr>
        <p:spPr>
          <a:xfrm>
            <a:off x="8095077"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開発会社</a:t>
            </a:r>
          </a:p>
        </p:txBody>
      </p:sp>
      <p:sp>
        <p:nvSpPr>
          <p:cNvPr id="271" name="正方形/長方形 270">
            <a:extLst>
              <a:ext uri="{FF2B5EF4-FFF2-40B4-BE49-F238E27FC236}">
                <a16:creationId xmlns:a16="http://schemas.microsoft.com/office/drawing/2014/main" id="{7B994CB1-77C0-4C16-3662-B25CE82F3BAA}"/>
              </a:ext>
            </a:extLst>
          </p:cNvPr>
          <p:cNvSpPr/>
          <p:nvPr/>
        </p:nvSpPr>
        <p:spPr>
          <a:xfrm>
            <a:off x="4869974" y="1672205"/>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72" name="正方形/長方形 271">
            <a:extLst>
              <a:ext uri="{FF2B5EF4-FFF2-40B4-BE49-F238E27FC236}">
                <a16:creationId xmlns:a16="http://schemas.microsoft.com/office/drawing/2014/main" id="{7188CC88-C0AF-71E6-E036-5798F0957B06}"/>
              </a:ext>
            </a:extLst>
          </p:cNvPr>
          <p:cNvSpPr/>
          <p:nvPr/>
        </p:nvSpPr>
        <p:spPr>
          <a:xfrm>
            <a:off x="5131950" y="1690772"/>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E</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73" name="正方形/長方形 272">
            <a:extLst>
              <a:ext uri="{FF2B5EF4-FFF2-40B4-BE49-F238E27FC236}">
                <a16:creationId xmlns:a16="http://schemas.microsoft.com/office/drawing/2014/main" id="{E2E17F03-8053-D284-2EF2-D8440F8721BF}"/>
              </a:ext>
            </a:extLst>
          </p:cNvPr>
          <p:cNvSpPr/>
          <p:nvPr/>
        </p:nvSpPr>
        <p:spPr>
          <a:xfrm>
            <a:off x="4869974" y="1536427"/>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D</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74" name="正方形/長方形 273">
            <a:extLst>
              <a:ext uri="{FF2B5EF4-FFF2-40B4-BE49-F238E27FC236}">
                <a16:creationId xmlns:a16="http://schemas.microsoft.com/office/drawing/2014/main" id="{012D1D56-0303-BC52-907B-B0EC8474DA9B}"/>
              </a:ext>
            </a:extLst>
          </p:cNvPr>
          <p:cNvSpPr/>
          <p:nvPr/>
        </p:nvSpPr>
        <p:spPr>
          <a:xfrm>
            <a:off x="4477404" y="2479152"/>
            <a:ext cx="1450959"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0" bIns="0" rtlCol="0" anchor="ct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275" name="正方形/長方形 274">
            <a:extLst>
              <a:ext uri="{FF2B5EF4-FFF2-40B4-BE49-F238E27FC236}">
                <a16:creationId xmlns:a16="http://schemas.microsoft.com/office/drawing/2014/main" id="{3901034F-7CF7-FDBC-459F-5DA537D27B16}"/>
              </a:ext>
            </a:extLst>
          </p:cNvPr>
          <p:cNvSpPr/>
          <p:nvPr/>
        </p:nvSpPr>
        <p:spPr>
          <a:xfrm>
            <a:off x="3970316" y="1534431"/>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A</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76" name="正方形/長方形 275">
            <a:extLst>
              <a:ext uri="{FF2B5EF4-FFF2-40B4-BE49-F238E27FC236}">
                <a16:creationId xmlns:a16="http://schemas.microsoft.com/office/drawing/2014/main" id="{6C9E4C45-C5F3-B271-B7B2-FD98E3773554}"/>
              </a:ext>
            </a:extLst>
          </p:cNvPr>
          <p:cNvSpPr/>
          <p:nvPr/>
        </p:nvSpPr>
        <p:spPr>
          <a:xfrm>
            <a:off x="3970316" y="1670209"/>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77" name="正方形/長方形 276">
            <a:extLst>
              <a:ext uri="{FF2B5EF4-FFF2-40B4-BE49-F238E27FC236}">
                <a16:creationId xmlns:a16="http://schemas.microsoft.com/office/drawing/2014/main" id="{27D3E911-7534-E874-F600-06A0B2CDC2BF}"/>
              </a:ext>
            </a:extLst>
          </p:cNvPr>
          <p:cNvSpPr/>
          <p:nvPr/>
        </p:nvSpPr>
        <p:spPr>
          <a:xfrm>
            <a:off x="4197447" y="1689859"/>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B</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78" name="正方形/長方形 277">
            <a:extLst>
              <a:ext uri="{FF2B5EF4-FFF2-40B4-BE49-F238E27FC236}">
                <a16:creationId xmlns:a16="http://schemas.microsoft.com/office/drawing/2014/main" id="{DF57DADC-0DB2-5BE1-DF23-4637CC577749}"/>
              </a:ext>
            </a:extLst>
          </p:cNvPr>
          <p:cNvSpPr/>
          <p:nvPr/>
        </p:nvSpPr>
        <p:spPr>
          <a:xfrm>
            <a:off x="4197447" y="1825637"/>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79" name="正方形/長方形 278">
            <a:extLst>
              <a:ext uri="{FF2B5EF4-FFF2-40B4-BE49-F238E27FC236}">
                <a16:creationId xmlns:a16="http://schemas.microsoft.com/office/drawing/2014/main" id="{4AFBC3FF-E357-4CDF-4E68-4DD4578187F6}"/>
              </a:ext>
            </a:extLst>
          </p:cNvPr>
          <p:cNvSpPr/>
          <p:nvPr/>
        </p:nvSpPr>
        <p:spPr>
          <a:xfrm>
            <a:off x="4460634" y="1846878"/>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C</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80" name="正方形/長方形 279">
            <a:extLst>
              <a:ext uri="{FF2B5EF4-FFF2-40B4-BE49-F238E27FC236}">
                <a16:creationId xmlns:a16="http://schemas.microsoft.com/office/drawing/2014/main" id="{FA216B68-1206-4ABF-20DE-5661CD477194}"/>
              </a:ext>
            </a:extLst>
          </p:cNvPr>
          <p:cNvSpPr/>
          <p:nvPr/>
        </p:nvSpPr>
        <p:spPr>
          <a:xfrm>
            <a:off x="4460634" y="1982656"/>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81" name="正方形/長方形 280">
            <a:extLst>
              <a:ext uri="{FF2B5EF4-FFF2-40B4-BE49-F238E27FC236}">
                <a16:creationId xmlns:a16="http://schemas.microsoft.com/office/drawing/2014/main" id="{2F184CD6-15BB-AAC0-9AC4-BBE9571797F1}"/>
              </a:ext>
            </a:extLst>
          </p:cNvPr>
          <p:cNvSpPr/>
          <p:nvPr/>
        </p:nvSpPr>
        <p:spPr>
          <a:xfrm>
            <a:off x="5131950" y="1826550"/>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82" name="正方形/長方形 281">
            <a:extLst>
              <a:ext uri="{FF2B5EF4-FFF2-40B4-BE49-F238E27FC236}">
                <a16:creationId xmlns:a16="http://schemas.microsoft.com/office/drawing/2014/main" id="{B73509ED-1536-9E7F-8412-4DAFEF998E12}"/>
              </a:ext>
            </a:extLst>
          </p:cNvPr>
          <p:cNvSpPr/>
          <p:nvPr/>
        </p:nvSpPr>
        <p:spPr>
          <a:xfrm>
            <a:off x="5283466" y="1856339"/>
            <a:ext cx="649490"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機種</a:t>
            </a:r>
            <a:r>
              <a:rPr kumimoji="1" lang="en-US" altLang="ja-JP" sz="800" dirty="0">
                <a:solidFill>
                  <a:schemeClr val="tx1"/>
                </a:solidFill>
                <a:latin typeface="Yu Gothic UI" panose="020B0500000000000000" pitchFamily="50" charset="-128"/>
                <a:ea typeface="Yu Gothic UI" panose="020B0500000000000000" pitchFamily="50" charset="-128"/>
              </a:rPr>
              <a:t>F</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83" name="正方形/長方形 282">
            <a:extLst>
              <a:ext uri="{FF2B5EF4-FFF2-40B4-BE49-F238E27FC236}">
                <a16:creationId xmlns:a16="http://schemas.microsoft.com/office/drawing/2014/main" id="{22CA15EB-3795-901B-FF91-4E77F020C707}"/>
              </a:ext>
            </a:extLst>
          </p:cNvPr>
          <p:cNvSpPr/>
          <p:nvPr/>
        </p:nvSpPr>
        <p:spPr>
          <a:xfrm>
            <a:off x="5283466" y="1992117"/>
            <a:ext cx="649490" cy="501236"/>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0" bIns="0" rtlCol="0" anchor="ctr"/>
          <a:lstStyle/>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カタログ</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マニュアル</a:t>
            </a:r>
            <a:endParaRPr kumimoji="1" lang="en-US" altLang="ja-JP" sz="700" dirty="0">
              <a:solidFill>
                <a:schemeClr val="tx1"/>
              </a:solidFill>
              <a:latin typeface="Yu Gothic UI" panose="020B0500000000000000" pitchFamily="50" charset="-128"/>
              <a:ea typeface="Yu Gothic UI" panose="020B0500000000000000" pitchFamily="50" charset="-128"/>
            </a:endParaRP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外形図</a:t>
            </a:r>
            <a:r>
              <a:rPr kumimoji="1" lang="en-US" altLang="ja-JP" sz="700" dirty="0">
                <a:solidFill>
                  <a:schemeClr val="tx1"/>
                </a:solidFill>
                <a:latin typeface="Yu Gothic UI" panose="020B0500000000000000" pitchFamily="50" charset="-128"/>
                <a:ea typeface="Yu Gothic UI" panose="020B0500000000000000" pitchFamily="50" charset="-128"/>
              </a:rPr>
              <a:t>/CAD</a:t>
            </a:r>
          </a:p>
          <a:p>
            <a:pPr>
              <a:lnSpc>
                <a:spcPct val="80000"/>
              </a:lnSpc>
              <a:buFont typeface="Arial" panose="020B0604020202020204" pitchFamily="34" charset="0"/>
              <a:buChar char="•"/>
            </a:pPr>
            <a:r>
              <a:rPr kumimoji="1" lang="ja-JP" altLang="en-US" sz="700" dirty="0">
                <a:solidFill>
                  <a:schemeClr val="tx1"/>
                </a:solidFill>
                <a:latin typeface="Yu Gothic UI" panose="020B0500000000000000" pitchFamily="50" charset="-128"/>
                <a:ea typeface="Yu Gothic UI" panose="020B0500000000000000" pitchFamily="50" charset="-128"/>
              </a:rPr>
              <a:t>ソフトウェア</a:t>
            </a:r>
            <a:br>
              <a:rPr kumimoji="1" lang="en-US" altLang="ja-JP" sz="700" dirty="0">
                <a:solidFill>
                  <a:schemeClr val="tx1"/>
                </a:solidFill>
                <a:latin typeface="Yu Gothic UI" panose="020B0500000000000000" pitchFamily="50" charset="-128"/>
                <a:ea typeface="Yu Gothic UI" panose="020B0500000000000000" pitchFamily="50" charset="-128"/>
              </a:rPr>
            </a:br>
            <a:r>
              <a:rPr kumimoji="1" lang="en-US" altLang="ja-JP" sz="700" dirty="0">
                <a:solidFill>
                  <a:schemeClr val="tx1"/>
                </a:solidFill>
                <a:latin typeface="Yu Gothic UI" panose="020B0500000000000000" pitchFamily="50" charset="-128"/>
                <a:ea typeface="Yu Gothic UI" panose="020B0500000000000000" pitchFamily="50" charset="-128"/>
              </a:rPr>
              <a:t>…</a:t>
            </a:r>
          </a:p>
        </p:txBody>
      </p:sp>
      <p:sp>
        <p:nvSpPr>
          <p:cNvPr id="292" name="正方形/長方形 291">
            <a:extLst>
              <a:ext uri="{FF2B5EF4-FFF2-40B4-BE49-F238E27FC236}">
                <a16:creationId xmlns:a16="http://schemas.microsoft.com/office/drawing/2014/main" id="{AAB47AFE-9147-B314-AB50-7875FAA63EEE}"/>
              </a:ext>
            </a:extLst>
          </p:cNvPr>
          <p:cNvSpPr/>
          <p:nvPr/>
        </p:nvSpPr>
        <p:spPr>
          <a:xfrm>
            <a:off x="8767189" y="5579938"/>
            <a:ext cx="790947" cy="140149"/>
          </a:xfrm>
          <a:prstGeom prst="rect">
            <a:avLst/>
          </a:prstGeom>
          <a:solidFill>
            <a:schemeClr val="bg1">
              <a:lumMod val="95000"/>
            </a:schemeClr>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デジマ</a:t>
            </a:r>
            <a:r>
              <a:rPr kumimoji="1" lang="en-US" altLang="ja-JP" sz="800" dirty="0">
                <a:solidFill>
                  <a:schemeClr val="tx1"/>
                </a:solidFill>
                <a:latin typeface="Yu Gothic UI" panose="020B0500000000000000" pitchFamily="50" charset="-128"/>
                <a:ea typeface="Yu Gothic UI" panose="020B0500000000000000" pitchFamily="50" charset="-128"/>
              </a:rPr>
              <a:t>LP</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93" name="正方形/長方形 292">
            <a:extLst>
              <a:ext uri="{FF2B5EF4-FFF2-40B4-BE49-F238E27FC236}">
                <a16:creationId xmlns:a16="http://schemas.microsoft.com/office/drawing/2014/main" id="{B54B03D4-90E7-B785-888C-175A9E7D6177}"/>
              </a:ext>
            </a:extLst>
          </p:cNvPr>
          <p:cNvSpPr/>
          <p:nvPr/>
        </p:nvSpPr>
        <p:spPr>
          <a:xfrm>
            <a:off x="8767189" y="5715716"/>
            <a:ext cx="790947" cy="671944"/>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0" bIns="0" rtlCol="0" anchor="ctr"/>
          <a:lstStyle/>
          <a:p>
            <a:endParaRPr kumimoji="1" lang="en-US" altLang="ja-JP" sz="800" dirty="0">
              <a:solidFill>
                <a:schemeClr val="tx1"/>
              </a:solidFill>
              <a:latin typeface="Yu Gothic UI" panose="020B0500000000000000" pitchFamily="50" charset="-128"/>
              <a:ea typeface="Yu Gothic UI" panose="020B0500000000000000" pitchFamily="50" charset="-128"/>
            </a:endParaRPr>
          </a:p>
        </p:txBody>
      </p:sp>
      <p:sp>
        <p:nvSpPr>
          <p:cNvPr id="294" name="正方形/長方形 293">
            <a:extLst>
              <a:ext uri="{FF2B5EF4-FFF2-40B4-BE49-F238E27FC236}">
                <a16:creationId xmlns:a16="http://schemas.microsoft.com/office/drawing/2014/main" id="{C9E3510C-1021-99B8-2D74-E3C4E69CDD24}"/>
              </a:ext>
            </a:extLst>
          </p:cNvPr>
          <p:cNvSpPr/>
          <p:nvPr/>
        </p:nvSpPr>
        <p:spPr>
          <a:xfrm>
            <a:off x="8923967" y="576295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800" dirty="0">
                <a:solidFill>
                  <a:schemeClr val="tx1"/>
                </a:solidFill>
                <a:latin typeface="Yu Gothic UI" panose="020B0500000000000000" pitchFamily="50" charset="-128"/>
                <a:ea typeface="Yu Gothic UI" panose="020B0500000000000000" pitchFamily="50" charset="-128"/>
              </a:rPr>
              <a:t>制作会社</a:t>
            </a:r>
          </a:p>
        </p:txBody>
      </p:sp>
      <p:sp>
        <p:nvSpPr>
          <p:cNvPr id="295" name="正方形/長方形 294">
            <a:extLst>
              <a:ext uri="{FF2B5EF4-FFF2-40B4-BE49-F238E27FC236}">
                <a16:creationId xmlns:a16="http://schemas.microsoft.com/office/drawing/2014/main" id="{3F882B77-64BB-BDAF-36EF-3A6681A2AC49}"/>
              </a:ext>
            </a:extLst>
          </p:cNvPr>
          <p:cNvSpPr/>
          <p:nvPr/>
        </p:nvSpPr>
        <p:spPr>
          <a:xfrm>
            <a:off x="8923967" y="5973928"/>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DMG</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96" name="正方形/長方形 295">
            <a:extLst>
              <a:ext uri="{FF2B5EF4-FFF2-40B4-BE49-F238E27FC236}">
                <a16:creationId xmlns:a16="http://schemas.microsoft.com/office/drawing/2014/main" id="{F7AACC1B-35D5-63DE-0DF1-A14479ECCFF6}"/>
              </a:ext>
            </a:extLst>
          </p:cNvPr>
          <p:cNvSpPr/>
          <p:nvPr/>
        </p:nvSpPr>
        <p:spPr>
          <a:xfrm>
            <a:off x="8923967" y="6167052"/>
            <a:ext cx="477388" cy="163047"/>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a:t>
            </a:r>
            <a:r>
              <a:rPr kumimoji="1" lang="ja-JP" altLang="en-US" sz="800" dirty="0">
                <a:solidFill>
                  <a:schemeClr val="tx1"/>
                </a:solidFill>
                <a:latin typeface="Yu Gothic UI" panose="020B0500000000000000" pitchFamily="50" charset="-128"/>
                <a:ea typeface="Yu Gothic UI" panose="020B0500000000000000" pitchFamily="50" charset="-128"/>
              </a:rPr>
              <a:t>機種部門</a:t>
            </a:r>
            <a:r>
              <a:rPr kumimoji="1" lang="en-US" altLang="ja-JP" sz="800" dirty="0">
                <a:solidFill>
                  <a:schemeClr val="tx1"/>
                </a:solidFill>
                <a:latin typeface="Yu Gothic UI" panose="020B0500000000000000" pitchFamily="50" charset="-128"/>
                <a:ea typeface="Yu Gothic UI" panose="020B0500000000000000" pitchFamily="50" charset="-128"/>
              </a:rPr>
              <a:t>)</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sp>
        <p:nvSpPr>
          <p:cNvPr id="297" name="正方形/長方形 296">
            <a:extLst>
              <a:ext uri="{FF2B5EF4-FFF2-40B4-BE49-F238E27FC236}">
                <a16:creationId xmlns:a16="http://schemas.microsoft.com/office/drawing/2014/main" id="{C3DEE1FC-502C-E939-DC31-BB6775D3D9A4}"/>
              </a:ext>
            </a:extLst>
          </p:cNvPr>
          <p:cNvSpPr/>
          <p:nvPr/>
        </p:nvSpPr>
        <p:spPr>
          <a:xfrm>
            <a:off x="9580556" y="5893266"/>
            <a:ext cx="484301" cy="207818"/>
          </a:xfrm>
          <a:prstGeom prst="rect">
            <a:avLst/>
          </a:prstGeom>
          <a:no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kumimoji="1" lang="en-US" altLang="ja-JP" sz="800" dirty="0">
                <a:solidFill>
                  <a:schemeClr val="tx1"/>
                </a:solidFill>
                <a:latin typeface="Yu Gothic UI" panose="020B0500000000000000" pitchFamily="50" charset="-128"/>
                <a:ea typeface="Yu Gothic UI" panose="020B0500000000000000" pitchFamily="50" charset="-128"/>
              </a:rPr>
              <a:t>…</a:t>
            </a:r>
            <a:r>
              <a:rPr kumimoji="1" lang="ja-JP" altLang="en-US" sz="800" dirty="0">
                <a:solidFill>
                  <a:schemeClr val="tx1"/>
                </a:solidFill>
                <a:latin typeface="Yu Gothic UI" panose="020B0500000000000000" pitchFamily="50" charset="-128"/>
                <a:ea typeface="Yu Gothic UI" panose="020B0500000000000000" pitchFamily="50" charset="-128"/>
              </a:rPr>
              <a:t> </a:t>
            </a:r>
            <a:r>
              <a:rPr kumimoji="1" lang="en-US" altLang="ja-JP" sz="800" dirty="0">
                <a:solidFill>
                  <a:schemeClr val="tx1"/>
                </a:solidFill>
                <a:latin typeface="Yu Gothic UI" panose="020B0500000000000000" pitchFamily="50" charset="-128"/>
                <a:ea typeface="Yu Gothic UI" panose="020B0500000000000000" pitchFamily="50" charset="-128"/>
              </a:rPr>
              <a:t>etc.</a:t>
            </a:r>
            <a:endParaRPr kumimoji="1" lang="ja-JP" altLang="en-US" sz="800" dirty="0">
              <a:solidFill>
                <a:schemeClr val="tx1"/>
              </a:solidFill>
              <a:latin typeface="Yu Gothic UI" panose="020B0500000000000000" pitchFamily="50" charset="-128"/>
              <a:ea typeface="Yu Gothic UI" panose="020B0500000000000000" pitchFamily="50" charset="-128"/>
            </a:endParaRPr>
          </a:p>
        </p:txBody>
      </p:sp>
      <p:pic>
        <p:nvPicPr>
          <p:cNvPr id="301" name="図 300" descr="グラフィカル ユーザー インターフェイス, アプリケーション&#10;&#10;自動的に生成された説明">
            <a:extLst>
              <a:ext uri="{FF2B5EF4-FFF2-40B4-BE49-F238E27FC236}">
                <a16:creationId xmlns:a16="http://schemas.microsoft.com/office/drawing/2014/main" id="{C20D6746-6A99-AD2B-02A7-585CF33EB8A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938299" y="3181198"/>
            <a:ext cx="1126017" cy="1504372"/>
          </a:xfrm>
          <a:prstGeom prst="rect">
            <a:avLst/>
          </a:prstGeom>
        </p:spPr>
      </p:pic>
      <p:pic>
        <p:nvPicPr>
          <p:cNvPr id="303" name="図 302" descr="グラフィカル ユーザー インターフェイス, アプリケーション, Web サイト&#10;&#10;自動的に生成された説明">
            <a:extLst>
              <a:ext uri="{FF2B5EF4-FFF2-40B4-BE49-F238E27FC236}">
                <a16:creationId xmlns:a16="http://schemas.microsoft.com/office/drawing/2014/main" id="{8E3428AD-77F0-AF14-C773-776E8629A1E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955676" y="3602016"/>
            <a:ext cx="1182758" cy="1263750"/>
          </a:xfrm>
          <a:prstGeom prst="rect">
            <a:avLst/>
          </a:prstGeom>
        </p:spPr>
      </p:pic>
      <p:pic>
        <p:nvPicPr>
          <p:cNvPr id="305" name="図 304" descr="グラフィカル ユーザー インターフェイス&#10;&#10;自動的に生成された説明">
            <a:extLst>
              <a:ext uri="{FF2B5EF4-FFF2-40B4-BE49-F238E27FC236}">
                <a16:creationId xmlns:a16="http://schemas.microsoft.com/office/drawing/2014/main" id="{7FE5FAD5-3863-70FF-6DA2-39958C79E0C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32322"/>
          <a:stretch/>
        </p:blipFill>
        <p:spPr>
          <a:xfrm>
            <a:off x="6284318" y="3144799"/>
            <a:ext cx="917057" cy="1526763"/>
          </a:xfrm>
          <a:prstGeom prst="rect">
            <a:avLst/>
          </a:prstGeom>
        </p:spPr>
      </p:pic>
      <p:pic>
        <p:nvPicPr>
          <p:cNvPr id="299" name="図 298" descr="グラフィカル ユーザー インターフェイス, アプリケーション&#10;&#10;自動的に生成された説明">
            <a:extLst>
              <a:ext uri="{FF2B5EF4-FFF2-40B4-BE49-F238E27FC236}">
                <a16:creationId xmlns:a16="http://schemas.microsoft.com/office/drawing/2014/main" id="{8BB6AEF7-6692-039F-4BE6-C39B3B1FD890}"/>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30912"/>
          <a:stretch/>
        </p:blipFill>
        <p:spPr>
          <a:xfrm>
            <a:off x="8700421" y="3329097"/>
            <a:ext cx="1038897" cy="1631185"/>
          </a:xfrm>
          <a:prstGeom prst="rect">
            <a:avLst/>
          </a:prstGeom>
        </p:spPr>
      </p:pic>
      <p:sp>
        <p:nvSpPr>
          <p:cNvPr id="16" name="正方形/長方形 15">
            <a:extLst>
              <a:ext uri="{FF2B5EF4-FFF2-40B4-BE49-F238E27FC236}">
                <a16:creationId xmlns:a16="http://schemas.microsoft.com/office/drawing/2014/main" id="{9566890F-176D-CE3B-63B4-0F9A5C8FA7A8}"/>
              </a:ext>
            </a:extLst>
          </p:cNvPr>
          <p:cNvSpPr/>
          <p:nvPr/>
        </p:nvSpPr>
        <p:spPr>
          <a:xfrm>
            <a:off x="6308870" y="1247726"/>
            <a:ext cx="845673"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ソリューション</a:t>
            </a:r>
          </a:p>
        </p:txBody>
      </p:sp>
      <p:sp>
        <p:nvSpPr>
          <p:cNvPr id="83" name="正方形/長方形 82">
            <a:extLst>
              <a:ext uri="{FF2B5EF4-FFF2-40B4-BE49-F238E27FC236}">
                <a16:creationId xmlns:a16="http://schemas.microsoft.com/office/drawing/2014/main" id="{4258BF55-72BF-2D1D-3208-7D0632C122EA}"/>
              </a:ext>
            </a:extLst>
          </p:cNvPr>
          <p:cNvSpPr/>
          <p:nvPr/>
        </p:nvSpPr>
        <p:spPr>
          <a:xfrm>
            <a:off x="7260941" y="1247726"/>
            <a:ext cx="845673"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サービス・サポート</a:t>
            </a:r>
          </a:p>
        </p:txBody>
      </p:sp>
      <p:sp>
        <p:nvSpPr>
          <p:cNvPr id="134" name="正方形/長方形 133">
            <a:extLst>
              <a:ext uri="{FF2B5EF4-FFF2-40B4-BE49-F238E27FC236}">
                <a16:creationId xmlns:a16="http://schemas.microsoft.com/office/drawing/2014/main" id="{ADC8E89E-DC71-EACE-C4C2-12F6BB862EB1}"/>
              </a:ext>
            </a:extLst>
          </p:cNvPr>
          <p:cNvSpPr/>
          <p:nvPr/>
        </p:nvSpPr>
        <p:spPr>
          <a:xfrm>
            <a:off x="8251589" y="1247726"/>
            <a:ext cx="845673"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イベント・セミナー</a:t>
            </a:r>
          </a:p>
        </p:txBody>
      </p:sp>
      <p:sp>
        <p:nvSpPr>
          <p:cNvPr id="9" name="正方形/長方形 8">
            <a:extLst>
              <a:ext uri="{FF2B5EF4-FFF2-40B4-BE49-F238E27FC236}">
                <a16:creationId xmlns:a16="http://schemas.microsoft.com/office/drawing/2014/main" id="{713F7A99-C9EC-BE8A-FFD9-8A4C45F03E9D}"/>
              </a:ext>
            </a:extLst>
          </p:cNvPr>
          <p:cNvSpPr/>
          <p:nvPr/>
        </p:nvSpPr>
        <p:spPr>
          <a:xfrm>
            <a:off x="9230486" y="1247726"/>
            <a:ext cx="845673" cy="207818"/>
          </a:xfrm>
          <a:prstGeom prst="rect">
            <a:avLst/>
          </a:prstGeom>
          <a:solidFill>
            <a:schemeClr val="bg1"/>
          </a:solidFill>
          <a:ln w="3175"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デジマ</a:t>
            </a:r>
            <a:r>
              <a:rPr kumimoji="1" lang="en-US" altLang="ja-JP" sz="900" dirty="0">
                <a:solidFill>
                  <a:schemeClr val="tx1"/>
                </a:solidFill>
                <a:latin typeface="Yu Gothic UI" panose="020B0500000000000000" pitchFamily="50" charset="-128"/>
                <a:ea typeface="Yu Gothic UI" panose="020B0500000000000000" pitchFamily="50" charset="-128"/>
              </a:rPr>
              <a:t>LP</a:t>
            </a:r>
            <a:endParaRPr kumimoji="1" lang="ja-JP" altLang="en-US" sz="900" dirty="0">
              <a:solidFill>
                <a:schemeClr val="tx1"/>
              </a:solidFill>
              <a:latin typeface="Yu Gothic UI" panose="020B0500000000000000" pitchFamily="50" charset="-128"/>
              <a:ea typeface="Yu Gothic UI" panose="020B0500000000000000" pitchFamily="50" charset="-128"/>
            </a:endParaRPr>
          </a:p>
        </p:txBody>
      </p:sp>
      <p:sp>
        <p:nvSpPr>
          <p:cNvPr id="2" name="タイトル 1">
            <a:extLst>
              <a:ext uri="{FF2B5EF4-FFF2-40B4-BE49-F238E27FC236}">
                <a16:creationId xmlns:a16="http://schemas.microsoft.com/office/drawing/2014/main" id="{9FAC79A4-8B56-8A82-A70E-D13A4E3266A5}"/>
              </a:ext>
            </a:extLst>
          </p:cNvPr>
          <p:cNvSpPr>
            <a:spLocks noGrp="1"/>
          </p:cNvSpPr>
          <p:nvPr>
            <p:ph type="title"/>
          </p:nvPr>
        </p:nvSpPr>
        <p:spPr/>
        <p:txBody>
          <a:bodyPr>
            <a:normAutofit/>
          </a:bodyPr>
          <a:lstStyle/>
          <a:p>
            <a:pPr algn="ct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2-2.</a:t>
            </a: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プロジェクトスコープ</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 &gt;</a:t>
            </a:r>
            <a:br>
              <a:rPr kumimoji="1" lang="en-US" altLang="ja-JP" sz="1600" b="1" i="0" u="none" strike="noStrike" kern="1200" cap="none" spc="300" normalizeH="0" baseline="0" noProof="0" dirty="0">
                <a:ln>
                  <a:noFill/>
                </a:ln>
                <a:solidFill>
                  <a:srgbClr val="000000"/>
                </a:solidFill>
                <a:effectLst/>
                <a:uLnTx/>
                <a:uFillTx/>
                <a:latin typeface="+mn-ea"/>
                <a:ea typeface="+mn-ea"/>
                <a:cs typeface="+mj-cs"/>
              </a:rPr>
            </a:b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ビジネススコープ</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FA</a:t>
            </a:r>
            <a:r>
              <a:rPr kumimoji="1" lang="ja-JP" altLang="en-US" sz="1600" b="1" i="0" u="none" strike="noStrike" kern="1200" cap="none" spc="300" normalizeH="0" baseline="0" noProof="0" dirty="0">
                <a:ln>
                  <a:noFill/>
                </a:ln>
                <a:solidFill>
                  <a:srgbClr val="000000"/>
                </a:solidFill>
                <a:effectLst/>
                <a:uLnTx/>
                <a:uFillTx/>
                <a:latin typeface="+mn-ea"/>
                <a:ea typeface="+mn-ea"/>
                <a:cs typeface="+mj-cs"/>
              </a:rPr>
              <a:t>サイト概況</a:t>
            </a:r>
            <a:r>
              <a:rPr kumimoji="1" lang="en-US" altLang="ja-JP" sz="1600" b="1" i="0" u="none" strike="noStrike" kern="1200" cap="none" spc="300" normalizeH="0" baseline="0" noProof="0" dirty="0">
                <a:ln>
                  <a:noFill/>
                </a:ln>
                <a:solidFill>
                  <a:srgbClr val="000000"/>
                </a:solidFill>
                <a:effectLst/>
                <a:uLnTx/>
                <a:uFillTx/>
                <a:latin typeface="+mn-ea"/>
                <a:ea typeface="+mn-ea"/>
                <a:cs typeface="+mj-cs"/>
              </a:rPr>
              <a:t>)</a:t>
            </a:r>
            <a:endParaRPr lang="ja-JP" altLang="en-US" dirty="0">
              <a:latin typeface="+mn-ea"/>
              <a:ea typeface="+mn-ea"/>
            </a:endParaRPr>
          </a:p>
        </p:txBody>
      </p:sp>
    </p:spTree>
    <p:extLst>
      <p:ext uri="{BB962C8B-B14F-4D97-AF65-F5344CB8AC3E}">
        <p14:creationId xmlns:p14="http://schemas.microsoft.com/office/powerpoint/2010/main" val="633406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ユーザー定義 7">
      <a:dk1>
        <a:srgbClr val="000000"/>
      </a:dk1>
      <a:lt1>
        <a:srgbClr val="FFFFFF"/>
      </a:lt1>
      <a:dk2>
        <a:srgbClr val="666666"/>
      </a:dk2>
      <a:lt2>
        <a:srgbClr val="E1E1E1"/>
      </a:lt2>
      <a:accent1>
        <a:srgbClr val="E60012"/>
      </a:accent1>
      <a:accent2>
        <a:srgbClr val="FCDECA"/>
      </a:accent2>
      <a:accent3>
        <a:srgbClr val="B1D9B7"/>
      </a:accent3>
      <a:accent4>
        <a:srgbClr val="B8E5E6"/>
      </a:accent4>
      <a:accent5>
        <a:srgbClr val="B9E1FF"/>
      </a:accent5>
      <a:accent6>
        <a:srgbClr val="FAC8DA"/>
      </a:accent6>
      <a:hlink>
        <a:srgbClr val="E60012"/>
      </a:hlink>
      <a:folHlink>
        <a:srgbClr val="FF6B74"/>
      </a:folHlink>
    </a:clrScheme>
    <a:fontScheme name="ユーザー定義 6">
      <a:majorFont>
        <a:latin typeface="Segoe UI"/>
        <a:ea typeface="游ゴシック"/>
        <a:cs typeface=""/>
      </a:majorFont>
      <a:minorFont>
        <a:latin typeface="Segoe UI"/>
        <a:ea typeface="游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lnSpc>
            <a:spcPct val="130000"/>
          </a:lnSpc>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30000"/>
          </a:lnSpc>
          <a:defRPr kumimoji="1" sz="16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74896A9979A5FC40870F0BF5CEED466D" ma:contentTypeVersion="9" ma:contentTypeDescription="新しいドキュメントを作成します。" ma:contentTypeScope="" ma:versionID="56447f21c8c8c483f68caa2b041ef21c">
  <xsd:schema xmlns:xsd="http://www.w3.org/2001/XMLSchema" xmlns:xs="http://www.w3.org/2001/XMLSchema" xmlns:p="http://schemas.microsoft.com/office/2006/metadata/properties" xmlns:ns2="f11ddcc9-08ce-44ec-a8a2-515652e566a8" xmlns:ns3="fe9ed57b-07c4-4111-9a9a-eea6dd44bb52" targetNamespace="http://schemas.microsoft.com/office/2006/metadata/properties" ma:root="true" ma:fieldsID="4762a9951cbafeef87b7a9cb1f9c72c8" ns2:_="" ns3:_="">
    <xsd:import namespace="f11ddcc9-08ce-44ec-a8a2-515652e566a8"/>
    <xsd:import namespace="fe9ed57b-07c4-4111-9a9a-eea6dd44bb52"/>
    <xsd:element name="properties">
      <xsd:complexType>
        <xsd:sequence>
          <xsd:element name="documentManagement">
            <xsd:complexType>
              <xsd:all>
                <xsd:element ref="ns2:category" minOccurs="0"/>
                <xsd:element ref="ns3:_dlc_DocId" minOccurs="0"/>
                <xsd:element ref="ns3:_dlc_DocIdUrl" minOccurs="0"/>
                <xsd:element ref="ns3:_dlc_DocIdPersistId" minOccurs="0"/>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ddcc9-08ce-44ec-a8a2-515652e566a8" elementFormDefault="qualified">
    <xsd:import namespace="http://schemas.microsoft.com/office/2006/documentManagement/types"/>
    <xsd:import namespace="http://schemas.microsoft.com/office/infopath/2007/PartnerControls"/>
    <xsd:element name="category" ma:index="2" nillable="true" ma:displayName="カテゴリ" ma:default="01：会社説明PPT" ma:format="Dropdown" ma:internalName="category">
      <xsd:simpleType>
        <xsd:restriction base="dms:Choice">
          <xsd:enumeration value="01：会社説明PPT"/>
          <xsd:enumeration value="02：当社提供番組について"/>
          <xsd:enumeration value="03：三菱電機PPTテンプレート"/>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9e8076fe-bb0c-488f-ac76-058e9f0b257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ed57b-07c4-4111-9a9a-eea6dd44bb52" elementFormDefault="qualified">
    <xsd:import namespace="http://schemas.microsoft.com/office/2006/documentManagement/types"/>
    <xsd:import namespace="http://schemas.microsoft.com/office/infopath/2007/PartnerControls"/>
    <xsd:element name="_dlc_DocId" ma:index="5" nillable="true" ma:displayName="ドキュメント ID 値" ma:description="このアイテムに割り当てられているドキュメント ID の値です。" ma:indexed="true" ma:internalName="_dlc_DocId" ma:readOnly="true">
      <xsd:simpleType>
        <xsd:restriction base="dms:Text"/>
      </xsd:simpleType>
    </xsd:element>
    <xsd:element name="_dlc_DocIdUrl" ma:index="6" nillable="true" ma:displayName="ドキュメントID:" ma:description="このドキュメントへの常時接続リンクです。"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 nillable="true" ma:displayName="ID を保持" ma:description="追加時に ID を保持します。" ma:hidden="true" ma:internalName="_dlc_DocIdPersistId" ma:readOnly="true">
      <xsd:simpleType>
        <xsd:restriction base="dms:Boolean"/>
      </xsd:simpleType>
    </xsd:element>
    <xsd:element name="TaxCatchAll" ma:index="16" nillable="true" ma:displayName="Taxonomy Catch All Column" ma:hidden="true" ma:list="{505df1ea-7ef9-443c-bbc5-a38ceb4fd4f5}" ma:internalName="TaxCatchAll" ma:showField="CatchAllData" ma:web="fe9ed57b-07c4-4111-9a9a-eea6dd44bb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コンテンツ タイプ"/>
        <xsd:element ref="dc:title" minOccurs="0" maxOccurs="1" ma:index="1"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11ddcc9-08ce-44ec-a8a2-515652e566a8">01：会社説明PPT</category>
    <_dlc_DocId xmlns="fe9ed57b-07c4-4111-9a9a-eea6dd44bb52">PTVE3NZ4FS7V-1702755414-16</_dlc_DocId>
    <_dlc_DocIdUrl xmlns="fe9ed57b-07c4-4111-9a9a-eea6dd44bb52">
      <Url>https://mitsubishielectricgroup.sharepoint.com/sites/010116/adv/_layouts/15/DocIdRedir.aspx?ID=PTVE3NZ4FS7V-1702755414-16</Url>
      <Description>PTVE3NZ4FS7V-1702755414-16</Description>
    </_dlc_DocIdUrl>
    <lcf76f155ced4ddcb4097134ff3c332f xmlns="f11ddcc9-08ce-44ec-a8a2-515652e566a8">
      <Terms xmlns="http://schemas.microsoft.com/office/infopath/2007/PartnerControls"/>
    </lcf76f155ced4ddcb4097134ff3c332f>
    <TaxCatchAll xmlns="fe9ed57b-07c4-4111-9a9a-eea6dd44bb52"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52F43F-612F-43E4-BF9B-7A80ACCFB0E5}">
  <ds:schemaRefs>
    <ds:schemaRef ds:uri="http://schemas.microsoft.com/sharepoint/events"/>
  </ds:schemaRefs>
</ds:datastoreItem>
</file>

<file path=customXml/itemProps2.xml><?xml version="1.0" encoding="utf-8"?>
<ds:datastoreItem xmlns:ds="http://schemas.openxmlformats.org/officeDocument/2006/customXml" ds:itemID="{624B3D05-4E40-40E1-9782-0B7CF2105E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ddcc9-08ce-44ec-a8a2-515652e566a8"/>
    <ds:schemaRef ds:uri="fe9ed57b-07c4-4111-9a9a-eea6dd44bb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856B8FA-05B3-46CF-A367-4E733CDA6469}">
  <ds:schemaRefs>
    <ds:schemaRef ds:uri="http://schemas.microsoft.com/office/2006/metadata/properties"/>
    <ds:schemaRef ds:uri="http://schemas.microsoft.com/office/infopath/2007/PartnerControls"/>
    <ds:schemaRef ds:uri="f11ddcc9-08ce-44ec-a8a2-515652e566a8"/>
    <ds:schemaRef ds:uri="fe9ed57b-07c4-4111-9a9a-eea6dd44bb52"/>
  </ds:schemaRefs>
</ds:datastoreItem>
</file>

<file path=customXml/itemProps4.xml><?xml version="1.0" encoding="utf-8"?>
<ds:datastoreItem xmlns:ds="http://schemas.openxmlformats.org/officeDocument/2006/customXml" ds:itemID="{6316A873-51FF-45BF-B60F-DA9CD41A53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823</Words>
  <Application>Microsoft Office PowerPoint</Application>
  <PresentationFormat>ワイド画面</PresentationFormat>
  <Paragraphs>914</Paragraphs>
  <Slides>26</Slides>
  <Notes>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40" baseType="lpstr">
      <vt:lpstr>Meiryo UI</vt:lpstr>
      <vt:lpstr>Noto Sans JP Bold</vt:lpstr>
      <vt:lpstr>Noto Sans JP Regular</vt:lpstr>
      <vt:lpstr>Yu Gothic UI</vt:lpstr>
      <vt:lpstr>Yu Gothic</vt:lpstr>
      <vt:lpstr>Yu Gothic</vt:lpstr>
      <vt:lpstr>游ゴシック 本文</vt:lpstr>
      <vt:lpstr>Arial</vt:lpstr>
      <vt:lpstr>Calibri</vt:lpstr>
      <vt:lpstr>Segoe UI</vt:lpstr>
      <vt:lpstr>Wingdings</vt:lpstr>
      <vt:lpstr>Wingdings 2</vt:lpstr>
      <vt:lpstr>Office テーマ</vt:lpstr>
      <vt:lpstr>think-cell スライド</vt:lpstr>
      <vt:lpstr>FAサイト_保守運用に関する 提案依頼書</vt:lpstr>
      <vt:lpstr>目次</vt:lpstr>
      <vt:lpstr>1-1.機密保持</vt:lpstr>
      <vt:lpstr>1-2. 用語集</vt:lpstr>
      <vt:lpstr>2-1. 本プロジェクトの背景と目的</vt:lpstr>
      <vt:lpstr>2-2.プロジェクトスコープ</vt:lpstr>
      <vt:lpstr>2-2.プロジェクトスコープ &gt; ビジネススコープ（FA本に関連する組織構成）</vt:lpstr>
      <vt:lpstr>2-2.プロジェクトスコープ &gt; ビジネススコープ(FAサイト概況)</vt:lpstr>
      <vt:lpstr>2-2.プロジェクトスコープ &gt; ビジネススコープ(FAサイト概況)</vt:lpstr>
      <vt:lpstr>PowerPoint プレゼンテーション</vt:lpstr>
      <vt:lpstr>2-2.プロジェクトスコープ&gt;  システムスコープ(システムアーキテクチャ)</vt:lpstr>
      <vt:lpstr>PowerPoint プレゼンテーション</vt:lpstr>
      <vt:lpstr>PowerPoint プレゼンテーション</vt:lpstr>
      <vt:lpstr>2-3.プロジェクトスケジュール</vt:lpstr>
      <vt:lpstr>3-1.提案依頼事項(1/2)</vt:lpstr>
      <vt:lpstr>3-1.提案依頼事項(2/2)</vt:lpstr>
      <vt:lpstr>3-1.提案依頼事項(前提条件)</vt:lpstr>
      <vt:lpstr>3-2.RFPに関する弊社提供資料(RFP説明用)</vt:lpstr>
      <vt:lpstr>3-2.RFPに関する弊社提供資料(回答用)</vt:lpstr>
      <vt:lpstr>3-3.スケジュール　/プロジェクト体制</vt:lpstr>
      <vt:lpstr>4-1.提案手続き 詳細(1/2)</vt:lpstr>
      <vt:lpstr>4-1.提案手続き 詳細(2/2)</vt:lpstr>
      <vt:lpstr>Appendix</vt:lpstr>
      <vt:lpstr>*1.インフラ環境構築計画</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2</cp:revision>
  <dcterms:created xsi:type="dcterms:W3CDTF">2021-10-25T09:47:28Z</dcterms:created>
  <dcterms:modified xsi:type="dcterms:W3CDTF">2025-04-15T05: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896A9979A5FC40870F0BF5CEED466D</vt:lpwstr>
  </property>
  <property fmtid="{D5CDD505-2E9C-101B-9397-08002B2CF9AE}" pid="3" name="_dlc_DocIdItemGuid">
    <vt:lpwstr>f0aeeca2-54db-41ab-a216-855a9d48d8b0</vt:lpwstr>
  </property>
</Properties>
</file>